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ink/ink22.xml" ContentType="application/inkml+xml"/>
  <Override PartName="/ppt/notesSlides/notesSlide9.xml" ContentType="application/vnd.openxmlformats-officedocument.presentationml.notesSlide+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9" r:id="rId4"/>
  </p:sldMasterIdLst>
  <p:notesMasterIdLst>
    <p:notesMasterId r:id="rId69"/>
  </p:notesMasterIdLst>
  <p:sldIdLst>
    <p:sldId id="336" r:id="rId5"/>
    <p:sldId id="303" r:id="rId6"/>
    <p:sldId id="302" r:id="rId7"/>
    <p:sldId id="301" r:id="rId8"/>
    <p:sldId id="339" r:id="rId9"/>
    <p:sldId id="311" r:id="rId10"/>
    <p:sldId id="470" r:id="rId11"/>
    <p:sldId id="256" r:id="rId12"/>
    <p:sldId id="281" r:id="rId13"/>
    <p:sldId id="285" r:id="rId14"/>
    <p:sldId id="410" r:id="rId15"/>
    <p:sldId id="409" r:id="rId16"/>
    <p:sldId id="411" r:id="rId17"/>
    <p:sldId id="407" r:id="rId18"/>
    <p:sldId id="286" r:id="rId19"/>
    <p:sldId id="413" r:id="rId20"/>
    <p:sldId id="439" r:id="rId21"/>
    <p:sldId id="414" r:id="rId22"/>
    <p:sldId id="415" r:id="rId23"/>
    <p:sldId id="334" r:id="rId24"/>
    <p:sldId id="317" r:id="rId25"/>
    <p:sldId id="318" r:id="rId26"/>
    <p:sldId id="466" r:id="rId27"/>
    <p:sldId id="441" r:id="rId28"/>
    <p:sldId id="297" r:id="rId29"/>
    <p:sldId id="469" r:id="rId30"/>
    <p:sldId id="404" r:id="rId31"/>
    <p:sldId id="457" r:id="rId32"/>
    <p:sldId id="471" r:id="rId33"/>
    <p:sldId id="395" r:id="rId34"/>
    <p:sldId id="440" r:id="rId35"/>
    <p:sldId id="396" r:id="rId36"/>
    <p:sldId id="401" r:id="rId37"/>
    <p:sldId id="397" r:id="rId38"/>
    <p:sldId id="399" r:id="rId39"/>
    <p:sldId id="418" r:id="rId40"/>
    <p:sldId id="420" r:id="rId41"/>
    <p:sldId id="307" r:id="rId42"/>
    <p:sldId id="444" r:id="rId43"/>
    <p:sldId id="459" r:id="rId44"/>
    <p:sldId id="443" r:id="rId45"/>
    <p:sldId id="419" r:id="rId46"/>
    <p:sldId id="445" r:id="rId47"/>
    <p:sldId id="461" r:id="rId48"/>
    <p:sldId id="446" r:id="rId49"/>
    <p:sldId id="421" r:id="rId50"/>
    <p:sldId id="447" r:id="rId51"/>
    <p:sldId id="449" r:id="rId52"/>
    <p:sldId id="422" r:id="rId53"/>
    <p:sldId id="462" r:id="rId54"/>
    <p:sldId id="454" r:id="rId55"/>
    <p:sldId id="464" r:id="rId56"/>
    <p:sldId id="458" r:id="rId57"/>
    <p:sldId id="465" r:id="rId58"/>
    <p:sldId id="456" r:id="rId59"/>
    <p:sldId id="431" r:id="rId60"/>
    <p:sldId id="432" r:id="rId61"/>
    <p:sldId id="452" r:id="rId62"/>
    <p:sldId id="433" r:id="rId63"/>
    <p:sldId id="467" r:id="rId64"/>
    <p:sldId id="453" r:id="rId65"/>
    <p:sldId id="472" r:id="rId66"/>
    <p:sldId id="468" r:id="rId67"/>
    <p:sldId id="383" r:id="rId68"/>
  </p:sldIdLst>
  <p:sldSz cx="7559675" cy="10691813"/>
  <p:notesSz cx="6858000" cy="9144000"/>
  <p:embeddedFontLst>
    <p:embeddedFont>
      <p:font typeface="Anaheim" panose="020B0604020202020204" charset="0"/>
      <p:regular r:id="rId70"/>
      <p:bold r:id="rId71"/>
    </p:embeddedFont>
    <p:embeddedFont>
      <p:font typeface="Broadway" panose="04040905080B02020502" pitchFamily="82" charset="0"/>
      <p:regular r:id="rId72"/>
    </p:embeddedFont>
    <p:embeddedFont>
      <p:font typeface="Epilogue" panose="020B0604020202020204" charset="0"/>
      <p:regular r:id="rId73"/>
      <p:bold r:id="rId74"/>
      <p:italic r:id="rId75"/>
      <p:boldItalic r:id="rId76"/>
    </p:embeddedFont>
    <p:embeddedFont>
      <p:font typeface="Nunito Light" pitchFamily="2" charset="0"/>
      <p:regular r:id="rId77"/>
      <p:italic r:id="rId78"/>
    </p:embeddedFont>
    <p:embeddedFont>
      <p:font typeface="Sofia Sans" panose="020B0604020202020204" charset="0"/>
      <p:regular r:id="rId79"/>
      <p:bold r:id="rId80"/>
      <p:italic r:id="rId81"/>
      <p:boldItalic r:id="rId82"/>
    </p:embeddedFont>
  </p:embeddedFontLst>
  <p:custDataLst>
    <p:tags r:id="rId8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Intro" id="{B6B7486C-BDB0-4240-99CD-7BEDA7C856F1}">
          <p14:sldIdLst>
            <p14:sldId id="336"/>
            <p14:sldId id="303"/>
            <p14:sldId id="302"/>
            <p14:sldId id="301"/>
            <p14:sldId id="339"/>
            <p14:sldId id="311"/>
            <p14:sldId id="470"/>
          </p14:sldIdLst>
        </p14:section>
        <p14:section name="Chapter 1" id="{4EF93553-C4B9-4E08-9435-6AC76E573B76}">
          <p14:sldIdLst>
            <p14:sldId id="256"/>
            <p14:sldId id="281"/>
            <p14:sldId id="285"/>
            <p14:sldId id="410"/>
            <p14:sldId id="409"/>
            <p14:sldId id="411"/>
            <p14:sldId id="407"/>
            <p14:sldId id="286"/>
            <p14:sldId id="413"/>
            <p14:sldId id="439"/>
            <p14:sldId id="414"/>
            <p14:sldId id="415"/>
          </p14:sldIdLst>
        </p14:section>
        <p14:section name="Chapter 2" id="{AEA81A72-889F-40D2-9BCF-F9DFBFA87B8A}">
          <p14:sldIdLst>
            <p14:sldId id="334"/>
            <p14:sldId id="317"/>
            <p14:sldId id="318"/>
            <p14:sldId id="466"/>
            <p14:sldId id="441"/>
            <p14:sldId id="297"/>
            <p14:sldId id="469"/>
            <p14:sldId id="404"/>
            <p14:sldId id="457"/>
            <p14:sldId id="471"/>
          </p14:sldIdLst>
        </p14:section>
        <p14:section name="Chapter 3" id="{200B7044-01A9-4AAD-9F09-8AD50FFC1598}">
          <p14:sldIdLst>
            <p14:sldId id="395"/>
            <p14:sldId id="440"/>
            <p14:sldId id="396"/>
            <p14:sldId id="401"/>
            <p14:sldId id="397"/>
            <p14:sldId id="399"/>
          </p14:sldIdLst>
        </p14:section>
        <p14:section name="Chapter 4" id="{E8F29C47-3437-417C-8388-0369687DE47F}">
          <p14:sldIdLst>
            <p14:sldId id="418"/>
            <p14:sldId id="420"/>
            <p14:sldId id="307"/>
            <p14:sldId id="444"/>
            <p14:sldId id="459"/>
            <p14:sldId id="443"/>
            <p14:sldId id="419"/>
            <p14:sldId id="445"/>
            <p14:sldId id="461"/>
            <p14:sldId id="446"/>
            <p14:sldId id="421"/>
            <p14:sldId id="447"/>
            <p14:sldId id="449"/>
            <p14:sldId id="422"/>
            <p14:sldId id="462"/>
            <p14:sldId id="454"/>
            <p14:sldId id="464"/>
            <p14:sldId id="458"/>
            <p14:sldId id="465"/>
            <p14:sldId id="456"/>
            <p14:sldId id="431"/>
            <p14:sldId id="432"/>
            <p14:sldId id="452"/>
            <p14:sldId id="433"/>
            <p14:sldId id="467"/>
            <p14:sldId id="453"/>
            <p14:sldId id="472"/>
            <p14:sldId id="468"/>
          </p14:sldIdLst>
        </p14:section>
        <p14:section name="Final" id="{059056D1-9043-4A10-8AEC-D73BD2864CCF}">
          <p14:sldIdLst>
            <p14:sldId id="383"/>
          </p14:sldIdLst>
        </p14:section>
      </p14:sectionLst>
    </p:ext>
    <p:ext uri="{EFAFB233-063F-42B5-8137-9DF3F51BA10A}">
      <p15:sldGuideLst xmlns:p15="http://schemas.microsoft.com/office/powerpoint/2012/main">
        <p15:guide id="1" orient="horz" pos="805" userDrawn="1">
          <p15:clr>
            <a:srgbClr val="747775"/>
          </p15:clr>
        </p15:guide>
        <p15:guide id="2" pos="45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03B108-D729-0B7B-F284-5EB93312FE99}" name="Aly Barakat" initials="AB" userId="S::aly.barakat@tum.de::59442ab7-ba36-4d6f-8096-0727d85e2b9f" providerId="AD"/>
  <p188:author id="{4A3C4C20-EA2F-D420-3E9A-718E7426B845}" name="Tabea Monz" initials="TM" userId="S::t.monz@tum.de::f46a5392-c507-4495-8454-0a2fbbcf0cda" providerId="AD"/>
  <p188:author id="{D6905A2D-D2C3-201B-A946-8E354F0020AE}" name="Era Poudel" initials="EP" userId="S::era.poudel@tum.de::4038d143-4a25-4ddb-a450-cddf29410981" providerId="AD"/>
  <p188:author id="{60CABE33-0908-B1D7-DFB5-E68481894B90}" name="Ömer Taha Sevimli" initials="ÖS" userId="S::omer.sevimli@tum.de::d68fb2f4-76b1-4cfc-96e6-800a7d956fcb" providerId="AD"/>
  <p188:author id="{64E6464A-5D97-5117-DC4B-1867B4F10D38}" name="Antje-Lina Weber" initials="AW" userId="S::antje-lina.weber@tum.de::9f4ef15c-448f-435b-bcfd-c1b593e81006" providerId="AD"/>
  <p188:author id="{D1E10BB2-24E6-E7C9-95CA-A4D5C60F7381}" name="Johanna Marx" initials="JM" userId="S::Johanna17.Marx@tum.de::f7883e6b-b8f5-49bd-97ed-29afbba9d34b" providerId="AD"/>
  <p188:author id="{1ED934D9-1AF6-DEB9-071C-2AFB722CF825}" name="Nina Steger" initials="NS" userId="S::nina.steger@tum.de::efda762e-901d-408b-befd-9a071afe535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9302A"/>
    <a:srgbClr val="315544"/>
    <a:srgbClr val="FFFFFF"/>
    <a:srgbClr val="F0BB90"/>
    <a:srgbClr val="F5F3EF"/>
    <a:srgbClr val="FBEDE1"/>
    <a:srgbClr val="F0E3D8"/>
    <a:srgbClr val="F9E6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C36ED6-2F50-4F28-88A2-C87A37E0C74B}" v="1" dt="2025-02-01T20:00:42.654"/>
    <p1510:client id="{3FB5D714-E125-4641-BF90-3447CB5D2DA3}" v="6279" dt="2025-02-02T13:45:09.025"/>
    <p1510:client id="{7853837D-1933-3996-ECD9-287F5292D022}" v="1" dt="2025-02-01T14:38:52.167"/>
    <p1510:client id="{AAB933D7-6A78-4888-8215-E15D581A059E}" v="5" dt="2025-02-01T14:05:58.585"/>
  </p1510:revLst>
</p1510:revInfo>
</file>

<file path=ppt/tableStyles.xml><?xml version="1.0" encoding="utf-8"?>
<a:tblStyleLst xmlns:a="http://schemas.openxmlformats.org/drawingml/2006/main" def="{87981CF4-4D3E-4045-9ACF-D1447FECE155}">
  <a:tblStyle styleId="{87981CF4-4D3E-4045-9ACF-D1447FECE155}"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0CFADBD-3245-443C-9B6D-9ACBA4CA32A5}"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p:scale>
          <a:sx n="39" d="100"/>
          <a:sy n="39" d="100"/>
        </p:scale>
        <p:origin x="1443" y="645"/>
      </p:cViewPr>
      <p:guideLst>
        <p:guide orient="horz" pos="805"/>
        <p:guide pos="453"/>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5.fntdata"/><Relationship Id="rId79" Type="http://schemas.openxmlformats.org/officeDocument/2006/relationships/font" Target="fonts/font10.fntdata"/><Relationship Id="rId5" Type="http://schemas.openxmlformats.org/officeDocument/2006/relationships/slide" Target="slides/slide1.xml"/><Relationship Id="rId90" Type="http://schemas.microsoft.com/office/2018/10/relationships/authors" Target="author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openxmlformats.org/officeDocument/2006/relationships/font" Target="fonts/font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3.fntdata"/><Relationship Id="rId80" Type="http://schemas.openxmlformats.org/officeDocument/2006/relationships/font" Target="fonts/font11.fntdata"/><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font" Target="fonts/font1.fntdata"/><Relationship Id="rId75" Type="http://schemas.openxmlformats.org/officeDocument/2006/relationships/font" Target="fonts/font6.fntdata"/><Relationship Id="rId83" Type="http://schemas.openxmlformats.org/officeDocument/2006/relationships/tags" Target="tags/tag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4.fntdata"/><Relationship Id="rId78" Type="http://schemas.openxmlformats.org/officeDocument/2006/relationships/font" Target="fonts/font9.fntdata"/><Relationship Id="rId81" Type="http://schemas.openxmlformats.org/officeDocument/2006/relationships/font" Target="fonts/font12.fntdata"/><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7.fntdata"/><Relationship Id="rId7" Type="http://schemas.openxmlformats.org/officeDocument/2006/relationships/slide" Target="slides/slide3.xml"/><Relationship Id="rId71" Type="http://schemas.openxmlformats.org/officeDocument/2006/relationships/font" Target="fonts/font2.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font" Target="fonts/font13.fntdata"/><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bea Monz" userId="S::t.monz@tum.de::f46a5392-c507-4495-8454-0a2fbbcf0cda" providerId="AD" clId="Web-{45B6ADED-BB60-AFBF-B71E-91353A325EC7}"/>
    <pc:docChg chg="addSld modSld sldOrd modSection">
      <pc:chgData name="Tabea Monz" userId="S::t.monz@tum.de::f46a5392-c507-4495-8454-0a2fbbcf0cda" providerId="AD" clId="Web-{45B6ADED-BB60-AFBF-B71E-91353A325EC7}" dt="2024-11-22T14:31:37.108" v="553"/>
      <pc:docMkLst>
        <pc:docMk/>
      </pc:docMkLst>
      <pc:sldChg chg="addSp delSp modSp">
        <pc:chgData name="Tabea Monz" userId="S::t.monz@tum.de::f46a5392-c507-4495-8454-0a2fbbcf0cda" providerId="AD" clId="Web-{45B6ADED-BB60-AFBF-B71E-91353A325EC7}" dt="2024-11-22T14:11:22.784" v="64"/>
        <pc:sldMkLst>
          <pc:docMk/>
          <pc:sldMk cId="835949243" sldId="396"/>
        </pc:sldMkLst>
        <pc:picChg chg="add mod">
          <ac:chgData name="Tabea Monz" userId="S::t.monz@tum.de::f46a5392-c507-4495-8454-0a2fbbcf0cda" providerId="AD" clId="Web-{45B6ADED-BB60-AFBF-B71E-91353A325EC7}" dt="2024-11-22T14:10:52.659" v="61" actId="1076"/>
          <ac:picMkLst>
            <pc:docMk/>
            <pc:sldMk cId="835949243" sldId="396"/>
            <ac:picMk id="5" creationId="{93B6AEB1-A711-CFD6-16E6-766E2419757A}"/>
          </ac:picMkLst>
        </pc:picChg>
      </pc:sldChg>
      <pc:sldChg chg="addSp delSp modSp add replId">
        <pc:chgData name="Tabea Monz" userId="S::t.monz@tum.de::f46a5392-c507-4495-8454-0a2fbbcf0cda" providerId="AD" clId="Web-{45B6ADED-BB60-AFBF-B71E-91353A325EC7}" dt="2024-11-22T14:31:37.108" v="553"/>
        <pc:sldMkLst>
          <pc:docMk/>
          <pc:sldMk cId="3416478574" sldId="400"/>
        </pc:sldMkLst>
      </pc:sldChg>
      <pc:sldChg chg="addSp delSp modSp add ord replId">
        <pc:chgData name="Tabea Monz" userId="S::t.monz@tum.de::f46a5392-c507-4495-8454-0a2fbbcf0cda" providerId="AD" clId="Web-{45B6ADED-BB60-AFBF-B71E-91353A325EC7}" dt="2024-11-22T14:29:06.650" v="504"/>
        <pc:sldMkLst>
          <pc:docMk/>
          <pc:sldMk cId="582580800" sldId="401"/>
        </pc:sldMkLst>
        <pc:spChg chg="mod">
          <ac:chgData name="Tabea Monz" userId="S::t.monz@tum.de::f46a5392-c507-4495-8454-0a2fbbcf0cda" providerId="AD" clId="Web-{45B6ADED-BB60-AFBF-B71E-91353A325EC7}" dt="2024-11-22T14:22:27.195" v="360" actId="20577"/>
          <ac:spMkLst>
            <pc:docMk/>
            <pc:sldMk cId="582580800" sldId="401"/>
            <ac:spMk id="23" creationId="{1D88F652-1A5D-2AFA-B789-14758404B0DA}"/>
          </ac:spMkLst>
        </pc:spChg>
      </pc:sldChg>
    </pc:docChg>
  </pc:docChgLst>
  <pc:docChgLst>
    <pc:chgData name="Tabea Monz" userId="S::t.monz@tum.de::f46a5392-c507-4495-8454-0a2fbbcf0cda" providerId="AD" clId="Web-{34FCC76F-7AFC-4624-BA75-709443734026}"/>
    <pc:docChg chg="modSld">
      <pc:chgData name="Tabea Monz" userId="S::t.monz@tum.de::f46a5392-c507-4495-8454-0a2fbbcf0cda" providerId="AD" clId="Web-{34FCC76F-7AFC-4624-BA75-709443734026}" dt="2025-01-21T12:01:28.931" v="43" actId="20577"/>
      <pc:docMkLst>
        <pc:docMk/>
      </pc:docMkLst>
      <pc:sldChg chg="modSp">
        <pc:chgData name="Tabea Monz" userId="S::t.monz@tum.de::f46a5392-c507-4495-8454-0a2fbbcf0cda" providerId="AD" clId="Web-{34FCC76F-7AFC-4624-BA75-709443734026}" dt="2025-01-21T12:01:28.931" v="43" actId="20577"/>
        <pc:sldMkLst>
          <pc:docMk/>
          <pc:sldMk cId="2492418948" sldId="431"/>
        </pc:sldMkLst>
      </pc:sldChg>
      <pc:sldChg chg="addSp delSp modSp">
        <pc:chgData name="Tabea Monz" userId="S::t.monz@tum.de::f46a5392-c507-4495-8454-0a2fbbcf0cda" providerId="AD" clId="Web-{34FCC76F-7AFC-4624-BA75-709443734026}" dt="2025-01-21T12:00:55.398" v="42"/>
        <pc:sldMkLst>
          <pc:docMk/>
          <pc:sldMk cId="100426047" sldId="456"/>
        </pc:sldMkLst>
        <pc:picChg chg="add mod modCrop">
          <ac:chgData name="Tabea Monz" userId="S::t.monz@tum.de::f46a5392-c507-4495-8454-0a2fbbcf0cda" providerId="AD" clId="Web-{34FCC76F-7AFC-4624-BA75-709443734026}" dt="2025-01-21T11:56:51.124" v="6" actId="14100"/>
          <ac:picMkLst>
            <pc:docMk/>
            <pc:sldMk cId="100426047" sldId="456"/>
            <ac:picMk id="2" creationId="{368F63F8-584B-F70D-1231-A43CE841AA2C}"/>
          </ac:picMkLst>
        </pc:picChg>
        <pc:picChg chg="mod">
          <ac:chgData name="Tabea Monz" userId="S::t.monz@tum.de::f46a5392-c507-4495-8454-0a2fbbcf0cda" providerId="AD" clId="Web-{34FCC76F-7AFC-4624-BA75-709443734026}" dt="2025-01-21T11:57:06.187" v="8" actId="14100"/>
          <ac:picMkLst>
            <pc:docMk/>
            <pc:sldMk cId="100426047" sldId="456"/>
            <ac:picMk id="8" creationId="{7C246E8F-513D-3EAF-8C80-310132BA6CF0}"/>
          </ac:picMkLst>
        </pc:picChg>
      </pc:sldChg>
    </pc:docChg>
  </pc:docChgLst>
  <pc:docChgLst>
    <pc:chgData name="Era Poudel" userId="S::era.poudel@tum.de::4038d143-4a25-4ddb-a450-cddf29410981" providerId="AD" clId="Web-{3676D16F-F6AD-C81B-1607-E81D47EC3AFA}"/>
    <pc:docChg chg="addSld modSld sldOrd modSection">
      <pc:chgData name="Era Poudel" userId="S::era.poudel@tum.de::4038d143-4a25-4ddb-a450-cddf29410981" providerId="AD" clId="Web-{3676D16F-F6AD-C81B-1607-E81D47EC3AFA}" dt="2024-11-18T15:04:49.458" v="167"/>
      <pc:docMkLst>
        <pc:docMk/>
      </pc:docMkLst>
      <pc:sldChg chg="delSp ord">
        <pc:chgData name="Era Poudel" userId="S::era.poudel@tum.de::4038d143-4a25-4ddb-a450-cddf29410981" providerId="AD" clId="Web-{3676D16F-F6AD-C81B-1607-E81D47EC3AFA}" dt="2024-11-18T15:04:49.458" v="167"/>
        <pc:sldMkLst>
          <pc:docMk/>
          <pc:sldMk cId="1997358788" sldId="297"/>
        </pc:sldMkLst>
      </pc:sldChg>
      <pc:sldChg chg="ord">
        <pc:chgData name="Era Poudel" userId="S::era.poudel@tum.de::4038d143-4a25-4ddb-a450-cddf29410981" providerId="AD" clId="Web-{3676D16F-F6AD-C81B-1607-E81D47EC3AFA}" dt="2024-11-18T15:00:41.433" v="159"/>
        <pc:sldMkLst>
          <pc:docMk/>
          <pc:sldMk cId="2310605384" sldId="319"/>
        </pc:sldMkLst>
      </pc:sldChg>
      <pc:sldChg chg="modSp">
        <pc:chgData name="Era Poudel" userId="S::era.poudel@tum.de::4038d143-4a25-4ddb-a450-cddf29410981" providerId="AD" clId="Web-{3676D16F-F6AD-C81B-1607-E81D47EC3AFA}" dt="2024-11-18T14:55:22.406" v="0" actId="20577"/>
        <pc:sldMkLst>
          <pc:docMk/>
          <pc:sldMk cId="2024038645" sldId="388"/>
        </pc:sldMkLst>
      </pc:sldChg>
      <pc:sldChg chg="addSp delSp modSp">
        <pc:chgData name="Era Poudel" userId="S::era.poudel@tum.de::4038d143-4a25-4ddb-a450-cddf29410981" providerId="AD" clId="Web-{3676D16F-F6AD-C81B-1607-E81D47EC3AFA}" dt="2024-11-18T14:59:22.430" v="150"/>
        <pc:sldMkLst>
          <pc:docMk/>
          <pc:sldMk cId="3056559578" sldId="390"/>
        </pc:sldMkLst>
      </pc:sldChg>
      <pc:sldChg chg="add ord replId">
        <pc:chgData name="Era Poudel" userId="S::era.poudel@tum.de::4038d143-4a25-4ddb-a450-cddf29410981" providerId="AD" clId="Web-{3676D16F-F6AD-C81B-1607-E81D47EC3AFA}" dt="2024-11-18T15:01:39.342" v="166"/>
        <pc:sldMkLst>
          <pc:docMk/>
          <pc:sldMk cId="3994636148" sldId="391"/>
        </pc:sldMkLst>
      </pc:sldChg>
    </pc:docChg>
  </pc:docChgLst>
  <pc:docChgLst>
    <pc:chgData name="Tabea Monz" userId="S::t.monz@tum.de::f46a5392-c507-4495-8454-0a2fbbcf0cda" providerId="AD" clId="Web-{D268F879-5721-35BE-5263-FBB7D1FE2657}"/>
    <pc:docChg chg="modSld">
      <pc:chgData name="Tabea Monz" userId="S::t.monz@tum.de::f46a5392-c507-4495-8454-0a2fbbcf0cda" providerId="AD" clId="Web-{D268F879-5721-35BE-5263-FBB7D1FE2657}" dt="2024-11-25T19:08:26.392" v="0"/>
      <pc:docMkLst>
        <pc:docMk/>
      </pc:docMkLst>
      <pc:sldChg chg="delSp">
        <pc:chgData name="Tabea Monz" userId="S::t.monz@tum.de::f46a5392-c507-4495-8454-0a2fbbcf0cda" providerId="AD" clId="Web-{D268F879-5721-35BE-5263-FBB7D1FE2657}" dt="2024-11-25T19:08:26.392" v="0"/>
        <pc:sldMkLst>
          <pc:docMk/>
          <pc:sldMk cId="2461222098" sldId="399"/>
        </pc:sldMkLst>
      </pc:sldChg>
    </pc:docChg>
  </pc:docChgLst>
  <pc:docChgLst>
    <pc:chgData name="Johanna Marx" userId="S::johanna17.marx@tum.de::f7883e6b-b8f5-49bd-97ed-29afbba9d34b" providerId="AD" clId="Web-{7853837D-1933-3996-ECD9-287F5292D022}"/>
    <pc:docChg chg="modSld">
      <pc:chgData name="Johanna Marx" userId="S::johanna17.marx@tum.de::f7883e6b-b8f5-49bd-97ed-29afbba9d34b" providerId="AD" clId="Web-{7853837D-1933-3996-ECD9-287F5292D022}" dt="2025-02-01T14:38:52.167" v="0"/>
      <pc:docMkLst>
        <pc:docMk/>
      </pc:docMkLst>
      <pc:sldChg chg="modSp">
        <pc:chgData name="Johanna Marx" userId="S::johanna17.marx@tum.de::f7883e6b-b8f5-49bd-97ed-29afbba9d34b" providerId="AD" clId="Web-{7853837D-1933-3996-ECD9-287F5292D022}" dt="2025-02-01T14:38:52.167" v="0"/>
        <pc:sldMkLst>
          <pc:docMk/>
          <pc:sldMk cId="1126850562" sldId="317"/>
        </pc:sldMkLst>
        <pc:spChg chg="mod">
          <ac:chgData name="Johanna Marx" userId="S::johanna17.marx@tum.de::f7883e6b-b8f5-49bd-97ed-29afbba9d34b" providerId="AD" clId="Web-{7853837D-1933-3996-ECD9-287F5292D022}" dt="2025-02-01T14:38:52.167" v="0"/>
          <ac:spMkLst>
            <pc:docMk/>
            <pc:sldMk cId="1126850562" sldId="317"/>
            <ac:spMk id="15" creationId="{D11F5D38-E76B-2625-D4C9-29A036A7C2F9}"/>
          </ac:spMkLst>
        </pc:spChg>
      </pc:sldChg>
    </pc:docChg>
  </pc:docChgLst>
  <pc:docChgLst>
    <pc:chgData name="Era Poudel" userId="S::era.poudel@tum.de::4038d143-4a25-4ddb-a450-cddf29410981" providerId="AD" clId="Web-{B7323161-149B-07C3-47EB-00B3CA042DB9}"/>
    <pc:docChg chg="mod addSld delSld modSld sldOrd modSection">
      <pc:chgData name="Era Poudel" userId="S::era.poudel@tum.de::4038d143-4a25-4ddb-a450-cddf29410981" providerId="AD" clId="Web-{B7323161-149B-07C3-47EB-00B3CA042DB9}" dt="2025-01-09T12:54:09.120" v="395" actId="20577"/>
      <pc:docMkLst>
        <pc:docMk/>
      </pc:docMkLst>
      <pc:sldChg chg="modSp">
        <pc:chgData name="Era Poudel" userId="S::era.poudel@tum.de::4038d143-4a25-4ddb-a450-cddf29410981" providerId="AD" clId="Web-{B7323161-149B-07C3-47EB-00B3CA042DB9}" dt="2025-01-09T10:52:53.350" v="6" actId="20577"/>
        <pc:sldMkLst>
          <pc:docMk/>
          <pc:sldMk cId="1601966315" sldId="285"/>
        </pc:sldMkLst>
        <pc:spChg chg="mod">
          <ac:chgData name="Era Poudel" userId="S::era.poudel@tum.de::4038d143-4a25-4ddb-a450-cddf29410981" providerId="AD" clId="Web-{B7323161-149B-07C3-47EB-00B3CA042DB9}" dt="2025-01-09T10:52:53.350" v="6" actId="20577"/>
          <ac:spMkLst>
            <pc:docMk/>
            <pc:sldMk cId="1601966315" sldId="285"/>
            <ac:spMk id="5" creationId="{47CB8B55-5221-8ED1-B020-5C92DCB4AE8A}"/>
          </ac:spMkLst>
        </pc:spChg>
      </pc:sldChg>
      <pc:sldChg chg="modSp">
        <pc:chgData name="Era Poudel" userId="S::era.poudel@tum.de::4038d143-4a25-4ddb-a450-cddf29410981" providerId="AD" clId="Web-{B7323161-149B-07C3-47EB-00B3CA042DB9}" dt="2025-01-09T11:51:20.718" v="228" actId="14100"/>
        <pc:sldMkLst>
          <pc:docMk/>
          <pc:sldMk cId="1997358788" sldId="297"/>
        </pc:sldMkLst>
        <pc:spChg chg="mod">
          <ac:chgData name="Era Poudel" userId="S::era.poudel@tum.de::4038d143-4a25-4ddb-a450-cddf29410981" providerId="AD" clId="Web-{B7323161-149B-07C3-47EB-00B3CA042DB9}" dt="2025-01-09T11:51:20.718" v="228" actId="14100"/>
          <ac:spMkLst>
            <pc:docMk/>
            <pc:sldMk cId="1997358788" sldId="297"/>
            <ac:spMk id="13" creationId="{817FCBA3-EFE9-7AA6-9D84-3B990635EB2E}"/>
          </ac:spMkLst>
        </pc:spChg>
      </pc:sldChg>
      <pc:sldChg chg="mod ord modShow">
        <pc:chgData name="Era Poudel" userId="S::era.poudel@tum.de::4038d143-4a25-4ddb-a450-cddf29410981" providerId="AD" clId="Web-{B7323161-149B-07C3-47EB-00B3CA042DB9}" dt="2025-01-09T10:48:51.671" v="2"/>
        <pc:sldMkLst>
          <pc:docMk/>
          <pc:sldMk cId="656948936" sldId="307"/>
        </pc:sldMkLst>
      </pc:sldChg>
      <pc:sldChg chg="addSp delSp modSp">
        <pc:chgData name="Era Poudel" userId="S::era.poudel@tum.de::4038d143-4a25-4ddb-a450-cddf29410981" providerId="AD" clId="Web-{B7323161-149B-07C3-47EB-00B3CA042DB9}" dt="2025-01-09T11:45:57.740" v="97" actId="20577"/>
        <pc:sldMkLst>
          <pc:docMk/>
          <pc:sldMk cId="1126850562" sldId="317"/>
        </pc:sldMkLst>
        <pc:spChg chg="mod">
          <ac:chgData name="Era Poudel" userId="S::era.poudel@tum.de::4038d143-4a25-4ddb-a450-cddf29410981" providerId="AD" clId="Web-{B7323161-149B-07C3-47EB-00B3CA042DB9}" dt="2025-01-09T11:45:57.740" v="97" actId="20577"/>
          <ac:spMkLst>
            <pc:docMk/>
            <pc:sldMk cId="1126850562" sldId="317"/>
            <ac:spMk id="13" creationId="{37B1975D-5314-EF92-0D9E-E2A606B471A6}"/>
          </ac:spMkLst>
        </pc:spChg>
        <pc:spChg chg="mod">
          <ac:chgData name="Era Poudel" userId="S::era.poudel@tum.de::4038d143-4a25-4ddb-a450-cddf29410981" providerId="AD" clId="Web-{B7323161-149B-07C3-47EB-00B3CA042DB9}" dt="2025-01-09T11:45:49.380" v="95" actId="20577"/>
          <ac:spMkLst>
            <pc:docMk/>
            <pc:sldMk cId="1126850562" sldId="317"/>
            <ac:spMk id="14" creationId="{70D8283B-838F-7304-E20E-E3F94B3F6925}"/>
          </ac:spMkLst>
        </pc:spChg>
      </pc:sldChg>
      <pc:sldChg chg="delSp modSp add del">
        <pc:chgData name="Era Poudel" userId="S::era.poudel@tum.de::4038d143-4a25-4ddb-a450-cddf29410981" providerId="AD" clId="Web-{B7323161-149B-07C3-47EB-00B3CA042DB9}" dt="2025-01-09T11:45:41.411" v="94" actId="20577"/>
        <pc:sldMkLst>
          <pc:docMk/>
          <pc:sldMk cId="373550321" sldId="318"/>
        </pc:sldMkLst>
        <pc:spChg chg="mod">
          <ac:chgData name="Era Poudel" userId="S::era.poudel@tum.de::4038d143-4a25-4ddb-a450-cddf29410981" providerId="AD" clId="Web-{B7323161-149B-07C3-47EB-00B3CA042DB9}" dt="2025-01-09T11:45:41.411" v="94" actId="20577"/>
          <ac:spMkLst>
            <pc:docMk/>
            <pc:sldMk cId="373550321" sldId="318"/>
            <ac:spMk id="7" creationId="{2E9A378D-8DB5-F059-10CF-019382FA312B}"/>
          </ac:spMkLst>
        </pc:spChg>
      </pc:sldChg>
      <pc:sldChg chg="mod modShow">
        <pc:chgData name="Era Poudel" userId="S::era.poudel@tum.de::4038d143-4a25-4ddb-a450-cddf29410981" providerId="AD" clId="Web-{B7323161-149B-07C3-47EB-00B3CA042DB9}" dt="2025-01-09T10:48:54.749" v="3"/>
        <pc:sldMkLst>
          <pc:docMk/>
          <pc:sldMk cId="3645510430" sldId="379"/>
        </pc:sldMkLst>
      </pc:sldChg>
      <pc:sldChg chg="modSp">
        <pc:chgData name="Era Poudel" userId="S::era.poudel@tum.de::4038d143-4a25-4ddb-a450-cddf29410981" providerId="AD" clId="Web-{B7323161-149B-07C3-47EB-00B3CA042DB9}" dt="2025-01-09T11:49:53.716" v="208"/>
        <pc:sldMkLst>
          <pc:docMk/>
          <pc:sldMk cId="3056559578" sldId="390"/>
        </pc:sldMkLst>
      </pc:sldChg>
      <pc:sldChg chg="del">
        <pc:chgData name="Era Poudel" userId="S::era.poudel@tum.de::4038d143-4a25-4ddb-a450-cddf29410981" providerId="AD" clId="Web-{B7323161-149B-07C3-47EB-00B3CA042DB9}" dt="2025-01-09T12:10:30.205" v="229"/>
        <pc:sldMkLst>
          <pc:docMk/>
          <pc:sldMk cId="1985343054" sldId="398"/>
        </pc:sldMkLst>
      </pc:sldChg>
      <pc:sldChg chg="modSp">
        <pc:chgData name="Era Poudel" userId="S::era.poudel@tum.de::4038d143-4a25-4ddb-a450-cddf29410981" providerId="AD" clId="Web-{B7323161-149B-07C3-47EB-00B3CA042DB9}" dt="2025-01-09T12:54:09.120" v="395" actId="20577"/>
        <pc:sldMkLst>
          <pc:docMk/>
          <pc:sldMk cId="3416478574" sldId="400"/>
        </pc:sldMkLst>
      </pc:sldChg>
      <pc:sldChg chg="modSp">
        <pc:chgData name="Era Poudel" userId="S::era.poudel@tum.de::4038d143-4a25-4ddb-a450-cddf29410981" providerId="AD" clId="Web-{B7323161-149B-07C3-47EB-00B3CA042DB9}" dt="2025-01-09T11:02:48.836" v="11" actId="20577"/>
        <pc:sldMkLst>
          <pc:docMk/>
          <pc:sldMk cId="1350676828" sldId="407"/>
        </pc:sldMkLst>
        <pc:spChg chg="mod">
          <ac:chgData name="Era Poudel" userId="S::era.poudel@tum.de::4038d143-4a25-4ddb-a450-cddf29410981" providerId="AD" clId="Web-{B7323161-149B-07C3-47EB-00B3CA042DB9}" dt="2025-01-09T11:02:48.836" v="11" actId="20577"/>
          <ac:spMkLst>
            <pc:docMk/>
            <pc:sldMk cId="1350676828" sldId="407"/>
            <ac:spMk id="6" creationId="{60826006-F73F-8F4D-B400-0565C4DD04A9}"/>
          </ac:spMkLst>
        </pc:spChg>
      </pc:sldChg>
      <pc:sldChg chg="modSp">
        <pc:chgData name="Era Poudel" userId="S::era.poudel@tum.de::4038d143-4a25-4ddb-a450-cddf29410981" providerId="AD" clId="Web-{B7323161-149B-07C3-47EB-00B3CA042DB9}" dt="2025-01-09T10:57:41.796" v="7" actId="20577"/>
        <pc:sldMkLst>
          <pc:docMk/>
          <pc:sldMk cId="2146858438" sldId="408"/>
        </pc:sldMkLst>
      </pc:sldChg>
      <pc:sldChg chg="addSp modSp">
        <pc:chgData name="Era Poudel" userId="S::era.poudel@tum.de::4038d143-4a25-4ddb-a450-cddf29410981" providerId="AD" clId="Web-{B7323161-149B-07C3-47EB-00B3CA042DB9}" dt="2025-01-09T11:43:57.971" v="81" actId="14100"/>
        <pc:sldMkLst>
          <pc:docMk/>
          <pc:sldMk cId="3117399487" sldId="411"/>
        </pc:sldMkLst>
      </pc:sldChg>
      <pc:sldChg chg="modSp">
        <pc:chgData name="Era Poudel" userId="S::era.poudel@tum.de::4038d143-4a25-4ddb-a450-cddf29410981" providerId="AD" clId="Web-{B7323161-149B-07C3-47EB-00B3CA042DB9}" dt="2025-01-09T12:14:21.931" v="266" actId="20577"/>
        <pc:sldMkLst>
          <pc:docMk/>
          <pc:sldMk cId="3998095132" sldId="426"/>
        </pc:sldMkLst>
      </pc:sldChg>
      <pc:sldChg chg="modSp">
        <pc:chgData name="Era Poudel" userId="S::era.poudel@tum.de::4038d143-4a25-4ddb-a450-cddf29410981" providerId="AD" clId="Web-{B7323161-149B-07C3-47EB-00B3CA042DB9}" dt="2025-01-09T12:13:04.303" v="255"/>
        <pc:sldMkLst>
          <pc:docMk/>
          <pc:sldMk cId="2464115165" sldId="427"/>
        </pc:sldMkLst>
      </pc:sldChg>
      <pc:sldChg chg="modSp">
        <pc:chgData name="Era Poudel" userId="S::era.poudel@tum.de::4038d143-4a25-4ddb-a450-cddf29410981" providerId="AD" clId="Web-{B7323161-149B-07C3-47EB-00B3CA042DB9}" dt="2025-01-09T12:18:33.157" v="370" actId="20577"/>
        <pc:sldMkLst>
          <pc:docMk/>
          <pc:sldMk cId="193242376" sldId="429"/>
        </pc:sldMkLst>
      </pc:sldChg>
      <pc:sldChg chg="modSp">
        <pc:chgData name="Era Poudel" userId="S::era.poudel@tum.de::4038d143-4a25-4ddb-a450-cddf29410981" providerId="AD" clId="Web-{B7323161-149B-07C3-47EB-00B3CA042DB9}" dt="2025-01-09T12:18:29.703" v="369" actId="20577"/>
        <pc:sldMkLst>
          <pc:docMk/>
          <pc:sldMk cId="359154565" sldId="430"/>
        </pc:sldMkLst>
      </pc:sldChg>
      <pc:sldChg chg="modSp">
        <pc:chgData name="Era Poudel" userId="S::era.poudel@tum.de::4038d143-4a25-4ddb-a450-cddf29410981" providerId="AD" clId="Web-{B7323161-149B-07C3-47EB-00B3CA042DB9}" dt="2025-01-09T12:24:04.276" v="394" actId="20577"/>
        <pc:sldMkLst>
          <pc:docMk/>
          <pc:sldMk cId="2492418948" sldId="431"/>
        </pc:sldMkLst>
        <pc:spChg chg="mod">
          <ac:chgData name="Era Poudel" userId="S::era.poudel@tum.de::4038d143-4a25-4ddb-a450-cddf29410981" providerId="AD" clId="Web-{B7323161-149B-07C3-47EB-00B3CA042DB9}" dt="2025-01-09T12:24:04.276" v="394" actId="20577"/>
          <ac:spMkLst>
            <pc:docMk/>
            <pc:sldMk cId="2492418948" sldId="431"/>
            <ac:spMk id="9" creationId="{BC21C8CF-539D-E464-29F1-01ECBED7D0F4}"/>
          </ac:spMkLst>
        </pc:spChg>
      </pc:sldChg>
    </pc:docChg>
  </pc:docChgLst>
  <pc:docChgLst>
    <pc:chgData name="Tabea Monz" userId="S::t.monz@tum.de::f46a5392-c507-4495-8454-0a2fbbcf0cda" providerId="AD" clId="Web-{94C35C81-7508-015F-585E-2F9FC5AAD7A4}"/>
    <pc:docChg chg="addSld delSld modSld modSection">
      <pc:chgData name="Tabea Monz" userId="S::t.monz@tum.de::f46a5392-c507-4495-8454-0a2fbbcf0cda" providerId="AD" clId="Web-{94C35C81-7508-015F-585E-2F9FC5AAD7A4}" dt="2025-01-06T18:13:43.965" v="1393" actId="1076"/>
      <pc:docMkLst>
        <pc:docMk/>
      </pc:docMkLst>
      <pc:sldChg chg="modSp add replId">
        <pc:chgData name="Tabea Monz" userId="S::t.monz@tum.de::f46a5392-c507-4495-8454-0a2fbbcf0cda" providerId="AD" clId="Web-{94C35C81-7508-015F-585E-2F9FC5AAD7A4}" dt="2025-01-06T18:05:27.651" v="903" actId="20577"/>
        <pc:sldMkLst>
          <pc:docMk/>
          <pc:sldMk cId="1100900693" sldId="432"/>
        </pc:sldMkLst>
      </pc:sldChg>
      <pc:sldChg chg="add del">
        <pc:chgData name="Tabea Monz" userId="S::t.monz@tum.de::f46a5392-c507-4495-8454-0a2fbbcf0cda" providerId="AD" clId="Web-{94C35C81-7508-015F-585E-2F9FC5AAD7A4}" dt="2025-01-06T17:40:16.395" v="1"/>
        <pc:sldMkLst>
          <pc:docMk/>
          <pc:sldMk cId="1657039760" sldId="432"/>
        </pc:sldMkLst>
      </pc:sldChg>
      <pc:sldChg chg="addSp delSp modSp add replId">
        <pc:chgData name="Tabea Monz" userId="S::t.monz@tum.de::f46a5392-c507-4495-8454-0a2fbbcf0cda" providerId="AD" clId="Web-{94C35C81-7508-015F-585E-2F9FC5AAD7A4}" dt="2025-01-06T18:13:43.965" v="1393" actId="1076"/>
        <pc:sldMkLst>
          <pc:docMk/>
          <pc:sldMk cId="3629467396" sldId="433"/>
        </pc:sldMkLst>
      </pc:sldChg>
    </pc:docChg>
  </pc:docChgLst>
  <pc:docChgLst>
    <pc:chgData name="Tabea Monz" userId="S::t.monz@tum.de::f46a5392-c507-4495-8454-0a2fbbcf0cda" providerId="AD" clId="Web-{334333C3-CC1A-B72C-FD2D-6C1DE56EA46B}"/>
    <pc:docChg chg="addSld modSld sldOrd modSection">
      <pc:chgData name="Tabea Monz" userId="S::t.monz@tum.de::f46a5392-c507-4495-8454-0a2fbbcf0cda" providerId="AD" clId="Web-{334333C3-CC1A-B72C-FD2D-6C1DE56EA46B}" dt="2024-11-21T10:54:56.544" v="2001" actId="14100"/>
      <pc:docMkLst>
        <pc:docMk/>
      </pc:docMkLst>
      <pc:sldChg chg="modSp">
        <pc:chgData name="Tabea Monz" userId="S::t.monz@tum.de::f46a5392-c507-4495-8454-0a2fbbcf0cda" providerId="AD" clId="Web-{334333C3-CC1A-B72C-FD2D-6C1DE56EA46B}" dt="2024-11-21T09:04:27.194" v="276" actId="20577"/>
        <pc:sldMkLst>
          <pc:docMk/>
          <pc:sldMk cId="3573279774" sldId="286"/>
        </pc:sldMkLst>
        <pc:spChg chg="mod">
          <ac:chgData name="Tabea Monz" userId="S::t.monz@tum.de::f46a5392-c507-4495-8454-0a2fbbcf0cda" providerId="AD" clId="Web-{334333C3-CC1A-B72C-FD2D-6C1DE56EA46B}" dt="2024-11-21T09:04:27.194" v="276" actId="20577"/>
          <ac:spMkLst>
            <pc:docMk/>
            <pc:sldMk cId="3573279774" sldId="286"/>
            <ac:spMk id="6" creationId="{EECBEFEB-9C0E-5927-15A7-351A5C54385E}"/>
          </ac:spMkLst>
        </pc:spChg>
      </pc:sldChg>
      <pc:sldChg chg="addSp delSp modSp add ord replId">
        <pc:chgData name="Tabea Monz" userId="S::t.monz@tum.de::f46a5392-c507-4495-8454-0a2fbbcf0cda" providerId="AD" clId="Web-{334333C3-CC1A-B72C-FD2D-6C1DE56EA46B}" dt="2024-11-21T09:09:58.519" v="386" actId="1076"/>
        <pc:sldMkLst>
          <pc:docMk/>
          <pc:sldMk cId="1438861554" sldId="395"/>
        </pc:sldMkLst>
        <pc:spChg chg="mod">
          <ac:chgData name="Tabea Monz" userId="S::t.monz@tum.de::f46a5392-c507-4495-8454-0a2fbbcf0cda" providerId="AD" clId="Web-{334333C3-CC1A-B72C-FD2D-6C1DE56EA46B}" dt="2024-11-21T09:06:51.309" v="282" actId="20577"/>
          <ac:spMkLst>
            <pc:docMk/>
            <pc:sldMk cId="1438861554" sldId="395"/>
            <ac:spMk id="5" creationId="{AF8A9881-9AFE-21B0-C166-37DE4B084308}"/>
          </ac:spMkLst>
        </pc:spChg>
        <pc:spChg chg="mod">
          <ac:chgData name="Tabea Monz" userId="S::t.monz@tum.de::f46a5392-c507-4495-8454-0a2fbbcf0cda" providerId="AD" clId="Web-{334333C3-CC1A-B72C-FD2D-6C1DE56EA46B}" dt="2024-11-21T09:06:48.230" v="281" actId="20577"/>
          <ac:spMkLst>
            <pc:docMk/>
            <pc:sldMk cId="1438861554" sldId="395"/>
            <ac:spMk id="326" creationId="{00000000-0000-0000-0000-000000000000}"/>
          </ac:spMkLst>
        </pc:spChg>
        <pc:picChg chg="add mod">
          <ac:chgData name="Tabea Monz" userId="S::t.monz@tum.de::f46a5392-c507-4495-8454-0a2fbbcf0cda" providerId="AD" clId="Web-{334333C3-CC1A-B72C-FD2D-6C1DE56EA46B}" dt="2024-11-21T09:09:58.519" v="386" actId="1076"/>
          <ac:picMkLst>
            <pc:docMk/>
            <pc:sldMk cId="1438861554" sldId="395"/>
            <ac:picMk id="6" creationId="{8237C9B9-E7BE-C6D6-84B1-B6F9D531EF1E}"/>
          </ac:picMkLst>
        </pc:picChg>
      </pc:sldChg>
      <pc:sldChg chg="addSp delSp modSp add ord replId">
        <pc:chgData name="Tabea Monz" userId="S::t.monz@tum.de::f46a5392-c507-4495-8454-0a2fbbcf0cda" providerId="AD" clId="Web-{334333C3-CC1A-B72C-FD2D-6C1DE56EA46B}" dt="2024-11-21T09:59:22.470" v="1263" actId="20577"/>
        <pc:sldMkLst>
          <pc:docMk/>
          <pc:sldMk cId="835949243" sldId="396"/>
        </pc:sldMkLst>
        <pc:spChg chg="mod">
          <ac:chgData name="Tabea Monz" userId="S::t.monz@tum.de::f46a5392-c507-4495-8454-0a2fbbcf0cda" providerId="AD" clId="Web-{334333C3-CC1A-B72C-FD2D-6C1DE56EA46B}" dt="2024-11-21T09:08:53.016" v="376" actId="20577"/>
          <ac:spMkLst>
            <pc:docMk/>
            <pc:sldMk cId="835949243" sldId="396"/>
            <ac:spMk id="22" creationId="{EBB702A9-486F-7A0D-CB8F-ECA64DBCD0C3}"/>
          </ac:spMkLst>
        </pc:spChg>
        <pc:spChg chg="mod">
          <ac:chgData name="Tabea Monz" userId="S::t.monz@tum.de::f46a5392-c507-4495-8454-0a2fbbcf0cda" providerId="AD" clId="Web-{334333C3-CC1A-B72C-FD2D-6C1DE56EA46B}" dt="2024-11-21T09:08:16.671" v="304" actId="20577"/>
          <ac:spMkLst>
            <pc:docMk/>
            <pc:sldMk cId="835949243" sldId="396"/>
            <ac:spMk id="26" creationId="{D8244418-9D3F-2A0B-09A3-8C1970BDA425}"/>
          </ac:spMkLst>
        </pc:spChg>
      </pc:sldChg>
      <pc:sldChg chg="delSp modSp add replId">
        <pc:chgData name="Tabea Monz" userId="S::t.monz@tum.de::f46a5392-c507-4495-8454-0a2fbbcf0cda" providerId="AD" clId="Web-{334333C3-CC1A-B72C-FD2D-6C1DE56EA46B}" dt="2024-11-21T10:54:56.544" v="2001" actId="14100"/>
        <pc:sldMkLst>
          <pc:docMk/>
          <pc:sldMk cId="1557925452" sldId="397"/>
        </pc:sldMkLst>
        <pc:spChg chg="mod">
          <ac:chgData name="Tabea Monz" userId="S::t.monz@tum.de::f46a5392-c507-4495-8454-0a2fbbcf0cda" providerId="AD" clId="Web-{334333C3-CC1A-B72C-FD2D-6C1DE56EA46B}" dt="2024-11-21T09:55:13.711" v="1108" actId="1076"/>
          <ac:spMkLst>
            <pc:docMk/>
            <pc:sldMk cId="1557925452" sldId="397"/>
            <ac:spMk id="2" creationId="{2226C690-FDA5-1BF1-07D6-F8A0FE929463}"/>
          </ac:spMkLst>
        </pc:spChg>
        <pc:spChg chg="mod">
          <ac:chgData name="Tabea Monz" userId="S::t.monz@tum.de::f46a5392-c507-4495-8454-0a2fbbcf0cda" providerId="AD" clId="Web-{334333C3-CC1A-B72C-FD2D-6C1DE56EA46B}" dt="2024-11-21T09:55:46.072" v="1131" actId="20577"/>
          <ac:spMkLst>
            <pc:docMk/>
            <pc:sldMk cId="1557925452" sldId="397"/>
            <ac:spMk id="4" creationId="{0B100EBC-7B68-A345-92A0-145DE6EF14A7}"/>
          </ac:spMkLst>
        </pc:spChg>
        <pc:spChg chg="mod">
          <ac:chgData name="Tabea Monz" userId="S::t.monz@tum.de::f46a5392-c507-4495-8454-0a2fbbcf0cda" providerId="AD" clId="Web-{334333C3-CC1A-B72C-FD2D-6C1DE56EA46B}" dt="2024-11-21T09:59:41.658" v="1272" actId="20577"/>
          <ac:spMkLst>
            <pc:docMk/>
            <pc:sldMk cId="1557925452" sldId="397"/>
            <ac:spMk id="12" creationId="{3CCD2D1A-1DA2-AD54-4F05-393E79DADEA7}"/>
          </ac:spMkLst>
        </pc:spChg>
        <pc:spChg chg="mod">
          <ac:chgData name="Tabea Monz" userId="S::t.monz@tum.de::f46a5392-c507-4495-8454-0a2fbbcf0cda" providerId="AD" clId="Web-{334333C3-CC1A-B72C-FD2D-6C1DE56EA46B}" dt="2024-11-21T09:55:13.883" v="1114" actId="1076"/>
          <ac:spMkLst>
            <pc:docMk/>
            <pc:sldMk cId="1557925452" sldId="397"/>
            <ac:spMk id="18" creationId="{D460B0C8-DDB5-283E-029C-F4E7396BD2D1}"/>
          </ac:spMkLst>
        </pc:spChg>
        <pc:picChg chg="mod">
          <ac:chgData name="Tabea Monz" userId="S::t.monz@tum.de::f46a5392-c507-4495-8454-0a2fbbcf0cda" providerId="AD" clId="Web-{334333C3-CC1A-B72C-FD2D-6C1DE56EA46B}" dt="2024-11-21T09:55:13.852" v="1113" actId="1076"/>
          <ac:picMkLst>
            <pc:docMk/>
            <pc:sldMk cId="1557925452" sldId="397"/>
            <ac:picMk id="17" creationId="{7EF05305-9D3D-CFD5-B906-DB0406163F7C}"/>
          </ac:picMkLst>
        </pc:picChg>
      </pc:sldChg>
      <pc:sldChg chg="modSp add replId">
        <pc:chgData name="Tabea Monz" userId="S::t.monz@tum.de::f46a5392-c507-4495-8454-0a2fbbcf0cda" providerId="AD" clId="Web-{334333C3-CC1A-B72C-FD2D-6C1DE56EA46B}" dt="2024-11-21T09:53:20.301" v="1077" actId="20577"/>
        <pc:sldMkLst>
          <pc:docMk/>
          <pc:sldMk cId="1985343054" sldId="398"/>
        </pc:sldMkLst>
      </pc:sldChg>
      <pc:sldChg chg="addSp modSp add ord replId">
        <pc:chgData name="Tabea Monz" userId="S::t.monz@tum.de::f46a5392-c507-4495-8454-0a2fbbcf0cda" providerId="AD" clId="Web-{334333C3-CC1A-B72C-FD2D-6C1DE56EA46B}" dt="2024-11-21T10:21:33.769" v="1997" actId="20577"/>
        <pc:sldMkLst>
          <pc:docMk/>
          <pc:sldMk cId="2461222098" sldId="399"/>
        </pc:sldMkLst>
        <pc:spChg chg="mod">
          <ac:chgData name="Tabea Monz" userId="S::t.monz@tum.de::f46a5392-c507-4495-8454-0a2fbbcf0cda" providerId="AD" clId="Web-{334333C3-CC1A-B72C-FD2D-6C1DE56EA46B}" dt="2024-11-21T10:17:00.180" v="1787" actId="14100"/>
          <ac:spMkLst>
            <pc:docMk/>
            <pc:sldMk cId="2461222098" sldId="399"/>
            <ac:spMk id="16" creationId="{D91308DA-2110-0B45-0B26-E121F76E64CA}"/>
          </ac:spMkLst>
        </pc:spChg>
        <pc:spChg chg="mod">
          <ac:chgData name="Tabea Monz" userId="S::t.monz@tum.de::f46a5392-c507-4495-8454-0a2fbbcf0cda" providerId="AD" clId="Web-{334333C3-CC1A-B72C-FD2D-6C1DE56EA46B}" dt="2024-11-21T10:21:33.769" v="1997" actId="20577"/>
          <ac:spMkLst>
            <pc:docMk/>
            <pc:sldMk cId="2461222098" sldId="399"/>
            <ac:spMk id="19" creationId="{9B8AE0C5-C237-19D7-5A36-8A635C152CA2}"/>
          </ac:spMkLst>
        </pc:spChg>
        <pc:spChg chg="mod">
          <ac:chgData name="Tabea Monz" userId="S::t.monz@tum.de::f46a5392-c507-4495-8454-0a2fbbcf0cda" providerId="AD" clId="Web-{334333C3-CC1A-B72C-FD2D-6C1DE56EA46B}" dt="2024-11-21T10:21:03.017" v="1995" actId="20577"/>
          <ac:spMkLst>
            <pc:docMk/>
            <pc:sldMk cId="2461222098" sldId="399"/>
            <ac:spMk id="22" creationId="{3217CAE4-727E-902E-01B2-390D4371FDCA}"/>
          </ac:spMkLst>
        </pc:spChg>
      </pc:sldChg>
    </pc:docChg>
  </pc:docChgLst>
  <pc:docChgLst>
    <pc:chgData name="Tabea Monz" userId="S::t.monz@tum.de::f46a5392-c507-4495-8454-0a2fbbcf0cda" providerId="AD" clId="Web-{6A214DDF-09E3-5F78-11CB-1123D465817E}"/>
    <pc:docChg chg="addSld modSld modSection">
      <pc:chgData name="Tabea Monz" userId="S::t.monz@tum.de::f46a5392-c507-4495-8454-0a2fbbcf0cda" providerId="AD" clId="Web-{6A214DDF-09E3-5F78-11CB-1123D465817E}" dt="2024-12-15T18:02:26.051" v="755" actId="20577"/>
      <pc:docMkLst>
        <pc:docMk/>
      </pc:docMkLst>
      <pc:sldChg chg="modSp">
        <pc:chgData name="Tabea Monz" userId="S::t.monz@tum.de::f46a5392-c507-4495-8454-0a2fbbcf0cda" providerId="AD" clId="Web-{6A214DDF-09E3-5F78-11CB-1123D465817E}" dt="2024-12-15T16:59:53.562" v="218" actId="20577"/>
        <pc:sldMkLst>
          <pc:docMk/>
          <pc:sldMk cId="1126850562" sldId="317"/>
        </pc:sldMkLst>
        <pc:spChg chg="mod">
          <ac:chgData name="Tabea Monz" userId="S::t.monz@tum.de::f46a5392-c507-4495-8454-0a2fbbcf0cda" providerId="AD" clId="Web-{6A214DDF-09E3-5F78-11CB-1123D465817E}" dt="2024-12-15T16:59:53.562" v="218" actId="20577"/>
          <ac:spMkLst>
            <pc:docMk/>
            <pc:sldMk cId="1126850562" sldId="317"/>
            <ac:spMk id="15" creationId="{D11F5D38-E76B-2625-D4C9-29A036A7C2F9}"/>
          </ac:spMkLst>
        </pc:spChg>
      </pc:sldChg>
      <pc:sldChg chg="addSp delSp modSp add mod replId modShow">
        <pc:chgData name="Tabea Monz" userId="S::t.monz@tum.de::f46a5392-c507-4495-8454-0a2fbbcf0cda" providerId="AD" clId="Web-{6A214DDF-09E3-5F78-11CB-1123D465817E}" dt="2024-12-15T17:14:44.394" v="361" actId="1076"/>
        <pc:sldMkLst>
          <pc:docMk/>
          <pc:sldMk cId="380781371" sldId="419"/>
        </pc:sldMkLst>
        <pc:spChg chg="mod">
          <ac:chgData name="Tabea Monz" userId="S::t.monz@tum.de::f46a5392-c507-4495-8454-0a2fbbcf0cda" providerId="AD" clId="Web-{6A214DDF-09E3-5F78-11CB-1123D465817E}" dt="2024-12-15T17:09:28.335" v="255" actId="1076"/>
          <ac:spMkLst>
            <pc:docMk/>
            <pc:sldMk cId="380781371" sldId="419"/>
            <ac:spMk id="3" creationId="{CE08FECA-0BAF-9D0E-C810-D24DA73619EB}"/>
          </ac:spMkLst>
        </pc:spChg>
        <pc:picChg chg="add mod">
          <ac:chgData name="Tabea Monz" userId="S::t.monz@tum.de::f46a5392-c507-4495-8454-0a2fbbcf0cda" providerId="AD" clId="Web-{6A214DDF-09E3-5F78-11CB-1123D465817E}" dt="2024-12-15T17:13:12.015" v="321" actId="1076"/>
          <ac:picMkLst>
            <pc:docMk/>
            <pc:sldMk cId="380781371" sldId="419"/>
            <ac:picMk id="12" creationId="{E58B577C-CAF2-2048-5111-DEEFDA708E31}"/>
          </ac:picMkLst>
        </pc:picChg>
        <pc:picChg chg="add mod">
          <ac:chgData name="Tabea Monz" userId="S::t.monz@tum.de::f46a5392-c507-4495-8454-0a2fbbcf0cda" providerId="AD" clId="Web-{6A214DDF-09E3-5F78-11CB-1123D465817E}" dt="2024-12-15T17:09:28.444" v="262" actId="1076"/>
          <ac:picMkLst>
            <pc:docMk/>
            <pc:sldMk cId="380781371" sldId="419"/>
            <ac:picMk id="13" creationId="{50D6FC7E-BFA5-8D16-02AC-4BC9BC529B47}"/>
          </ac:picMkLst>
        </pc:picChg>
        <pc:picChg chg="add mod">
          <ac:chgData name="Tabea Monz" userId="S::t.monz@tum.de::f46a5392-c507-4495-8454-0a2fbbcf0cda" providerId="AD" clId="Web-{6A214DDF-09E3-5F78-11CB-1123D465817E}" dt="2024-12-15T17:09:28.507" v="264" actId="1076"/>
          <ac:picMkLst>
            <pc:docMk/>
            <pc:sldMk cId="380781371" sldId="419"/>
            <ac:picMk id="15" creationId="{96986701-2623-81B2-9EE0-88CBD377EF04}"/>
          </ac:picMkLst>
        </pc:picChg>
        <pc:cxnChg chg="add mod">
          <ac:chgData name="Tabea Monz" userId="S::t.monz@tum.de::f46a5392-c507-4495-8454-0a2fbbcf0cda" providerId="AD" clId="Web-{6A214DDF-09E3-5F78-11CB-1123D465817E}" dt="2024-12-15T17:11:57.591" v="300"/>
          <ac:cxnSpMkLst>
            <pc:docMk/>
            <pc:sldMk cId="380781371" sldId="419"/>
            <ac:cxnSpMk id="20" creationId="{71B10211-6E0A-B76D-CAAD-EF889FF33EC3}"/>
          </ac:cxnSpMkLst>
        </pc:cxnChg>
        <pc:cxnChg chg="add mod">
          <ac:chgData name="Tabea Monz" userId="S::t.monz@tum.de::f46a5392-c507-4495-8454-0a2fbbcf0cda" providerId="AD" clId="Web-{6A214DDF-09E3-5F78-11CB-1123D465817E}" dt="2024-12-15T17:12:57.109" v="316" actId="1076"/>
          <ac:cxnSpMkLst>
            <pc:docMk/>
            <pc:sldMk cId="380781371" sldId="419"/>
            <ac:cxnSpMk id="22" creationId="{9D2EFFD8-D8C8-9661-4999-9B5BF07DDD95}"/>
          </ac:cxnSpMkLst>
        </pc:cxnChg>
        <pc:cxnChg chg="add mod">
          <ac:chgData name="Tabea Monz" userId="S::t.monz@tum.de::f46a5392-c507-4495-8454-0a2fbbcf0cda" providerId="AD" clId="Web-{6A214DDF-09E3-5F78-11CB-1123D465817E}" dt="2024-12-15T17:13:21.875" v="323" actId="14100"/>
          <ac:cxnSpMkLst>
            <pc:docMk/>
            <pc:sldMk cId="380781371" sldId="419"/>
            <ac:cxnSpMk id="23" creationId="{29F35381-D905-69F2-AC17-476B748F005A}"/>
          </ac:cxnSpMkLst>
        </pc:cxnChg>
      </pc:sldChg>
      <pc:sldChg chg="delSp modSp add replId">
        <pc:chgData name="Tabea Monz" userId="S::t.monz@tum.de::f46a5392-c507-4495-8454-0a2fbbcf0cda" providerId="AD" clId="Web-{6A214DDF-09E3-5F78-11CB-1123D465817E}" dt="2024-12-15T16:59:33.889" v="217" actId="20577"/>
        <pc:sldMkLst>
          <pc:docMk/>
          <pc:sldMk cId="1722066996" sldId="420"/>
        </pc:sldMkLst>
        <pc:spChg chg="mod">
          <ac:chgData name="Tabea Monz" userId="S::t.monz@tum.de::f46a5392-c507-4495-8454-0a2fbbcf0cda" providerId="AD" clId="Web-{6A214DDF-09E3-5F78-11CB-1123D465817E}" dt="2024-12-15T16:59:06.107" v="206" actId="20577"/>
          <ac:spMkLst>
            <pc:docMk/>
            <pc:sldMk cId="1722066996" sldId="420"/>
            <ac:spMk id="8" creationId="{EAE65E17-24BD-9146-7605-4AD45B45C364}"/>
          </ac:spMkLst>
        </pc:spChg>
        <pc:spChg chg="mod">
          <ac:chgData name="Tabea Monz" userId="S::t.monz@tum.de::f46a5392-c507-4495-8454-0a2fbbcf0cda" providerId="AD" clId="Web-{6A214DDF-09E3-5F78-11CB-1123D465817E}" dt="2024-12-15T16:59:10.748" v="208" actId="20577"/>
          <ac:spMkLst>
            <pc:docMk/>
            <pc:sldMk cId="1722066996" sldId="420"/>
            <ac:spMk id="13" creationId="{37B1975D-5314-EF92-0D9E-E2A606B471A6}"/>
          </ac:spMkLst>
        </pc:spChg>
        <pc:spChg chg="mod">
          <ac:chgData name="Tabea Monz" userId="S::t.monz@tum.de::f46a5392-c507-4495-8454-0a2fbbcf0cda" providerId="AD" clId="Web-{6A214DDF-09E3-5F78-11CB-1123D465817E}" dt="2024-12-15T16:59:13.295" v="210" actId="20577"/>
          <ac:spMkLst>
            <pc:docMk/>
            <pc:sldMk cId="1722066996" sldId="420"/>
            <ac:spMk id="14" creationId="{70D8283B-838F-7304-E20E-E3F94B3F6925}"/>
          </ac:spMkLst>
        </pc:spChg>
        <pc:spChg chg="mod">
          <ac:chgData name="Tabea Monz" userId="S::t.monz@tum.de::f46a5392-c507-4495-8454-0a2fbbcf0cda" providerId="AD" clId="Web-{6A214DDF-09E3-5F78-11CB-1123D465817E}" dt="2024-12-15T16:59:33.889" v="217" actId="20577"/>
          <ac:spMkLst>
            <pc:docMk/>
            <pc:sldMk cId="1722066996" sldId="420"/>
            <ac:spMk id="15" creationId="{D11F5D38-E76B-2625-D4C9-29A036A7C2F9}"/>
          </ac:spMkLst>
        </pc:spChg>
      </pc:sldChg>
      <pc:sldChg chg="addSp delSp modSp add replId">
        <pc:chgData name="Tabea Monz" userId="S::t.monz@tum.de::f46a5392-c507-4495-8454-0a2fbbcf0cda" providerId="AD" clId="Web-{6A214DDF-09E3-5F78-11CB-1123D465817E}" dt="2024-12-15T18:02:26.051" v="755" actId="20577"/>
        <pc:sldMkLst>
          <pc:docMk/>
          <pc:sldMk cId="4205909830" sldId="421"/>
        </pc:sldMkLst>
        <pc:picChg chg="add mod">
          <ac:chgData name="Tabea Monz" userId="S::t.monz@tum.de::f46a5392-c507-4495-8454-0a2fbbcf0cda" providerId="AD" clId="Web-{6A214DDF-09E3-5F78-11CB-1123D465817E}" dt="2024-12-15T17:59:45.499" v="539" actId="1076"/>
          <ac:picMkLst>
            <pc:docMk/>
            <pc:sldMk cId="4205909830" sldId="421"/>
            <ac:picMk id="2" creationId="{4B66E856-76B2-DF2D-4095-D9A43D3D9FA0}"/>
          </ac:picMkLst>
        </pc:picChg>
      </pc:sldChg>
    </pc:docChg>
  </pc:docChgLst>
  <pc:docChgLst>
    <pc:chgData name="Tabea Monz" userId="S::t.monz@tum.de::f46a5392-c507-4495-8454-0a2fbbcf0cda" providerId="AD" clId="Web-{81BB3049-A91F-4AE2-37F2-12A014436203}"/>
    <pc:docChg chg="addSld delSld modSld sldOrd delSection modSection">
      <pc:chgData name="Tabea Monz" userId="S::t.monz@tum.de::f46a5392-c507-4495-8454-0a2fbbcf0cda" providerId="AD" clId="Web-{81BB3049-A91F-4AE2-37F2-12A014436203}" dt="2025-01-20T17:21:26.749" v="5250" actId="20577"/>
      <pc:docMkLst>
        <pc:docMk/>
      </pc:docMkLst>
      <pc:sldChg chg="modSp">
        <pc:chgData name="Tabea Monz" userId="S::t.monz@tum.de::f46a5392-c507-4495-8454-0a2fbbcf0cda" providerId="AD" clId="Web-{81BB3049-A91F-4AE2-37F2-12A014436203}" dt="2025-01-20T16:59:57.397" v="5091" actId="20577"/>
        <pc:sldMkLst>
          <pc:docMk/>
          <pc:sldMk cId="2457093950" sldId="281"/>
        </pc:sldMkLst>
        <pc:spChg chg="mod">
          <ac:chgData name="Tabea Monz" userId="S::t.monz@tum.de::f46a5392-c507-4495-8454-0a2fbbcf0cda" providerId="AD" clId="Web-{81BB3049-A91F-4AE2-37F2-12A014436203}" dt="2025-01-20T16:59:57.397" v="5091" actId="20577"/>
          <ac:spMkLst>
            <pc:docMk/>
            <pc:sldMk cId="2457093950" sldId="281"/>
            <ac:spMk id="2" creationId="{BF4A43F6-3684-F5A5-85F1-EEDC996D624E}"/>
          </ac:spMkLst>
        </pc:spChg>
        <pc:spChg chg="mod">
          <ac:chgData name="Tabea Monz" userId="S::t.monz@tum.de::f46a5392-c507-4495-8454-0a2fbbcf0cda" providerId="AD" clId="Web-{81BB3049-A91F-4AE2-37F2-12A014436203}" dt="2025-01-20T16:58:28.144" v="5036" actId="20577"/>
          <ac:spMkLst>
            <pc:docMk/>
            <pc:sldMk cId="2457093950" sldId="281"/>
            <ac:spMk id="3" creationId="{F6F5A270-E5B3-1C34-7F0A-AEC95FE0FDDA}"/>
          </ac:spMkLst>
        </pc:spChg>
      </pc:sldChg>
      <pc:sldChg chg="modSp modCm">
        <pc:chgData name="Tabea Monz" userId="S::t.monz@tum.de::f46a5392-c507-4495-8454-0a2fbbcf0cda" providerId="AD" clId="Web-{81BB3049-A91F-4AE2-37F2-12A014436203}" dt="2025-01-20T17:00:59.383" v="5120" actId="20577"/>
        <pc:sldMkLst>
          <pc:docMk/>
          <pc:sldMk cId="1601966315" sldId="285"/>
        </pc:sldMkLst>
        <pc:spChg chg="mod">
          <ac:chgData name="Tabea Monz" userId="S::t.monz@tum.de::f46a5392-c507-4495-8454-0a2fbbcf0cda" providerId="AD" clId="Web-{81BB3049-A91F-4AE2-37F2-12A014436203}" dt="2025-01-20T17:00:59.383" v="5120" actId="20577"/>
          <ac:spMkLst>
            <pc:docMk/>
            <pc:sldMk cId="1601966315" sldId="285"/>
            <ac:spMk id="4" creationId="{9FED2E82-8B4E-CED3-E7CC-13BEEA6B927D}"/>
          </ac:spMkLst>
        </pc:spChg>
        <pc:spChg chg="mod">
          <ac:chgData name="Tabea Monz" userId="S::t.monz@tum.de::f46a5392-c507-4495-8454-0a2fbbcf0cda" providerId="AD" clId="Web-{81BB3049-A91F-4AE2-37F2-12A014436203}" dt="2025-01-20T17:00:26.304" v="5111" actId="20577"/>
          <ac:spMkLst>
            <pc:docMk/>
            <pc:sldMk cId="1601966315" sldId="285"/>
            <ac:spMk id="5" creationId="{47CB8B55-5221-8ED1-B020-5C92DCB4AE8A}"/>
          </ac:spMkLst>
        </pc:spChg>
        <pc:extLst>
          <p:ext xmlns:p="http://schemas.openxmlformats.org/presentationml/2006/main" uri="{D6D511B9-2390-475A-947B-AFAB55BFBCF1}">
            <pc226:cmChg xmlns:pc226="http://schemas.microsoft.com/office/powerpoint/2022/06/main/command" chg="mod">
              <pc226:chgData name="Tabea Monz" userId="S::t.monz@tum.de::f46a5392-c507-4495-8454-0a2fbbcf0cda" providerId="AD" clId="Web-{81BB3049-A91F-4AE2-37F2-12A014436203}" dt="2025-01-20T17:00:25.210" v="5110" actId="20577"/>
              <pc2:cmMkLst xmlns:pc2="http://schemas.microsoft.com/office/powerpoint/2019/9/main/command">
                <pc:docMk/>
                <pc:sldMk cId="1601966315" sldId="285"/>
                <pc2:cmMk id="{BD09969C-429F-45D9-843D-5DFDE323EAE3}"/>
              </pc2:cmMkLst>
            </pc226:cmChg>
          </p:ext>
        </pc:extLst>
      </pc:sldChg>
      <pc:sldChg chg="addSp modSp">
        <pc:chgData name="Tabea Monz" userId="S::t.monz@tum.de::f46a5392-c507-4495-8454-0a2fbbcf0cda" providerId="AD" clId="Web-{81BB3049-A91F-4AE2-37F2-12A014436203}" dt="2025-01-20T17:02:04.807" v="5144" actId="20577"/>
        <pc:sldMkLst>
          <pc:docMk/>
          <pc:sldMk cId="3573279774" sldId="286"/>
        </pc:sldMkLst>
        <pc:spChg chg="add mod">
          <ac:chgData name="Tabea Monz" userId="S::t.monz@tum.de::f46a5392-c507-4495-8454-0a2fbbcf0cda" providerId="AD" clId="Web-{81BB3049-A91F-4AE2-37F2-12A014436203}" dt="2025-01-20T13:43:52.637" v="4411" actId="20577"/>
          <ac:spMkLst>
            <pc:docMk/>
            <pc:sldMk cId="3573279774" sldId="286"/>
            <ac:spMk id="4" creationId="{3B98D95B-10EA-CE22-95E0-1DBB4C1CB63B}"/>
          </ac:spMkLst>
        </pc:spChg>
        <pc:spChg chg="mod">
          <ac:chgData name="Tabea Monz" userId="S::t.monz@tum.de::f46a5392-c507-4495-8454-0a2fbbcf0cda" providerId="AD" clId="Web-{81BB3049-A91F-4AE2-37F2-12A014436203}" dt="2025-01-20T13:40:38.326" v="4385" actId="20577"/>
          <ac:spMkLst>
            <pc:docMk/>
            <pc:sldMk cId="3573279774" sldId="286"/>
            <ac:spMk id="6" creationId="{EECBEFEB-9C0E-5927-15A7-351A5C54385E}"/>
          </ac:spMkLst>
        </pc:spChg>
        <pc:spChg chg="mod">
          <ac:chgData name="Tabea Monz" userId="S::t.monz@tum.de::f46a5392-c507-4495-8454-0a2fbbcf0cda" providerId="AD" clId="Web-{81BB3049-A91F-4AE2-37F2-12A014436203}" dt="2025-01-20T13:41:44.331" v="4393" actId="14100"/>
          <ac:spMkLst>
            <pc:docMk/>
            <pc:sldMk cId="3573279774" sldId="286"/>
            <ac:spMk id="16" creationId="{9512D10A-8AFA-B149-A351-9F6D9825A080}"/>
          </ac:spMkLst>
        </pc:spChg>
      </pc:sldChg>
      <pc:sldChg chg="del">
        <pc:chgData name="Tabea Monz" userId="S::t.monz@tum.de::f46a5392-c507-4495-8454-0a2fbbcf0cda" providerId="AD" clId="Web-{81BB3049-A91F-4AE2-37F2-12A014436203}" dt="2025-01-20T10:07:21.491" v="1308"/>
        <pc:sldMkLst>
          <pc:docMk/>
          <pc:sldMk cId="2451751709" sldId="298"/>
        </pc:sldMkLst>
      </pc:sldChg>
      <pc:sldChg chg="del">
        <pc:chgData name="Tabea Monz" userId="S::t.monz@tum.de::f46a5392-c507-4495-8454-0a2fbbcf0cda" providerId="AD" clId="Web-{81BB3049-A91F-4AE2-37F2-12A014436203}" dt="2025-01-20T13:15:47.004" v="3786"/>
        <pc:sldMkLst>
          <pc:docMk/>
          <pc:sldMk cId="3394550179" sldId="299"/>
        </pc:sldMkLst>
      </pc:sldChg>
      <pc:sldChg chg="del">
        <pc:chgData name="Tabea Monz" userId="S::t.monz@tum.de::f46a5392-c507-4495-8454-0a2fbbcf0cda" providerId="AD" clId="Web-{81BB3049-A91F-4AE2-37F2-12A014436203}" dt="2025-01-20T13:15:46.973" v="3783"/>
        <pc:sldMkLst>
          <pc:docMk/>
          <pc:sldMk cId="3143837598" sldId="300"/>
        </pc:sldMkLst>
      </pc:sldChg>
      <pc:sldChg chg="modSp">
        <pc:chgData name="Tabea Monz" userId="S::t.monz@tum.de::f46a5392-c507-4495-8454-0a2fbbcf0cda" providerId="AD" clId="Web-{81BB3049-A91F-4AE2-37F2-12A014436203}" dt="2025-01-20T16:57:00.594" v="5004" actId="20577"/>
        <pc:sldMkLst>
          <pc:docMk/>
          <pc:sldMk cId="855508414" sldId="301"/>
        </pc:sldMkLst>
        <pc:spChg chg="mod">
          <ac:chgData name="Tabea Monz" userId="S::t.monz@tum.de::f46a5392-c507-4495-8454-0a2fbbcf0cda" providerId="AD" clId="Web-{81BB3049-A91F-4AE2-37F2-12A014436203}" dt="2025-01-20T15:28:50.343" v="4946"/>
          <ac:spMkLst>
            <pc:docMk/>
            <pc:sldMk cId="855508414" sldId="301"/>
            <ac:spMk id="2" creationId="{78EF8FC4-C080-D74B-FA0A-DAA361DC6682}"/>
          </ac:spMkLst>
        </pc:spChg>
        <pc:spChg chg="mod">
          <ac:chgData name="Tabea Monz" userId="S::t.monz@tum.de::f46a5392-c507-4495-8454-0a2fbbcf0cda" providerId="AD" clId="Web-{81BB3049-A91F-4AE2-37F2-12A014436203}" dt="2025-01-20T15:28:50.343" v="4950"/>
          <ac:spMkLst>
            <pc:docMk/>
            <pc:sldMk cId="855508414" sldId="301"/>
            <ac:spMk id="5" creationId="{D4C413BD-98A7-F90F-8885-7185FB0495C4}"/>
          </ac:spMkLst>
        </pc:spChg>
        <pc:spChg chg="mod">
          <ac:chgData name="Tabea Monz" userId="S::t.monz@tum.de::f46a5392-c507-4495-8454-0a2fbbcf0cda" providerId="AD" clId="Web-{81BB3049-A91F-4AE2-37F2-12A014436203}" dt="2025-01-20T16:57:00.594" v="5004" actId="20577"/>
          <ac:spMkLst>
            <pc:docMk/>
            <pc:sldMk cId="855508414" sldId="301"/>
            <ac:spMk id="45" creationId="{FDA57636-E66E-F394-3E03-5D03159A3A34}"/>
          </ac:spMkLst>
        </pc:spChg>
        <pc:spChg chg="mod">
          <ac:chgData name="Tabea Monz" userId="S::t.monz@tum.de::f46a5392-c507-4495-8454-0a2fbbcf0cda" providerId="AD" clId="Web-{81BB3049-A91F-4AE2-37F2-12A014436203}" dt="2025-01-20T15:28:50.327" v="4942"/>
          <ac:spMkLst>
            <pc:docMk/>
            <pc:sldMk cId="855508414" sldId="301"/>
            <ac:spMk id="47" creationId="{B4038930-0E51-1F15-F0BF-04F535E1BD00}"/>
          </ac:spMkLst>
        </pc:spChg>
        <pc:spChg chg="mod">
          <ac:chgData name="Tabea Monz" userId="S::t.monz@tum.de::f46a5392-c507-4495-8454-0a2fbbcf0cda" providerId="AD" clId="Web-{81BB3049-A91F-4AE2-37F2-12A014436203}" dt="2025-01-20T15:28:50.327" v="4944"/>
          <ac:spMkLst>
            <pc:docMk/>
            <pc:sldMk cId="855508414" sldId="301"/>
            <ac:spMk id="49" creationId="{82127627-34E5-8BD9-1F2B-D74DDC96773B}"/>
          </ac:spMkLst>
        </pc:spChg>
        <pc:spChg chg="mod">
          <ac:chgData name="Tabea Monz" userId="S::t.monz@tum.de::f46a5392-c507-4495-8454-0a2fbbcf0cda" providerId="AD" clId="Web-{81BB3049-A91F-4AE2-37F2-12A014436203}" dt="2025-01-20T15:28:50.312" v="4939"/>
          <ac:spMkLst>
            <pc:docMk/>
            <pc:sldMk cId="855508414" sldId="301"/>
            <ac:spMk id="345" creationId="{00000000-0000-0000-0000-000000000000}"/>
          </ac:spMkLst>
        </pc:spChg>
      </pc:sldChg>
      <pc:sldChg chg="modSp">
        <pc:chgData name="Tabea Monz" userId="S::t.monz@tum.de::f46a5392-c507-4495-8454-0a2fbbcf0cda" providerId="AD" clId="Web-{81BB3049-A91F-4AE2-37F2-12A014436203}" dt="2025-01-20T16:56:14.968" v="4995" actId="20577"/>
        <pc:sldMkLst>
          <pc:docMk/>
          <pc:sldMk cId="2738800295" sldId="302"/>
        </pc:sldMkLst>
        <pc:spChg chg="mod">
          <ac:chgData name="Tabea Monz" userId="S::t.monz@tum.de::f46a5392-c507-4495-8454-0a2fbbcf0cda" providerId="AD" clId="Web-{81BB3049-A91F-4AE2-37F2-12A014436203}" dt="2025-01-20T16:56:14.968" v="4995" actId="20577"/>
          <ac:spMkLst>
            <pc:docMk/>
            <pc:sldMk cId="2738800295" sldId="302"/>
            <ac:spMk id="7" creationId="{48E25BC3-2A78-5F2C-F720-366C9B167CBD}"/>
          </ac:spMkLst>
        </pc:spChg>
      </pc:sldChg>
      <pc:sldChg chg="modSp">
        <pc:chgData name="Tabea Monz" userId="S::t.monz@tum.de::f46a5392-c507-4495-8454-0a2fbbcf0cda" providerId="AD" clId="Web-{81BB3049-A91F-4AE2-37F2-12A014436203}" dt="2025-01-20T16:55:41.529" v="4978" actId="20577"/>
        <pc:sldMkLst>
          <pc:docMk/>
          <pc:sldMk cId="1608053785" sldId="303"/>
        </pc:sldMkLst>
        <pc:spChg chg="mod">
          <ac:chgData name="Tabea Monz" userId="S::t.monz@tum.de::f46a5392-c507-4495-8454-0a2fbbcf0cda" providerId="AD" clId="Web-{81BB3049-A91F-4AE2-37F2-12A014436203}" dt="2025-01-20T16:55:41.529" v="4978" actId="20577"/>
          <ac:spMkLst>
            <pc:docMk/>
            <pc:sldMk cId="1608053785" sldId="303"/>
            <ac:spMk id="7" creationId="{48E25BC3-2A78-5F2C-F720-366C9B167CBD}"/>
          </ac:spMkLst>
        </pc:spChg>
      </pc:sldChg>
      <pc:sldChg chg="delSp modSp">
        <pc:chgData name="Tabea Monz" userId="S::t.monz@tum.de::f46a5392-c507-4495-8454-0a2fbbcf0cda" providerId="AD" clId="Web-{81BB3049-A91F-4AE2-37F2-12A014436203}" dt="2025-01-20T09:31:29.951" v="344" actId="14100"/>
        <pc:sldMkLst>
          <pc:docMk/>
          <pc:sldMk cId="656948936" sldId="307"/>
        </pc:sldMkLst>
        <pc:spChg chg="mod">
          <ac:chgData name="Tabea Monz" userId="S::t.monz@tum.de::f46a5392-c507-4495-8454-0a2fbbcf0cda" providerId="AD" clId="Web-{81BB3049-A91F-4AE2-37F2-12A014436203}" dt="2025-01-20T09:22:40.632" v="56" actId="20577"/>
          <ac:spMkLst>
            <pc:docMk/>
            <pc:sldMk cId="656948936" sldId="307"/>
            <ac:spMk id="2" creationId="{FE3A5165-8DD7-B00A-7B51-96C83EC80066}"/>
          </ac:spMkLst>
        </pc:spChg>
        <pc:spChg chg="mod">
          <ac:chgData name="Tabea Monz" userId="S::t.monz@tum.de::f46a5392-c507-4495-8454-0a2fbbcf0cda" providerId="AD" clId="Web-{81BB3049-A91F-4AE2-37F2-12A014436203}" dt="2025-01-20T09:31:29.951" v="344" actId="14100"/>
          <ac:spMkLst>
            <pc:docMk/>
            <pc:sldMk cId="656948936" sldId="307"/>
            <ac:spMk id="18" creationId="{9D402FC9-B003-6ABB-29C8-CFE131F86AFE}"/>
          </ac:spMkLst>
        </pc:spChg>
      </pc:sldChg>
      <pc:sldChg chg="modSp">
        <pc:chgData name="Tabea Monz" userId="S::t.monz@tum.de::f46a5392-c507-4495-8454-0a2fbbcf0cda" providerId="AD" clId="Web-{81BB3049-A91F-4AE2-37F2-12A014436203}" dt="2025-01-20T16:58:10.550" v="5034" actId="20577"/>
        <pc:sldMkLst>
          <pc:docMk/>
          <pc:sldMk cId="4118735400" sldId="311"/>
        </pc:sldMkLst>
      </pc:sldChg>
      <pc:sldChg chg="modSp">
        <pc:chgData name="Tabea Monz" userId="S::t.monz@tum.de::f46a5392-c507-4495-8454-0a2fbbcf0cda" providerId="AD" clId="Web-{81BB3049-A91F-4AE2-37F2-12A014436203}" dt="2025-01-20T17:04:50.077" v="5199" actId="20577"/>
        <pc:sldMkLst>
          <pc:docMk/>
          <pc:sldMk cId="1126850562" sldId="317"/>
        </pc:sldMkLst>
        <pc:spChg chg="mod">
          <ac:chgData name="Tabea Monz" userId="S::t.monz@tum.de::f46a5392-c507-4495-8454-0a2fbbcf0cda" providerId="AD" clId="Web-{81BB3049-A91F-4AE2-37F2-12A014436203}" dt="2025-01-20T17:04:50.077" v="5199" actId="20577"/>
          <ac:spMkLst>
            <pc:docMk/>
            <pc:sldMk cId="1126850562" sldId="317"/>
            <ac:spMk id="15" creationId="{D11F5D38-E76B-2625-D4C9-29A036A7C2F9}"/>
          </ac:spMkLst>
        </pc:spChg>
      </pc:sldChg>
      <pc:sldChg chg="del">
        <pc:chgData name="Tabea Monz" userId="S::t.monz@tum.de::f46a5392-c507-4495-8454-0a2fbbcf0cda" providerId="AD" clId="Web-{81BB3049-A91F-4AE2-37F2-12A014436203}" dt="2025-01-20T10:07:18.803" v="1307"/>
        <pc:sldMkLst>
          <pc:docMk/>
          <pc:sldMk cId="2310605384" sldId="319"/>
        </pc:sldMkLst>
      </pc:sldChg>
      <pc:sldChg chg="del">
        <pc:chgData name="Tabea Monz" userId="S::t.monz@tum.de::f46a5392-c507-4495-8454-0a2fbbcf0cda" providerId="AD" clId="Web-{81BB3049-A91F-4AE2-37F2-12A014436203}" dt="2025-01-20T10:07:24.288" v="1309"/>
        <pc:sldMkLst>
          <pc:docMk/>
          <pc:sldMk cId="2685171253" sldId="320"/>
        </pc:sldMkLst>
      </pc:sldChg>
      <pc:sldChg chg="del">
        <pc:chgData name="Tabea Monz" userId="S::t.monz@tum.de::f46a5392-c507-4495-8454-0a2fbbcf0cda" providerId="AD" clId="Web-{81BB3049-A91F-4AE2-37F2-12A014436203}" dt="2025-01-20T13:15:47.020" v="3788"/>
        <pc:sldMkLst>
          <pc:docMk/>
          <pc:sldMk cId="1718109997" sldId="321"/>
        </pc:sldMkLst>
      </pc:sldChg>
      <pc:sldChg chg="del">
        <pc:chgData name="Tabea Monz" userId="S::t.monz@tum.de::f46a5392-c507-4495-8454-0a2fbbcf0cda" providerId="AD" clId="Web-{81BB3049-A91F-4AE2-37F2-12A014436203}" dt="2025-01-20T13:15:47.004" v="3787"/>
        <pc:sldMkLst>
          <pc:docMk/>
          <pc:sldMk cId="16049607" sldId="322"/>
        </pc:sldMkLst>
      </pc:sldChg>
      <pc:sldChg chg="del">
        <pc:chgData name="Tabea Monz" userId="S::t.monz@tum.de::f46a5392-c507-4495-8454-0a2fbbcf0cda" providerId="AD" clId="Web-{81BB3049-A91F-4AE2-37F2-12A014436203}" dt="2025-01-20T13:15:46.988" v="3785"/>
        <pc:sldMkLst>
          <pc:docMk/>
          <pc:sldMk cId="1910569066" sldId="323"/>
        </pc:sldMkLst>
      </pc:sldChg>
      <pc:sldChg chg="del">
        <pc:chgData name="Tabea Monz" userId="S::t.monz@tum.de::f46a5392-c507-4495-8454-0a2fbbcf0cda" providerId="AD" clId="Web-{81BB3049-A91F-4AE2-37F2-12A014436203}" dt="2025-01-20T13:15:46.973" v="3784"/>
        <pc:sldMkLst>
          <pc:docMk/>
          <pc:sldMk cId="2591005778" sldId="324"/>
        </pc:sldMkLst>
      </pc:sldChg>
      <pc:sldChg chg="del">
        <pc:chgData name="Tabea Monz" userId="S::t.monz@tum.de::f46a5392-c507-4495-8454-0a2fbbcf0cda" providerId="AD" clId="Web-{81BB3049-A91F-4AE2-37F2-12A014436203}" dt="2025-01-20T13:15:46.941" v="3779"/>
        <pc:sldMkLst>
          <pc:docMk/>
          <pc:sldMk cId="2059201764" sldId="329"/>
        </pc:sldMkLst>
      </pc:sldChg>
      <pc:sldChg chg="del">
        <pc:chgData name="Tabea Monz" userId="S::t.monz@tum.de::f46a5392-c507-4495-8454-0a2fbbcf0cda" providerId="AD" clId="Web-{81BB3049-A91F-4AE2-37F2-12A014436203}" dt="2025-01-20T13:15:46.926" v="3778"/>
        <pc:sldMkLst>
          <pc:docMk/>
          <pc:sldMk cId="1263294924" sldId="330"/>
        </pc:sldMkLst>
      </pc:sldChg>
      <pc:sldChg chg="del">
        <pc:chgData name="Tabea Monz" userId="S::t.monz@tum.de::f46a5392-c507-4495-8454-0a2fbbcf0cda" providerId="AD" clId="Web-{81BB3049-A91F-4AE2-37F2-12A014436203}" dt="2025-01-20T13:15:46.910" v="3776"/>
        <pc:sldMkLst>
          <pc:docMk/>
          <pc:sldMk cId="3545089216" sldId="331"/>
        </pc:sldMkLst>
      </pc:sldChg>
      <pc:sldChg chg="del">
        <pc:chgData name="Tabea Monz" userId="S::t.monz@tum.de::f46a5392-c507-4495-8454-0a2fbbcf0cda" providerId="AD" clId="Web-{81BB3049-A91F-4AE2-37F2-12A014436203}" dt="2025-01-20T13:15:46.895" v="3775"/>
        <pc:sldMkLst>
          <pc:docMk/>
          <pc:sldMk cId="659666124" sldId="332"/>
        </pc:sldMkLst>
      </pc:sldChg>
      <pc:sldChg chg="del">
        <pc:chgData name="Tabea Monz" userId="S::t.monz@tum.de::f46a5392-c507-4495-8454-0a2fbbcf0cda" providerId="AD" clId="Web-{81BB3049-A91F-4AE2-37F2-12A014436203}" dt="2025-01-20T13:15:46.879" v="3774"/>
        <pc:sldMkLst>
          <pc:docMk/>
          <pc:sldMk cId="1361510755" sldId="333"/>
        </pc:sldMkLst>
      </pc:sldChg>
      <pc:sldChg chg="modSp">
        <pc:chgData name="Tabea Monz" userId="S::t.monz@tum.de::f46a5392-c507-4495-8454-0a2fbbcf0cda" providerId="AD" clId="Web-{81BB3049-A91F-4AE2-37F2-12A014436203}" dt="2025-01-20T16:57:31.376" v="5017" actId="20577"/>
        <pc:sldMkLst>
          <pc:docMk/>
          <pc:sldMk cId="1183542163" sldId="339"/>
        </pc:sldMkLst>
        <pc:spChg chg="mod">
          <ac:chgData name="Tabea Monz" userId="S::t.monz@tum.de::f46a5392-c507-4495-8454-0a2fbbcf0cda" providerId="AD" clId="Web-{81BB3049-A91F-4AE2-37F2-12A014436203}" dt="2025-01-20T16:57:31.376" v="5017" actId="20577"/>
          <ac:spMkLst>
            <pc:docMk/>
            <pc:sldMk cId="1183542163" sldId="339"/>
            <ac:spMk id="6" creationId="{0E630E31-56A7-45D2-FE61-A1F165CD464C}"/>
          </ac:spMkLst>
        </pc:spChg>
      </pc:sldChg>
      <pc:sldChg chg="del">
        <pc:chgData name="Tabea Monz" userId="S::t.monz@tum.de::f46a5392-c507-4495-8454-0a2fbbcf0cda" providerId="AD" clId="Web-{81BB3049-A91F-4AE2-37F2-12A014436203}" dt="2025-01-20T13:15:46.863" v="3773"/>
        <pc:sldMkLst>
          <pc:docMk/>
          <pc:sldMk cId="1127244407" sldId="341"/>
        </pc:sldMkLst>
      </pc:sldChg>
      <pc:sldChg chg="del">
        <pc:chgData name="Tabea Monz" userId="S::t.monz@tum.de::f46a5392-c507-4495-8454-0a2fbbcf0cda" providerId="AD" clId="Web-{81BB3049-A91F-4AE2-37F2-12A014436203}" dt="2025-01-20T13:15:46.848" v="3771"/>
        <pc:sldMkLst>
          <pc:docMk/>
          <pc:sldMk cId="2740505906" sldId="343"/>
        </pc:sldMkLst>
      </pc:sldChg>
      <pc:sldChg chg="del">
        <pc:chgData name="Tabea Monz" userId="S::t.monz@tum.de::f46a5392-c507-4495-8454-0a2fbbcf0cda" providerId="AD" clId="Web-{81BB3049-A91F-4AE2-37F2-12A014436203}" dt="2025-01-20T13:15:46.848" v="3770"/>
        <pc:sldMkLst>
          <pc:docMk/>
          <pc:sldMk cId="4291341608" sldId="344"/>
        </pc:sldMkLst>
      </pc:sldChg>
      <pc:sldChg chg="del">
        <pc:chgData name="Tabea Monz" userId="S::t.monz@tum.de::f46a5392-c507-4495-8454-0a2fbbcf0cda" providerId="AD" clId="Web-{81BB3049-A91F-4AE2-37F2-12A014436203}" dt="2025-01-20T13:15:46.848" v="3769"/>
        <pc:sldMkLst>
          <pc:docMk/>
          <pc:sldMk cId="2497767716" sldId="345"/>
        </pc:sldMkLst>
      </pc:sldChg>
      <pc:sldChg chg="del">
        <pc:chgData name="Tabea Monz" userId="S::t.monz@tum.de::f46a5392-c507-4495-8454-0a2fbbcf0cda" providerId="AD" clId="Web-{81BB3049-A91F-4AE2-37F2-12A014436203}" dt="2025-01-20T13:15:46.832" v="3767"/>
        <pc:sldMkLst>
          <pc:docMk/>
          <pc:sldMk cId="1464927690" sldId="348"/>
        </pc:sldMkLst>
      </pc:sldChg>
      <pc:sldChg chg="del">
        <pc:chgData name="Tabea Monz" userId="S::t.monz@tum.de::f46a5392-c507-4495-8454-0a2fbbcf0cda" providerId="AD" clId="Web-{81BB3049-A91F-4AE2-37F2-12A014436203}" dt="2025-01-20T13:15:46.832" v="3766"/>
        <pc:sldMkLst>
          <pc:docMk/>
          <pc:sldMk cId="1933968534" sldId="349"/>
        </pc:sldMkLst>
      </pc:sldChg>
      <pc:sldChg chg="del">
        <pc:chgData name="Tabea Monz" userId="S::t.monz@tum.de::f46a5392-c507-4495-8454-0a2fbbcf0cda" providerId="AD" clId="Web-{81BB3049-A91F-4AE2-37F2-12A014436203}" dt="2025-01-20T13:16:00.099" v="3790"/>
        <pc:sldMkLst>
          <pc:docMk/>
          <pc:sldMk cId="284084864" sldId="350"/>
        </pc:sldMkLst>
      </pc:sldChg>
      <pc:sldChg chg="del">
        <pc:chgData name="Tabea Monz" userId="S::t.monz@tum.de::f46a5392-c507-4495-8454-0a2fbbcf0cda" providerId="AD" clId="Web-{81BB3049-A91F-4AE2-37F2-12A014436203}" dt="2025-01-20T13:15:46.941" v="3780"/>
        <pc:sldMkLst>
          <pc:docMk/>
          <pc:sldMk cId="2797522874" sldId="351"/>
        </pc:sldMkLst>
      </pc:sldChg>
      <pc:sldChg chg="del">
        <pc:chgData name="Tabea Monz" userId="S::t.monz@tum.de::f46a5392-c507-4495-8454-0a2fbbcf0cda" providerId="AD" clId="Web-{81BB3049-A91F-4AE2-37F2-12A014436203}" dt="2025-01-20T13:15:46.957" v="3782"/>
        <pc:sldMkLst>
          <pc:docMk/>
          <pc:sldMk cId="160204436" sldId="352"/>
        </pc:sldMkLst>
      </pc:sldChg>
      <pc:sldChg chg="del">
        <pc:chgData name="Tabea Monz" userId="S::t.monz@tum.de::f46a5392-c507-4495-8454-0a2fbbcf0cda" providerId="AD" clId="Web-{81BB3049-A91F-4AE2-37F2-12A014436203}" dt="2025-01-20T13:15:46.957" v="3781"/>
        <pc:sldMkLst>
          <pc:docMk/>
          <pc:sldMk cId="3237785027" sldId="354"/>
        </pc:sldMkLst>
      </pc:sldChg>
      <pc:sldChg chg="del">
        <pc:chgData name="Tabea Monz" userId="S::t.monz@tum.de::f46a5392-c507-4495-8454-0a2fbbcf0cda" providerId="AD" clId="Web-{81BB3049-A91F-4AE2-37F2-12A014436203}" dt="2025-01-20T13:15:46.832" v="3768"/>
        <pc:sldMkLst>
          <pc:docMk/>
          <pc:sldMk cId="736897047" sldId="355"/>
        </pc:sldMkLst>
      </pc:sldChg>
      <pc:sldChg chg="del">
        <pc:chgData name="Tabea Monz" userId="S::t.monz@tum.de::f46a5392-c507-4495-8454-0a2fbbcf0cda" providerId="AD" clId="Web-{81BB3049-A91F-4AE2-37F2-12A014436203}" dt="2025-01-20T13:15:46.816" v="3765"/>
        <pc:sldMkLst>
          <pc:docMk/>
          <pc:sldMk cId="828749288" sldId="356"/>
        </pc:sldMkLst>
      </pc:sldChg>
      <pc:sldChg chg="del">
        <pc:chgData name="Tabea Monz" userId="S::t.monz@tum.de::f46a5392-c507-4495-8454-0a2fbbcf0cda" providerId="AD" clId="Web-{81BB3049-A91F-4AE2-37F2-12A014436203}" dt="2025-01-20T13:15:46.816" v="3764"/>
        <pc:sldMkLst>
          <pc:docMk/>
          <pc:sldMk cId="1051582617" sldId="357"/>
        </pc:sldMkLst>
      </pc:sldChg>
      <pc:sldChg chg="del">
        <pc:chgData name="Tabea Monz" userId="S::t.monz@tum.de::f46a5392-c507-4495-8454-0a2fbbcf0cda" providerId="AD" clId="Web-{81BB3049-A91F-4AE2-37F2-12A014436203}" dt="2025-01-20T13:15:46.816" v="3763"/>
        <pc:sldMkLst>
          <pc:docMk/>
          <pc:sldMk cId="284211673" sldId="359"/>
        </pc:sldMkLst>
      </pc:sldChg>
      <pc:sldChg chg="del">
        <pc:chgData name="Tabea Monz" userId="S::t.monz@tum.de::f46a5392-c507-4495-8454-0a2fbbcf0cda" providerId="AD" clId="Web-{81BB3049-A91F-4AE2-37F2-12A014436203}" dt="2025-01-20T13:15:46.801" v="3762"/>
        <pc:sldMkLst>
          <pc:docMk/>
          <pc:sldMk cId="2478495603" sldId="360"/>
        </pc:sldMkLst>
      </pc:sldChg>
      <pc:sldChg chg="del">
        <pc:chgData name="Tabea Monz" userId="S::t.monz@tum.de::f46a5392-c507-4495-8454-0a2fbbcf0cda" providerId="AD" clId="Web-{81BB3049-A91F-4AE2-37F2-12A014436203}" dt="2025-01-20T13:15:46.801" v="3761"/>
        <pc:sldMkLst>
          <pc:docMk/>
          <pc:sldMk cId="2305601738" sldId="361"/>
        </pc:sldMkLst>
      </pc:sldChg>
      <pc:sldChg chg="del">
        <pc:chgData name="Tabea Monz" userId="S::t.monz@tum.de::f46a5392-c507-4495-8454-0a2fbbcf0cda" providerId="AD" clId="Web-{81BB3049-A91F-4AE2-37F2-12A014436203}" dt="2025-01-20T13:15:46.801" v="3760"/>
        <pc:sldMkLst>
          <pc:docMk/>
          <pc:sldMk cId="3347662735" sldId="362"/>
        </pc:sldMkLst>
      </pc:sldChg>
      <pc:sldChg chg="del">
        <pc:chgData name="Tabea Monz" userId="S::t.monz@tum.de::f46a5392-c507-4495-8454-0a2fbbcf0cda" providerId="AD" clId="Web-{81BB3049-A91F-4AE2-37F2-12A014436203}" dt="2025-01-20T13:15:46.785" v="3759"/>
        <pc:sldMkLst>
          <pc:docMk/>
          <pc:sldMk cId="1343127239" sldId="363"/>
        </pc:sldMkLst>
      </pc:sldChg>
      <pc:sldChg chg="del">
        <pc:chgData name="Tabea Monz" userId="S::t.monz@tum.de::f46a5392-c507-4495-8454-0a2fbbcf0cda" providerId="AD" clId="Web-{81BB3049-A91F-4AE2-37F2-12A014436203}" dt="2025-01-20T13:15:46.785" v="3758"/>
        <pc:sldMkLst>
          <pc:docMk/>
          <pc:sldMk cId="4283035542" sldId="364"/>
        </pc:sldMkLst>
      </pc:sldChg>
      <pc:sldChg chg="del">
        <pc:chgData name="Tabea Monz" userId="S::t.monz@tum.de::f46a5392-c507-4495-8454-0a2fbbcf0cda" providerId="AD" clId="Web-{81BB3049-A91F-4AE2-37F2-12A014436203}" dt="2025-01-20T13:15:46.770" v="3757"/>
        <pc:sldMkLst>
          <pc:docMk/>
          <pc:sldMk cId="3128357680" sldId="365"/>
        </pc:sldMkLst>
      </pc:sldChg>
      <pc:sldChg chg="modSp">
        <pc:chgData name="Tabea Monz" userId="S::t.monz@tum.de::f46a5392-c507-4495-8454-0a2fbbcf0cda" providerId="AD" clId="Web-{81BB3049-A91F-4AE2-37F2-12A014436203}" dt="2025-01-20T15:29:43.969" v="4954"/>
        <pc:sldMkLst>
          <pc:docMk/>
          <pc:sldMk cId="1662382075" sldId="367"/>
        </pc:sldMkLst>
      </pc:sldChg>
      <pc:sldChg chg="del">
        <pc:chgData name="Tabea Monz" userId="S::t.monz@tum.de::f46a5392-c507-4495-8454-0a2fbbcf0cda" providerId="AD" clId="Web-{81BB3049-A91F-4AE2-37F2-12A014436203}" dt="2025-01-20T13:15:46.910" v="3777"/>
        <pc:sldMkLst>
          <pc:docMk/>
          <pc:sldMk cId="2573843723" sldId="369"/>
        </pc:sldMkLst>
      </pc:sldChg>
      <pc:sldChg chg="del">
        <pc:chgData name="Tabea Monz" userId="S::t.monz@tum.de::f46a5392-c507-4495-8454-0a2fbbcf0cda" providerId="AD" clId="Web-{81BB3049-A91F-4AE2-37F2-12A014436203}" dt="2025-01-20T13:15:46.863" v="3772"/>
        <pc:sldMkLst>
          <pc:docMk/>
          <pc:sldMk cId="3616379370" sldId="381"/>
        </pc:sldMkLst>
      </pc:sldChg>
      <pc:sldChg chg="addSp modSp">
        <pc:chgData name="Tabea Monz" userId="S::t.monz@tum.de::f46a5392-c507-4495-8454-0a2fbbcf0cda" providerId="AD" clId="Web-{81BB3049-A91F-4AE2-37F2-12A014436203}" dt="2025-01-20T09:19:21.828" v="9" actId="14100"/>
        <pc:sldMkLst>
          <pc:docMk/>
          <pc:sldMk cId="2461222098" sldId="399"/>
        </pc:sldMkLst>
      </pc:sldChg>
      <pc:sldChg chg="modSp">
        <pc:chgData name="Tabea Monz" userId="S::t.monz@tum.de::f46a5392-c507-4495-8454-0a2fbbcf0cda" providerId="AD" clId="Web-{81BB3049-A91F-4AE2-37F2-12A014436203}" dt="2025-01-20T17:20:39.341" v="5247" actId="20577"/>
        <pc:sldMkLst>
          <pc:docMk/>
          <pc:sldMk cId="2146858438" sldId="408"/>
        </pc:sldMkLst>
      </pc:sldChg>
      <pc:sldChg chg="modSp">
        <pc:chgData name="Tabea Monz" userId="S::t.monz@tum.de::f46a5392-c507-4495-8454-0a2fbbcf0cda" providerId="AD" clId="Web-{81BB3049-A91F-4AE2-37F2-12A014436203}" dt="2025-01-20T17:01:28.853" v="5136" actId="20577"/>
        <pc:sldMkLst>
          <pc:docMk/>
          <pc:sldMk cId="4165276256" sldId="409"/>
        </pc:sldMkLst>
      </pc:sldChg>
      <pc:sldChg chg="modSp">
        <pc:chgData name="Tabea Monz" userId="S::t.monz@tum.de::f46a5392-c507-4495-8454-0a2fbbcf0cda" providerId="AD" clId="Web-{81BB3049-A91F-4AE2-37F2-12A014436203}" dt="2025-01-20T17:01:44.103" v="5143" actId="20577"/>
        <pc:sldMkLst>
          <pc:docMk/>
          <pc:sldMk cId="3117399487" sldId="411"/>
        </pc:sldMkLst>
      </pc:sldChg>
      <pc:sldChg chg="modSp">
        <pc:chgData name="Tabea Monz" userId="S::t.monz@tum.de::f46a5392-c507-4495-8454-0a2fbbcf0cda" providerId="AD" clId="Web-{81BB3049-A91F-4AE2-37F2-12A014436203}" dt="2025-01-20T17:20:58.607" v="5249" actId="20577"/>
        <pc:sldMkLst>
          <pc:docMk/>
          <pc:sldMk cId="374364369" sldId="413"/>
        </pc:sldMkLst>
        <pc:spChg chg="mod">
          <ac:chgData name="Tabea Monz" userId="S::t.monz@tum.de::f46a5392-c507-4495-8454-0a2fbbcf0cda" providerId="AD" clId="Web-{81BB3049-A91F-4AE2-37F2-12A014436203}" dt="2025-01-20T17:20:58.607" v="5249" actId="20577"/>
          <ac:spMkLst>
            <pc:docMk/>
            <pc:sldMk cId="374364369" sldId="413"/>
            <ac:spMk id="11" creationId="{C5107335-C559-E6D1-CF82-CCF7C8E26BC5}"/>
          </ac:spMkLst>
        </pc:spChg>
        <pc:spChg chg="mod">
          <ac:chgData name="Tabea Monz" userId="S::t.monz@tum.de::f46a5392-c507-4495-8454-0a2fbbcf0cda" providerId="AD" clId="Web-{81BB3049-A91F-4AE2-37F2-12A014436203}" dt="2025-01-20T12:22:51.237" v="2401"/>
          <ac:spMkLst>
            <pc:docMk/>
            <pc:sldMk cId="374364369" sldId="413"/>
            <ac:spMk id="23" creationId="{398755E3-11DE-4DE7-84A9-771248D82E97}"/>
          </ac:spMkLst>
        </pc:spChg>
      </pc:sldChg>
      <pc:sldChg chg="modSp">
        <pc:chgData name="Tabea Monz" userId="S::t.monz@tum.de::f46a5392-c507-4495-8454-0a2fbbcf0cda" providerId="AD" clId="Web-{81BB3049-A91F-4AE2-37F2-12A014436203}" dt="2025-01-20T17:03:43.654" v="5178" actId="20577"/>
        <pc:sldMkLst>
          <pc:docMk/>
          <pc:sldMk cId="3390966927" sldId="414"/>
        </pc:sldMkLst>
        <pc:spChg chg="mod">
          <ac:chgData name="Tabea Monz" userId="S::t.monz@tum.de::f46a5392-c507-4495-8454-0a2fbbcf0cda" providerId="AD" clId="Web-{81BB3049-A91F-4AE2-37F2-12A014436203}" dt="2025-01-20T17:03:43.654" v="5178" actId="20577"/>
          <ac:spMkLst>
            <pc:docMk/>
            <pc:sldMk cId="3390966927" sldId="414"/>
            <ac:spMk id="11" creationId="{C5107335-C559-E6D1-CF82-CCF7C8E26BC5}"/>
          </ac:spMkLst>
        </pc:spChg>
      </pc:sldChg>
      <pc:sldChg chg="modSp">
        <pc:chgData name="Tabea Monz" userId="S::t.monz@tum.de::f46a5392-c507-4495-8454-0a2fbbcf0cda" providerId="AD" clId="Web-{81BB3049-A91F-4AE2-37F2-12A014436203}" dt="2025-01-20T17:04:38.327" v="5197" actId="20577"/>
        <pc:sldMkLst>
          <pc:docMk/>
          <pc:sldMk cId="4042999223" sldId="415"/>
        </pc:sldMkLst>
        <pc:spChg chg="mod">
          <ac:chgData name="Tabea Monz" userId="S::t.monz@tum.de::f46a5392-c507-4495-8454-0a2fbbcf0cda" providerId="AD" clId="Web-{81BB3049-A91F-4AE2-37F2-12A014436203}" dt="2025-01-20T17:04:38.327" v="5197" actId="20577"/>
          <ac:spMkLst>
            <pc:docMk/>
            <pc:sldMk cId="4042999223" sldId="415"/>
            <ac:spMk id="11" creationId="{C5107335-C559-E6D1-CF82-CCF7C8E26BC5}"/>
          </ac:spMkLst>
        </pc:spChg>
      </pc:sldChg>
      <pc:sldChg chg="modSp">
        <pc:chgData name="Tabea Monz" userId="S::t.monz@tum.de::f46a5392-c507-4495-8454-0a2fbbcf0cda" providerId="AD" clId="Web-{81BB3049-A91F-4AE2-37F2-12A014436203}" dt="2025-01-20T15:04:00.727" v="4835" actId="20577"/>
        <pc:sldMkLst>
          <pc:docMk/>
          <pc:sldMk cId="380781371" sldId="419"/>
        </pc:sldMkLst>
      </pc:sldChg>
      <pc:sldChg chg="modSp ord">
        <pc:chgData name="Tabea Monz" userId="S::t.monz@tum.de::f46a5392-c507-4495-8454-0a2fbbcf0cda" providerId="AD" clId="Web-{81BB3049-A91F-4AE2-37F2-12A014436203}" dt="2025-01-20T12:08:18.848" v="2263" actId="14100"/>
        <pc:sldMkLst>
          <pc:docMk/>
          <pc:sldMk cId="1722066996" sldId="420"/>
        </pc:sldMkLst>
        <pc:spChg chg="mod">
          <ac:chgData name="Tabea Monz" userId="S::t.monz@tum.de::f46a5392-c507-4495-8454-0a2fbbcf0cda" providerId="AD" clId="Web-{81BB3049-A91F-4AE2-37F2-12A014436203}" dt="2025-01-20T12:08:18.848" v="2263" actId="14100"/>
          <ac:spMkLst>
            <pc:docMk/>
            <pc:sldMk cId="1722066996" sldId="420"/>
            <ac:spMk id="14" creationId="{70D8283B-838F-7304-E20E-E3F94B3F6925}"/>
          </ac:spMkLst>
        </pc:spChg>
      </pc:sldChg>
      <pc:sldChg chg="addSp modSp">
        <pc:chgData name="Tabea Monz" userId="S::t.monz@tum.de::f46a5392-c507-4495-8454-0a2fbbcf0cda" providerId="AD" clId="Web-{81BB3049-A91F-4AE2-37F2-12A014436203}" dt="2025-01-20T17:21:26.749" v="5250" actId="20577"/>
        <pc:sldMkLst>
          <pc:docMk/>
          <pc:sldMk cId="4205909830" sldId="421"/>
        </pc:sldMkLst>
        <pc:spChg chg="mod">
          <ac:chgData name="Tabea Monz" userId="S::t.monz@tum.de::f46a5392-c507-4495-8454-0a2fbbcf0cda" providerId="AD" clId="Web-{81BB3049-A91F-4AE2-37F2-12A014436203}" dt="2025-01-20T15:04:44.307" v="4868" actId="1076"/>
          <ac:spMkLst>
            <pc:docMk/>
            <pc:sldMk cId="4205909830" sldId="421"/>
            <ac:spMk id="11" creationId="{23CC8457-06D3-D223-AEA0-721518433E75}"/>
          </ac:spMkLst>
        </pc:spChg>
        <pc:spChg chg="add mod">
          <ac:chgData name="Tabea Monz" userId="S::t.monz@tum.de::f46a5392-c507-4495-8454-0a2fbbcf0cda" providerId="AD" clId="Web-{81BB3049-A91F-4AE2-37F2-12A014436203}" dt="2025-01-20T15:04:44.385" v="4870" actId="1076"/>
          <ac:spMkLst>
            <pc:docMk/>
            <pc:sldMk cId="4205909830" sldId="421"/>
            <ac:spMk id="13" creationId="{C4327A5A-CA25-443E-3790-CA71A4612C94}"/>
          </ac:spMkLst>
        </pc:spChg>
        <pc:picChg chg="mod">
          <ac:chgData name="Tabea Monz" userId="S::t.monz@tum.de::f46a5392-c507-4495-8454-0a2fbbcf0cda" providerId="AD" clId="Web-{81BB3049-A91F-4AE2-37F2-12A014436203}" dt="2025-01-20T15:04:44.275" v="4866" actId="1076"/>
          <ac:picMkLst>
            <pc:docMk/>
            <pc:sldMk cId="4205909830" sldId="421"/>
            <ac:picMk id="2" creationId="{4B66E856-76B2-DF2D-4095-D9A43D3D9FA0}"/>
          </ac:picMkLst>
        </pc:picChg>
        <pc:picChg chg="add mod">
          <ac:chgData name="Tabea Monz" userId="S::t.monz@tum.de::f46a5392-c507-4495-8454-0a2fbbcf0cda" providerId="AD" clId="Web-{81BB3049-A91F-4AE2-37F2-12A014436203}" dt="2025-01-20T15:04:44.369" v="4869" actId="1076"/>
          <ac:picMkLst>
            <pc:docMk/>
            <pc:sldMk cId="4205909830" sldId="421"/>
            <ac:picMk id="12" creationId="{AB676831-8CBF-27A6-EC02-458C9D8256E8}"/>
          </ac:picMkLst>
        </pc:picChg>
        <pc:cxnChg chg="mod">
          <ac:chgData name="Tabea Monz" userId="S::t.monz@tum.de::f46a5392-c507-4495-8454-0a2fbbcf0cda" providerId="AD" clId="Web-{81BB3049-A91F-4AE2-37F2-12A014436203}" dt="2025-01-20T15:04:44.291" v="4867" actId="1076"/>
          <ac:cxnSpMkLst>
            <pc:docMk/>
            <pc:sldMk cId="4205909830" sldId="421"/>
            <ac:cxnSpMk id="7" creationId="{09A89F02-4D33-1036-DEC9-54EF6879E466}"/>
          </ac:cxnSpMkLst>
        </pc:cxnChg>
        <pc:cxnChg chg="add mod">
          <ac:chgData name="Tabea Monz" userId="S::t.monz@tum.de::f46a5392-c507-4495-8454-0a2fbbcf0cda" providerId="AD" clId="Web-{81BB3049-A91F-4AE2-37F2-12A014436203}" dt="2025-01-20T15:04:44.416" v="4871" actId="1076"/>
          <ac:cxnSpMkLst>
            <pc:docMk/>
            <pc:sldMk cId="4205909830" sldId="421"/>
            <ac:cxnSpMk id="14" creationId="{07FE6EDD-0CD9-2626-9727-E2D79F34A0DA}"/>
          </ac:cxnSpMkLst>
        </pc:cxnChg>
      </pc:sldChg>
      <pc:sldChg chg="modSp">
        <pc:chgData name="Tabea Monz" userId="S::t.monz@tum.de::f46a5392-c507-4495-8454-0a2fbbcf0cda" providerId="AD" clId="Web-{81BB3049-A91F-4AE2-37F2-12A014436203}" dt="2025-01-20T15:05:56.918" v="4937" actId="20577"/>
        <pc:sldMkLst>
          <pc:docMk/>
          <pc:sldMk cId="2184080923" sldId="422"/>
        </pc:sldMkLst>
        <pc:spChg chg="mod">
          <ac:chgData name="Tabea Monz" userId="S::t.monz@tum.de::f46a5392-c507-4495-8454-0a2fbbcf0cda" providerId="AD" clId="Web-{81BB3049-A91F-4AE2-37F2-12A014436203}" dt="2025-01-20T15:05:49.277" v="4916" actId="1076"/>
          <ac:spMkLst>
            <pc:docMk/>
            <pc:sldMk cId="2184080923" sldId="422"/>
            <ac:spMk id="2" creationId="{8DF91FA9-194B-187E-AF19-D03625582856}"/>
          </ac:spMkLst>
        </pc:spChg>
        <pc:spChg chg="mod">
          <ac:chgData name="Tabea Monz" userId="S::t.monz@tum.de::f46a5392-c507-4495-8454-0a2fbbcf0cda" providerId="AD" clId="Web-{81BB3049-A91F-4AE2-37F2-12A014436203}" dt="2025-01-20T15:05:49.324" v="4917" actId="1076"/>
          <ac:spMkLst>
            <pc:docMk/>
            <pc:sldMk cId="2184080923" sldId="422"/>
            <ac:spMk id="7" creationId="{15F9DA44-5138-2324-896A-CE1AC4EECEB5}"/>
          </ac:spMkLst>
        </pc:spChg>
        <pc:spChg chg="mod">
          <ac:chgData name="Tabea Monz" userId="S::t.monz@tum.de::f46a5392-c507-4495-8454-0a2fbbcf0cda" providerId="AD" clId="Web-{81BB3049-A91F-4AE2-37F2-12A014436203}" dt="2025-01-20T15:05:49.355" v="4918" actId="1076"/>
          <ac:spMkLst>
            <pc:docMk/>
            <pc:sldMk cId="2184080923" sldId="422"/>
            <ac:spMk id="10" creationId="{FFE52F3F-8C8B-1F03-70F2-7FFDAEA10D3D}"/>
          </ac:spMkLst>
        </pc:spChg>
        <pc:spChg chg="mod">
          <ac:chgData name="Tabea Monz" userId="S::t.monz@tum.de::f46a5392-c507-4495-8454-0a2fbbcf0cda" providerId="AD" clId="Web-{81BB3049-A91F-4AE2-37F2-12A014436203}" dt="2025-01-20T15:05:49.402" v="4919" actId="1076"/>
          <ac:spMkLst>
            <pc:docMk/>
            <pc:sldMk cId="2184080923" sldId="422"/>
            <ac:spMk id="11" creationId="{A4BD3A12-7EA5-D5C3-CB04-EA0BD842AAD0}"/>
          </ac:spMkLst>
        </pc:spChg>
        <pc:spChg chg="mod">
          <ac:chgData name="Tabea Monz" userId="S::t.monz@tum.de::f46a5392-c507-4495-8454-0a2fbbcf0cda" providerId="AD" clId="Web-{81BB3049-A91F-4AE2-37F2-12A014436203}" dt="2025-01-20T15:05:49.433" v="4920" actId="1076"/>
          <ac:spMkLst>
            <pc:docMk/>
            <pc:sldMk cId="2184080923" sldId="422"/>
            <ac:spMk id="12" creationId="{958A8A82-7D13-394C-AAF6-33CE8FEC1297}"/>
          </ac:spMkLst>
        </pc:spChg>
        <pc:spChg chg="mod">
          <ac:chgData name="Tabea Monz" userId="S::t.monz@tum.de::f46a5392-c507-4495-8454-0a2fbbcf0cda" providerId="AD" clId="Web-{81BB3049-A91F-4AE2-37F2-12A014436203}" dt="2025-01-20T15:05:49.465" v="4921" actId="1076"/>
          <ac:spMkLst>
            <pc:docMk/>
            <pc:sldMk cId="2184080923" sldId="422"/>
            <ac:spMk id="13" creationId="{D9A213EC-57EB-9A97-7374-0FA658EC8A87}"/>
          </ac:spMkLst>
        </pc:spChg>
        <pc:spChg chg="mod">
          <ac:chgData name="Tabea Monz" userId="S::t.monz@tum.de::f46a5392-c507-4495-8454-0a2fbbcf0cda" providerId="AD" clId="Web-{81BB3049-A91F-4AE2-37F2-12A014436203}" dt="2025-01-20T15:05:49.511" v="4922" actId="1076"/>
          <ac:spMkLst>
            <pc:docMk/>
            <pc:sldMk cId="2184080923" sldId="422"/>
            <ac:spMk id="14" creationId="{1A9595D0-0EDE-AE8C-CDD6-7183393EC758}"/>
          </ac:spMkLst>
        </pc:spChg>
        <pc:spChg chg="mod">
          <ac:chgData name="Tabea Monz" userId="S::t.monz@tum.de::f46a5392-c507-4495-8454-0a2fbbcf0cda" providerId="AD" clId="Web-{81BB3049-A91F-4AE2-37F2-12A014436203}" dt="2025-01-20T15:05:49.558" v="4923" actId="1076"/>
          <ac:spMkLst>
            <pc:docMk/>
            <pc:sldMk cId="2184080923" sldId="422"/>
            <ac:spMk id="15" creationId="{17C3873C-EC78-2740-5E01-6896B5F07254}"/>
          </ac:spMkLst>
        </pc:spChg>
        <pc:spChg chg="mod">
          <ac:chgData name="Tabea Monz" userId="S::t.monz@tum.de::f46a5392-c507-4495-8454-0a2fbbcf0cda" providerId="AD" clId="Web-{81BB3049-A91F-4AE2-37F2-12A014436203}" dt="2025-01-20T15:05:49.590" v="4924" actId="1076"/>
          <ac:spMkLst>
            <pc:docMk/>
            <pc:sldMk cId="2184080923" sldId="422"/>
            <ac:spMk id="16" creationId="{9B7E8834-E0F0-0B8C-14E8-4024EECA1F8C}"/>
          </ac:spMkLst>
        </pc:spChg>
        <pc:spChg chg="mod">
          <ac:chgData name="Tabea Monz" userId="S::t.monz@tum.de::f46a5392-c507-4495-8454-0a2fbbcf0cda" providerId="AD" clId="Web-{81BB3049-A91F-4AE2-37F2-12A014436203}" dt="2025-01-20T15:05:49.636" v="4925" actId="1076"/>
          <ac:spMkLst>
            <pc:docMk/>
            <pc:sldMk cId="2184080923" sldId="422"/>
            <ac:spMk id="17" creationId="{C046C142-CEC9-230D-300A-01E539620B8E}"/>
          </ac:spMkLst>
        </pc:spChg>
        <pc:inkChg chg="mod">
          <ac:chgData name="Tabea Monz" userId="S::t.monz@tum.de::f46a5392-c507-4495-8454-0a2fbbcf0cda" providerId="AD" clId="Web-{81BB3049-A91F-4AE2-37F2-12A014436203}" dt="2025-01-20T15:05:49.668" v="4926" actId="1076"/>
          <ac:inkMkLst>
            <pc:docMk/>
            <pc:sldMk cId="2184080923" sldId="422"/>
            <ac:inkMk id="18" creationId="{7A2785AF-7ED5-2AC8-1E4B-7E3697A2BFA9}"/>
          </ac:inkMkLst>
        </pc:inkChg>
        <pc:inkChg chg="mod">
          <ac:chgData name="Tabea Monz" userId="S::t.monz@tum.de::f46a5392-c507-4495-8454-0a2fbbcf0cda" providerId="AD" clId="Web-{81BB3049-A91F-4AE2-37F2-12A014436203}" dt="2025-01-20T15:05:49.699" v="4927" actId="1076"/>
          <ac:inkMkLst>
            <pc:docMk/>
            <pc:sldMk cId="2184080923" sldId="422"/>
            <ac:inkMk id="20" creationId="{D6696518-473D-812C-DED5-84B8C6895573}"/>
          </ac:inkMkLst>
        </pc:inkChg>
        <pc:inkChg chg="mod">
          <ac:chgData name="Tabea Monz" userId="S::t.monz@tum.de::f46a5392-c507-4495-8454-0a2fbbcf0cda" providerId="AD" clId="Web-{81BB3049-A91F-4AE2-37F2-12A014436203}" dt="2025-01-20T15:05:49.746" v="4928" actId="1076"/>
          <ac:inkMkLst>
            <pc:docMk/>
            <pc:sldMk cId="2184080923" sldId="422"/>
            <ac:inkMk id="21" creationId="{D87F246B-D4A5-BC47-30B1-D15397521698}"/>
          </ac:inkMkLst>
        </pc:inkChg>
        <pc:inkChg chg="mod">
          <ac:chgData name="Tabea Monz" userId="S::t.monz@tum.de::f46a5392-c507-4495-8454-0a2fbbcf0cda" providerId="AD" clId="Web-{81BB3049-A91F-4AE2-37F2-12A014436203}" dt="2025-01-20T15:05:49.777" v="4929" actId="1076"/>
          <ac:inkMkLst>
            <pc:docMk/>
            <pc:sldMk cId="2184080923" sldId="422"/>
            <ac:inkMk id="22" creationId="{2F3BC88F-11D6-D396-4509-0F950C67F54C}"/>
          </ac:inkMkLst>
        </pc:inkChg>
        <pc:inkChg chg="mod">
          <ac:chgData name="Tabea Monz" userId="S::t.monz@tum.de::f46a5392-c507-4495-8454-0a2fbbcf0cda" providerId="AD" clId="Web-{81BB3049-A91F-4AE2-37F2-12A014436203}" dt="2025-01-20T15:05:49.824" v="4930" actId="1076"/>
          <ac:inkMkLst>
            <pc:docMk/>
            <pc:sldMk cId="2184080923" sldId="422"/>
            <ac:inkMk id="23" creationId="{E94C07AD-6FE0-7474-CD29-A8F0CB177DE1}"/>
          </ac:inkMkLst>
        </pc:inkChg>
        <pc:inkChg chg="mod">
          <ac:chgData name="Tabea Monz" userId="S::t.monz@tum.de::f46a5392-c507-4495-8454-0a2fbbcf0cda" providerId="AD" clId="Web-{81BB3049-A91F-4AE2-37F2-12A014436203}" dt="2025-01-20T15:05:49.855" v="4931" actId="1076"/>
          <ac:inkMkLst>
            <pc:docMk/>
            <pc:sldMk cId="2184080923" sldId="422"/>
            <ac:inkMk id="24" creationId="{6E4B759B-1007-A20E-0504-29E0A61BC948}"/>
          </ac:inkMkLst>
        </pc:inkChg>
        <pc:inkChg chg="mod">
          <ac:chgData name="Tabea Monz" userId="S::t.monz@tum.de::f46a5392-c507-4495-8454-0a2fbbcf0cda" providerId="AD" clId="Web-{81BB3049-A91F-4AE2-37F2-12A014436203}" dt="2025-01-20T15:05:49.886" v="4932" actId="1076"/>
          <ac:inkMkLst>
            <pc:docMk/>
            <pc:sldMk cId="2184080923" sldId="422"/>
            <ac:inkMk id="25" creationId="{639CDF51-93E7-22AD-9F85-EEEC3DF2179E}"/>
          </ac:inkMkLst>
        </pc:inkChg>
        <pc:inkChg chg="mod">
          <ac:chgData name="Tabea Monz" userId="S::t.monz@tum.de::f46a5392-c507-4495-8454-0a2fbbcf0cda" providerId="AD" clId="Web-{81BB3049-A91F-4AE2-37F2-12A014436203}" dt="2025-01-20T15:05:49.933" v="4933" actId="1076"/>
          <ac:inkMkLst>
            <pc:docMk/>
            <pc:sldMk cId="2184080923" sldId="422"/>
            <ac:inkMk id="26" creationId="{BA485899-61F8-B3B9-7B5D-54E5E1FD770A}"/>
          </ac:inkMkLst>
        </pc:inkChg>
        <pc:inkChg chg="mod">
          <ac:chgData name="Tabea Monz" userId="S::t.monz@tum.de::f46a5392-c507-4495-8454-0a2fbbcf0cda" providerId="AD" clId="Web-{81BB3049-A91F-4AE2-37F2-12A014436203}" dt="2025-01-20T15:05:49.965" v="4934" actId="1076"/>
          <ac:inkMkLst>
            <pc:docMk/>
            <pc:sldMk cId="2184080923" sldId="422"/>
            <ac:inkMk id="27" creationId="{04631351-EC26-6174-9468-C44407B4E9E9}"/>
          </ac:inkMkLst>
        </pc:inkChg>
        <pc:inkChg chg="mod">
          <ac:chgData name="Tabea Monz" userId="S::t.monz@tum.de::f46a5392-c507-4495-8454-0a2fbbcf0cda" providerId="AD" clId="Web-{81BB3049-A91F-4AE2-37F2-12A014436203}" dt="2025-01-20T15:05:49.996" v="4935" actId="1076"/>
          <ac:inkMkLst>
            <pc:docMk/>
            <pc:sldMk cId="2184080923" sldId="422"/>
            <ac:inkMk id="28" creationId="{AF723341-60E9-4AF0-1863-C6FA44A81E3B}"/>
          </ac:inkMkLst>
        </pc:inkChg>
      </pc:sldChg>
      <pc:sldChg chg="modSp">
        <pc:chgData name="Tabea Monz" userId="S::t.monz@tum.de::f46a5392-c507-4495-8454-0a2fbbcf0cda" providerId="AD" clId="Web-{81BB3049-A91F-4AE2-37F2-12A014436203}" dt="2025-01-20T14:51:15.693" v="4818"/>
        <pc:sldMkLst>
          <pc:docMk/>
          <pc:sldMk cId="3998095132" sldId="426"/>
        </pc:sldMkLst>
      </pc:sldChg>
      <pc:sldChg chg="modSp">
        <pc:chgData name="Tabea Monz" userId="S::t.monz@tum.de::f46a5392-c507-4495-8454-0a2fbbcf0cda" providerId="AD" clId="Web-{81BB3049-A91F-4AE2-37F2-12A014436203}" dt="2025-01-20T14:47:46.984" v="4623" actId="20577"/>
        <pc:sldMkLst>
          <pc:docMk/>
          <pc:sldMk cId="1509426377" sldId="428"/>
        </pc:sldMkLst>
      </pc:sldChg>
      <pc:sldChg chg="modSp">
        <pc:chgData name="Tabea Monz" userId="S::t.monz@tum.de::f46a5392-c507-4495-8454-0a2fbbcf0cda" providerId="AD" clId="Web-{81BB3049-A91F-4AE2-37F2-12A014436203}" dt="2025-01-20T13:10:34.310" v="3441" actId="20577"/>
        <pc:sldMkLst>
          <pc:docMk/>
          <pc:sldMk cId="2492418948" sldId="431"/>
        </pc:sldMkLst>
      </pc:sldChg>
      <pc:sldChg chg="modSp">
        <pc:chgData name="Tabea Monz" userId="S::t.monz@tum.de::f46a5392-c507-4495-8454-0a2fbbcf0cda" providerId="AD" clId="Web-{81BB3049-A91F-4AE2-37F2-12A014436203}" dt="2025-01-20T12:58:18.244" v="2870" actId="20577"/>
        <pc:sldMkLst>
          <pc:docMk/>
          <pc:sldMk cId="1100900693" sldId="432"/>
        </pc:sldMkLst>
      </pc:sldChg>
      <pc:sldChg chg="addSp delSp modSp">
        <pc:chgData name="Tabea Monz" userId="S::t.monz@tum.de::f46a5392-c507-4495-8454-0a2fbbcf0cda" providerId="AD" clId="Web-{81BB3049-A91F-4AE2-37F2-12A014436203}" dt="2025-01-20T13:14:23.592" v="3756"/>
        <pc:sldMkLst>
          <pc:docMk/>
          <pc:sldMk cId="3629467396" sldId="433"/>
        </pc:sldMkLst>
      </pc:sldChg>
      <pc:sldChg chg="del">
        <pc:chgData name="Tabea Monz" userId="S::t.monz@tum.de::f46a5392-c507-4495-8454-0a2fbbcf0cda" providerId="AD" clId="Web-{81BB3049-A91F-4AE2-37F2-12A014436203}" dt="2025-01-20T09:55:37.213" v="1111"/>
        <pc:sldMkLst>
          <pc:docMk/>
          <pc:sldMk cId="1727805124" sldId="434"/>
        </pc:sldMkLst>
      </pc:sldChg>
      <pc:sldChg chg="del">
        <pc:chgData name="Tabea Monz" userId="S::t.monz@tum.de::f46a5392-c507-4495-8454-0a2fbbcf0cda" providerId="AD" clId="Web-{81BB3049-A91F-4AE2-37F2-12A014436203}" dt="2025-01-20T10:06:19.020" v="1294"/>
        <pc:sldMkLst>
          <pc:docMk/>
          <pc:sldMk cId="1654275836" sldId="435"/>
        </pc:sldMkLst>
      </pc:sldChg>
      <pc:sldChg chg="modSp del">
        <pc:chgData name="Tabea Monz" userId="S::t.monz@tum.de::f46a5392-c507-4495-8454-0a2fbbcf0cda" providerId="AD" clId="Web-{81BB3049-A91F-4AE2-37F2-12A014436203}" dt="2025-01-20T09:21:30.864" v="14"/>
        <pc:sldMkLst>
          <pc:docMk/>
          <pc:sldMk cId="3645510430" sldId="438"/>
        </pc:sldMkLst>
      </pc:sldChg>
      <pc:sldChg chg="modSp">
        <pc:chgData name="Tabea Monz" userId="S::t.monz@tum.de::f46a5392-c507-4495-8454-0a2fbbcf0cda" providerId="AD" clId="Web-{81BB3049-A91F-4AE2-37F2-12A014436203}" dt="2025-01-20T17:02:51.730" v="5158" actId="20577"/>
        <pc:sldMkLst>
          <pc:docMk/>
          <pc:sldMk cId="2283035292" sldId="439"/>
        </pc:sldMkLst>
      </pc:sldChg>
      <pc:sldChg chg="modSp">
        <pc:chgData name="Tabea Monz" userId="S::t.monz@tum.de::f46a5392-c507-4495-8454-0a2fbbcf0cda" providerId="AD" clId="Web-{81BB3049-A91F-4AE2-37F2-12A014436203}" dt="2025-01-20T17:08:52.647" v="5237" actId="20577"/>
        <pc:sldMkLst>
          <pc:docMk/>
          <pc:sldMk cId="1009469891" sldId="440"/>
        </pc:sldMkLst>
        <pc:spChg chg="mod">
          <ac:chgData name="Tabea Monz" userId="S::t.monz@tum.de::f46a5392-c507-4495-8454-0a2fbbcf0cda" providerId="AD" clId="Web-{81BB3049-A91F-4AE2-37F2-12A014436203}" dt="2025-01-20T17:08:52.647" v="5237" actId="20577"/>
          <ac:spMkLst>
            <pc:docMk/>
            <pc:sldMk cId="1009469891" sldId="440"/>
            <ac:spMk id="2" creationId="{BF4A43F6-3684-F5A5-85F1-EEDC996D624E}"/>
          </ac:spMkLst>
        </pc:spChg>
        <pc:spChg chg="mod">
          <ac:chgData name="Tabea Monz" userId="S::t.monz@tum.de::f46a5392-c507-4495-8454-0a2fbbcf0cda" providerId="AD" clId="Web-{81BB3049-A91F-4AE2-37F2-12A014436203}" dt="2025-01-20T17:07:51.661" v="5203" actId="20577"/>
          <ac:spMkLst>
            <pc:docMk/>
            <pc:sldMk cId="1009469891" sldId="440"/>
            <ac:spMk id="3" creationId="{F6F5A270-E5B3-1C34-7F0A-AEC95FE0FDDA}"/>
          </ac:spMkLst>
        </pc:spChg>
        <pc:spChg chg="mod">
          <ac:chgData name="Tabea Monz" userId="S::t.monz@tum.de::f46a5392-c507-4495-8454-0a2fbbcf0cda" providerId="AD" clId="Web-{81BB3049-A91F-4AE2-37F2-12A014436203}" dt="2025-01-20T17:07:46.973" v="5202" actId="20577"/>
          <ac:spMkLst>
            <pc:docMk/>
            <pc:sldMk cId="1009469891" sldId="440"/>
            <ac:spMk id="9" creationId="{B6B497AA-972B-9F4E-E175-1E7500A7D45E}"/>
          </ac:spMkLst>
        </pc:spChg>
      </pc:sldChg>
      <pc:sldChg chg="modSp">
        <pc:chgData name="Tabea Monz" userId="S::t.monz@tum.de::f46a5392-c507-4495-8454-0a2fbbcf0cda" providerId="AD" clId="Web-{81BB3049-A91F-4AE2-37F2-12A014436203}" dt="2025-01-20T14:51:08.958" v="4816"/>
        <pc:sldMkLst>
          <pc:docMk/>
          <pc:sldMk cId="788011974" sldId="442"/>
        </pc:sldMkLst>
      </pc:sldChg>
      <pc:sldChg chg="modSp add replId">
        <pc:chgData name="Tabea Monz" userId="S::t.monz@tum.de::f46a5392-c507-4495-8454-0a2fbbcf0cda" providerId="AD" clId="Web-{81BB3049-A91F-4AE2-37F2-12A014436203}" dt="2025-01-20T12:42:18.786" v="2413" actId="20577"/>
        <pc:sldMkLst>
          <pc:docMk/>
          <pc:sldMk cId="2161542675" sldId="443"/>
        </pc:sldMkLst>
        <pc:spChg chg="mod">
          <ac:chgData name="Tabea Monz" userId="S::t.monz@tum.de::f46a5392-c507-4495-8454-0a2fbbcf0cda" providerId="AD" clId="Web-{81BB3049-A91F-4AE2-37F2-12A014436203}" dt="2025-01-20T12:42:18.786" v="2413" actId="20577"/>
          <ac:spMkLst>
            <pc:docMk/>
            <pc:sldMk cId="2161542675" sldId="443"/>
            <ac:spMk id="8" creationId="{05F98F18-E122-0D7D-F115-4F947744DAF8}"/>
          </ac:spMkLst>
        </pc:spChg>
      </pc:sldChg>
      <pc:sldChg chg="add replId">
        <pc:chgData name="Tabea Monz" userId="S::t.monz@tum.de::f46a5392-c507-4495-8454-0a2fbbcf0cda" providerId="AD" clId="Web-{81BB3049-A91F-4AE2-37F2-12A014436203}" dt="2025-01-20T09:21:56.256" v="16"/>
        <pc:sldMkLst>
          <pc:docMk/>
          <pc:sldMk cId="1116173053" sldId="444"/>
        </pc:sldMkLst>
      </pc:sldChg>
      <pc:sldChg chg="addSp delSp modSp add replId">
        <pc:chgData name="Tabea Monz" userId="S::t.monz@tum.de::f46a5392-c507-4495-8454-0a2fbbcf0cda" providerId="AD" clId="Web-{81BB3049-A91F-4AE2-37F2-12A014436203}" dt="2025-01-20T15:03:56.899" v="4833" actId="20577"/>
        <pc:sldMkLst>
          <pc:docMk/>
          <pc:sldMk cId="1246978811" sldId="445"/>
        </pc:sldMkLst>
        <pc:spChg chg="mod">
          <ac:chgData name="Tabea Monz" userId="S::t.monz@tum.de::f46a5392-c507-4495-8454-0a2fbbcf0cda" providerId="AD" clId="Web-{81BB3049-A91F-4AE2-37F2-12A014436203}" dt="2025-01-20T10:04:47.766" v="1252" actId="20577"/>
          <ac:spMkLst>
            <pc:docMk/>
            <pc:sldMk cId="1246978811" sldId="445"/>
            <ac:spMk id="7" creationId="{07040397-228E-6D70-AECA-AD5770BA7339}"/>
          </ac:spMkLst>
        </pc:spChg>
        <pc:spChg chg="mod">
          <ac:chgData name="Tabea Monz" userId="S::t.monz@tum.de::f46a5392-c507-4495-8454-0a2fbbcf0cda" providerId="AD" clId="Web-{81BB3049-A91F-4AE2-37F2-12A014436203}" dt="2025-01-20T09:50:38.372" v="1004" actId="20577"/>
          <ac:spMkLst>
            <pc:docMk/>
            <pc:sldMk cId="1246978811" sldId="445"/>
            <ac:spMk id="17" creationId="{95B4223F-CAFF-D66C-4B7C-D1F3986CE40C}"/>
          </ac:spMkLst>
        </pc:spChg>
      </pc:sldChg>
      <pc:sldChg chg="addSp delSp modSp add replId">
        <pc:chgData name="Tabea Monz" userId="S::t.monz@tum.de::f46a5392-c507-4495-8454-0a2fbbcf0cda" providerId="AD" clId="Web-{81BB3049-A91F-4AE2-37F2-12A014436203}" dt="2025-01-20T15:04:12.400" v="4844" actId="20577"/>
        <pc:sldMkLst>
          <pc:docMk/>
          <pc:sldMk cId="2173768082" sldId="446"/>
        </pc:sldMkLst>
      </pc:sldChg>
      <pc:sldChg chg="addSp delSp modSp add replId">
        <pc:chgData name="Tabea Monz" userId="S::t.monz@tum.de::f46a5392-c507-4495-8454-0a2fbbcf0cda" providerId="AD" clId="Web-{81BB3049-A91F-4AE2-37F2-12A014436203}" dt="2025-01-20T15:05:17.245" v="4885" actId="20577"/>
        <pc:sldMkLst>
          <pc:docMk/>
          <pc:sldMk cId="1795976439" sldId="447"/>
        </pc:sldMkLst>
        <pc:spChg chg="mod">
          <ac:chgData name="Tabea Monz" userId="S::t.monz@tum.de::f46a5392-c507-4495-8454-0a2fbbcf0cda" providerId="AD" clId="Web-{81BB3049-A91F-4AE2-37F2-12A014436203}" dt="2025-01-20T10:05:24.190" v="1253" actId="14100"/>
          <ac:spMkLst>
            <pc:docMk/>
            <pc:sldMk cId="1795976439" sldId="447"/>
            <ac:spMk id="7" creationId="{07040397-228E-6D70-AECA-AD5770BA7339}"/>
          </ac:spMkLst>
        </pc:spChg>
      </pc:sldChg>
      <pc:sldChg chg="add del replId">
        <pc:chgData name="Tabea Monz" userId="S::t.monz@tum.de::f46a5392-c507-4495-8454-0a2fbbcf0cda" providerId="AD" clId="Web-{81BB3049-A91F-4AE2-37F2-12A014436203}" dt="2025-01-20T10:03:27.606" v="1209"/>
        <pc:sldMkLst>
          <pc:docMk/>
          <pc:sldMk cId="148505691" sldId="448"/>
        </pc:sldMkLst>
      </pc:sldChg>
      <pc:sldChg chg="delSp add del replId">
        <pc:chgData name="Tabea Monz" userId="S::t.monz@tum.de::f46a5392-c507-4495-8454-0a2fbbcf0cda" providerId="AD" clId="Web-{81BB3049-A91F-4AE2-37F2-12A014436203}" dt="2025-01-20T10:08:26.322" v="1313"/>
        <pc:sldMkLst>
          <pc:docMk/>
          <pc:sldMk cId="1174324474" sldId="448"/>
        </pc:sldMkLst>
      </pc:sldChg>
      <pc:sldChg chg="delSp modSp add replId">
        <pc:chgData name="Tabea Monz" userId="S::t.monz@tum.de::f46a5392-c507-4495-8454-0a2fbbcf0cda" providerId="AD" clId="Web-{81BB3049-A91F-4AE2-37F2-12A014436203}" dt="2025-01-20T12:03:09.155" v="2250" actId="14100"/>
        <pc:sldMkLst>
          <pc:docMk/>
          <pc:sldMk cId="40871408" sldId="449"/>
        </pc:sldMkLst>
      </pc:sldChg>
      <pc:sldChg chg="modSp modCm">
        <pc:chgData name="Tabea Monz" userId="S::t.monz@tum.de::f46a5392-c507-4495-8454-0a2fbbcf0cda" providerId="AD" clId="Web-{81BB3049-A91F-4AE2-37F2-12A014436203}" dt="2025-01-20T17:10:05.509" v="5239" actId="20577"/>
        <pc:sldMkLst>
          <pc:docMk/>
          <pc:sldMk cId="1198217199" sldId="450"/>
        </pc:sldMkLst>
        <pc:extLst>
          <p:ext xmlns:p="http://schemas.openxmlformats.org/presentationml/2006/main" uri="{D6D511B9-2390-475A-947B-AFAB55BFBCF1}">
            <pc226:cmChg xmlns:pc226="http://schemas.microsoft.com/office/powerpoint/2022/06/main/command" chg="mod">
              <pc226:chgData name="Tabea Monz" userId="S::t.monz@tum.de::f46a5392-c507-4495-8454-0a2fbbcf0cda" providerId="AD" clId="Web-{81BB3049-A91F-4AE2-37F2-12A014436203}" dt="2025-01-20T17:10:05.509" v="5239" actId="20577"/>
              <pc2:cmMkLst xmlns:pc2="http://schemas.microsoft.com/office/powerpoint/2019/9/main/command">
                <pc:docMk/>
                <pc:sldMk cId="1198217199" sldId="450"/>
                <pc2:cmMk id="{EDC9DCAC-CEB3-42E7-A5DE-A1C411181DB7}"/>
              </pc2:cmMkLst>
            </pc226:cmChg>
          </p:ext>
        </pc:extLst>
      </pc:sldChg>
      <pc:sldChg chg="modSp">
        <pc:chgData name="Tabea Monz" userId="S::t.monz@tum.de::f46a5392-c507-4495-8454-0a2fbbcf0cda" providerId="AD" clId="Web-{81BB3049-A91F-4AE2-37F2-12A014436203}" dt="2025-01-20T14:28:12.173" v="4467" actId="20577"/>
        <pc:sldMkLst>
          <pc:docMk/>
          <pc:sldMk cId="2869791631" sldId="451"/>
        </pc:sldMkLst>
      </pc:sldChg>
      <pc:sldChg chg="modSp add replId">
        <pc:chgData name="Tabea Monz" userId="S::t.monz@tum.de::f46a5392-c507-4495-8454-0a2fbbcf0cda" providerId="AD" clId="Web-{81BB3049-A91F-4AE2-37F2-12A014436203}" dt="2025-01-20T14:33:10.993" v="4468"/>
        <pc:sldMkLst>
          <pc:docMk/>
          <pc:sldMk cId="1212062671" sldId="452"/>
        </pc:sldMkLst>
      </pc:sldChg>
      <pc:sldChg chg="addSp delSp modSp add replId">
        <pc:chgData name="Tabea Monz" userId="S::t.monz@tum.de::f46a5392-c507-4495-8454-0a2fbbcf0cda" providerId="AD" clId="Web-{81BB3049-A91F-4AE2-37F2-12A014436203}" dt="2025-01-20T17:11:21.183" v="5246" actId="20577"/>
        <pc:sldMkLst>
          <pc:docMk/>
          <pc:sldMk cId="2230229810" sldId="453"/>
        </pc:sldMkLst>
      </pc:sldChg>
      <pc:sldChg chg="modSp">
        <pc:chgData name="Tabea Monz" userId="S::t.monz@tum.de::f46a5392-c507-4495-8454-0a2fbbcf0cda" providerId="AD" clId="Web-{81BB3049-A91F-4AE2-37F2-12A014436203}" dt="2025-01-20T17:10:34.541" v="5245" actId="20577"/>
        <pc:sldMkLst>
          <pc:docMk/>
          <pc:sldMk cId="2609831934" sldId="454"/>
        </pc:sldMkLst>
      </pc:sldChg>
    </pc:docChg>
  </pc:docChgLst>
  <pc:docChgLst>
    <pc:chgData name="Tabea Monz" userId="S::t.monz@tum.de::f46a5392-c507-4495-8454-0a2fbbcf0cda" providerId="AD" clId="Web-{CDFAC051-4CE4-7489-E5D5-D7E9CADFC39E}"/>
    <pc:docChg chg="addSld delSld modSld sldOrd modSection">
      <pc:chgData name="Tabea Monz" userId="S::t.monz@tum.de::f46a5392-c507-4495-8454-0a2fbbcf0cda" providerId="AD" clId="Web-{CDFAC051-4CE4-7489-E5D5-D7E9CADFC39E}" dt="2024-11-18T16:45:13.906" v="515" actId="20577"/>
      <pc:docMkLst>
        <pc:docMk/>
      </pc:docMkLst>
      <pc:sldChg chg="ord">
        <pc:chgData name="Tabea Monz" userId="S::t.monz@tum.de::f46a5392-c507-4495-8454-0a2fbbcf0cda" providerId="AD" clId="Web-{CDFAC051-4CE4-7489-E5D5-D7E9CADFC39E}" dt="2024-11-18T15:53:32.223" v="6"/>
        <pc:sldMkLst>
          <pc:docMk/>
          <pc:sldMk cId="2457093950" sldId="281"/>
        </pc:sldMkLst>
      </pc:sldChg>
      <pc:sldChg chg="ord">
        <pc:chgData name="Tabea Monz" userId="S::t.monz@tum.de::f46a5392-c507-4495-8454-0a2fbbcf0cda" providerId="AD" clId="Web-{CDFAC051-4CE4-7489-E5D5-D7E9CADFC39E}" dt="2024-11-18T16:19:48.612" v="190"/>
        <pc:sldMkLst>
          <pc:docMk/>
          <pc:sldMk cId="3573279774" sldId="286"/>
        </pc:sldMkLst>
      </pc:sldChg>
      <pc:sldChg chg="modSp ord">
        <pc:chgData name="Tabea Monz" userId="S::t.monz@tum.de::f46a5392-c507-4495-8454-0a2fbbcf0cda" providerId="AD" clId="Web-{CDFAC051-4CE4-7489-E5D5-D7E9CADFC39E}" dt="2024-11-18T16:01:36.612" v="148" actId="20577"/>
        <pc:sldMkLst>
          <pc:docMk/>
          <pc:sldMk cId="4118735400" sldId="311"/>
        </pc:sldMkLst>
        <pc:spChg chg="mod">
          <ac:chgData name="Tabea Monz" userId="S::t.monz@tum.de::f46a5392-c507-4495-8454-0a2fbbcf0cda" providerId="AD" clId="Web-{CDFAC051-4CE4-7489-E5D5-D7E9CADFC39E}" dt="2024-11-18T16:01:36.612" v="148" actId="20577"/>
          <ac:spMkLst>
            <pc:docMk/>
            <pc:sldMk cId="4118735400" sldId="311"/>
            <ac:spMk id="5" creationId="{00BF61E3-667D-A868-F8B9-88B5DD8C5722}"/>
          </ac:spMkLst>
        </pc:spChg>
      </pc:sldChg>
      <pc:sldChg chg="mod modShow">
        <pc:chgData name="Tabea Monz" userId="S::t.monz@tum.de::f46a5392-c507-4495-8454-0a2fbbcf0cda" providerId="AD" clId="Web-{CDFAC051-4CE4-7489-E5D5-D7E9CADFC39E}" dt="2024-11-18T16:19:13.689" v="188"/>
        <pc:sldMkLst>
          <pc:docMk/>
          <pc:sldMk cId="3420601596" sldId="315"/>
        </pc:sldMkLst>
      </pc:sldChg>
      <pc:sldChg chg="del">
        <pc:chgData name="Tabea Monz" userId="S::t.monz@tum.de::f46a5392-c507-4495-8454-0a2fbbcf0cda" providerId="AD" clId="Web-{CDFAC051-4CE4-7489-E5D5-D7E9CADFC39E}" dt="2024-11-18T15:52:43.222" v="5"/>
        <pc:sldMkLst>
          <pc:docMk/>
          <pc:sldMk cId="4061445094" sldId="370"/>
        </pc:sldMkLst>
      </pc:sldChg>
      <pc:sldChg chg="add mod replId modShow">
        <pc:chgData name="Tabea Monz" userId="S::t.monz@tum.de::f46a5392-c507-4495-8454-0a2fbbcf0cda" providerId="AD" clId="Web-{CDFAC051-4CE4-7489-E5D5-D7E9CADFC39E}" dt="2024-11-18T16:19:07.236" v="187"/>
        <pc:sldMkLst>
          <pc:docMk/>
          <pc:sldMk cId="3488579986" sldId="392"/>
        </pc:sldMkLst>
      </pc:sldChg>
      <pc:sldChg chg="add replId">
        <pc:chgData name="Tabea Monz" userId="S::t.monz@tum.de::f46a5392-c507-4495-8454-0a2fbbcf0cda" providerId="AD" clId="Web-{CDFAC051-4CE4-7489-E5D5-D7E9CADFC39E}" dt="2024-11-18T16:19:21.252" v="189"/>
        <pc:sldMkLst>
          <pc:docMk/>
          <pc:sldMk cId="561075100" sldId="393"/>
        </pc:sldMkLst>
      </pc:sldChg>
    </pc:docChg>
  </pc:docChgLst>
  <pc:docChgLst>
    <pc:chgData name="Luis Caro Delgado" userId="81c57fa2-c317-4e9d-b555-115c79435d2f" providerId="ADAL" clId="{29280CE2-DC03-46CB-9839-A7599823ABE8}"/>
    <pc:docChg chg="modSld sldOrd">
      <pc:chgData name="Luis Caro Delgado" userId="81c57fa2-c317-4e9d-b555-115c79435d2f" providerId="ADAL" clId="{29280CE2-DC03-46CB-9839-A7599823ABE8}" dt="2024-11-22T21:58:05.673" v="1"/>
      <pc:docMkLst>
        <pc:docMk/>
      </pc:docMkLst>
      <pc:sldChg chg="ord">
        <pc:chgData name="Luis Caro Delgado" userId="81c57fa2-c317-4e9d-b555-115c79435d2f" providerId="ADAL" clId="{29280CE2-DC03-46CB-9839-A7599823ABE8}" dt="2024-11-22T21:58:05.673" v="1"/>
        <pc:sldMkLst>
          <pc:docMk/>
          <pc:sldMk cId="2738800295" sldId="302"/>
        </pc:sldMkLst>
      </pc:sldChg>
    </pc:docChg>
  </pc:docChgLst>
  <pc:docChgLst>
    <pc:chgData name="Tabea Monz" userId="S::t.monz@tum.de::f46a5392-c507-4495-8454-0a2fbbcf0cda" providerId="AD" clId="Web-{AFE2942B-1C7C-73A5-7CA2-149E73C96666}"/>
    <pc:docChg chg="addSection delSection modSection">
      <pc:chgData name="Tabea Monz" userId="S::t.monz@tum.de::f46a5392-c507-4495-8454-0a2fbbcf0cda" providerId="AD" clId="Web-{AFE2942B-1C7C-73A5-7CA2-149E73C96666}" dt="2025-01-26T12:14:16.255" v="4"/>
      <pc:docMkLst>
        <pc:docMk/>
      </pc:docMkLst>
    </pc:docChg>
  </pc:docChgLst>
  <pc:docChgLst>
    <pc:chgData name="Era Poudel" userId="S::era.poudel@tum.de::4038d143-4a25-4ddb-a450-cddf29410981" providerId="AD" clId="Web-{13161BCE-C596-F926-57BA-35AB9FA002A2}"/>
    <pc:docChg chg="addSld delSld modSld sldOrd modSection">
      <pc:chgData name="Era Poudel" userId="S::era.poudel@tum.de::4038d143-4a25-4ddb-a450-cddf29410981" providerId="AD" clId="Web-{13161BCE-C596-F926-57BA-35AB9FA002A2}" dt="2024-11-25T23:07:26.572" v="600" actId="20577"/>
      <pc:docMkLst>
        <pc:docMk/>
      </pc:docMkLst>
      <pc:sldChg chg="addSp delSp modSp">
        <pc:chgData name="Era Poudel" userId="S::era.poudel@tum.de::4038d143-4a25-4ddb-a450-cddf29410981" providerId="AD" clId="Web-{13161BCE-C596-F926-57BA-35AB9FA002A2}" dt="2024-11-25T22:33:04.943" v="499" actId="20577"/>
        <pc:sldMkLst>
          <pc:docMk/>
          <pc:sldMk cId="1997358788" sldId="297"/>
        </pc:sldMkLst>
        <pc:spChg chg="add del mod">
          <ac:chgData name="Era Poudel" userId="S::era.poudel@tum.de::4038d143-4a25-4ddb-a450-cddf29410981" providerId="AD" clId="Web-{13161BCE-C596-F926-57BA-35AB9FA002A2}" dt="2024-11-25T22:31:56.706" v="481"/>
          <ac:spMkLst>
            <pc:docMk/>
            <pc:sldMk cId="1997358788" sldId="297"/>
            <ac:spMk id="3" creationId="{0E01984D-6347-EADA-B0C5-F29F9010D71C}"/>
          </ac:spMkLst>
        </pc:spChg>
        <pc:spChg chg="add mod">
          <ac:chgData name="Era Poudel" userId="S::era.poudel@tum.de::4038d143-4a25-4ddb-a450-cddf29410981" providerId="AD" clId="Web-{13161BCE-C596-F926-57BA-35AB9FA002A2}" dt="2024-11-25T22:33:04.943" v="499" actId="20577"/>
          <ac:spMkLst>
            <pc:docMk/>
            <pc:sldMk cId="1997358788" sldId="297"/>
            <ac:spMk id="5" creationId="{1BDD5603-4A46-972A-AEFC-37AC9071558D}"/>
          </ac:spMkLst>
        </pc:spChg>
        <pc:spChg chg="mod">
          <ac:chgData name="Era Poudel" userId="S::era.poudel@tum.de::4038d143-4a25-4ddb-a450-cddf29410981" providerId="AD" clId="Web-{13161BCE-C596-F926-57BA-35AB9FA002A2}" dt="2024-11-25T22:31:55.628" v="480"/>
          <ac:spMkLst>
            <pc:docMk/>
            <pc:sldMk cId="1997358788" sldId="297"/>
            <ac:spMk id="20" creationId="{1939F5DF-79A6-B561-B96A-2F9BE047DEAD}"/>
          </ac:spMkLst>
        </pc:spChg>
        <pc:spChg chg="mod">
          <ac:chgData name="Era Poudel" userId="S::era.poudel@tum.de::4038d143-4a25-4ddb-a450-cddf29410981" providerId="AD" clId="Web-{13161BCE-C596-F926-57BA-35AB9FA002A2}" dt="2024-11-25T22:31:19.549" v="472" actId="20577"/>
          <ac:spMkLst>
            <pc:docMk/>
            <pc:sldMk cId="1997358788" sldId="297"/>
            <ac:spMk id="23" creationId="{F08161A4-A064-B798-FE66-AEA513B546C9}"/>
          </ac:spMkLst>
        </pc:spChg>
      </pc:sldChg>
      <pc:sldChg chg="modSp">
        <pc:chgData name="Era Poudel" userId="S::era.poudel@tum.de::4038d143-4a25-4ddb-a450-cddf29410981" providerId="AD" clId="Web-{13161BCE-C596-F926-57BA-35AB9FA002A2}" dt="2024-11-25T22:18:51.460" v="31" actId="20577"/>
        <pc:sldMkLst>
          <pc:docMk/>
          <pc:sldMk cId="373550321" sldId="318"/>
        </pc:sldMkLst>
      </pc:sldChg>
      <pc:sldChg chg="modSp">
        <pc:chgData name="Era Poudel" userId="S::era.poudel@tum.de::4038d143-4a25-4ddb-a450-cddf29410981" providerId="AD" clId="Web-{13161BCE-C596-F926-57BA-35AB9FA002A2}" dt="2024-11-25T22:28:50.092" v="314" actId="20577"/>
        <pc:sldMkLst>
          <pc:docMk/>
          <pc:sldMk cId="3056559578" sldId="390"/>
        </pc:sldMkLst>
      </pc:sldChg>
      <pc:sldChg chg="del">
        <pc:chgData name="Era Poudel" userId="S::era.poudel@tum.de::4038d143-4a25-4ddb-a450-cddf29410981" providerId="AD" clId="Web-{13161BCE-C596-F926-57BA-35AB9FA002A2}" dt="2024-11-25T22:28:38.030" v="313"/>
        <pc:sldMkLst>
          <pc:docMk/>
          <pc:sldMk cId="3994636148" sldId="391"/>
        </pc:sldMkLst>
      </pc:sldChg>
      <pc:sldChg chg="modSp">
        <pc:chgData name="Era Poudel" userId="S::era.poudel@tum.de::4038d143-4a25-4ddb-a450-cddf29410981" providerId="AD" clId="Web-{13161BCE-C596-F926-57BA-35AB9FA002A2}" dt="2024-11-25T22:28:57.421" v="319" actId="20577"/>
        <pc:sldMkLst>
          <pc:docMk/>
          <pc:sldMk cId="2861992113" sldId="394"/>
        </pc:sldMkLst>
      </pc:sldChg>
      <pc:sldChg chg="addSp delSp modSp add ord replId">
        <pc:chgData name="Era Poudel" userId="S::era.poudel@tum.de::4038d143-4a25-4ddb-a450-cddf29410981" providerId="AD" clId="Web-{13161BCE-C596-F926-57BA-35AB9FA002A2}" dt="2024-11-25T22:37:14.574" v="535" actId="20577"/>
        <pc:sldMkLst>
          <pc:docMk/>
          <pc:sldMk cId="206374014" sldId="403"/>
        </pc:sldMkLst>
      </pc:sldChg>
      <pc:sldChg chg="addSp delSp modSp add ord replId">
        <pc:chgData name="Era Poudel" userId="S::era.poudel@tum.de::4038d143-4a25-4ddb-a450-cddf29410981" providerId="AD" clId="Web-{13161BCE-C596-F926-57BA-35AB9FA002A2}" dt="2024-11-25T22:44:00.837" v="569" actId="20577"/>
        <pc:sldMkLst>
          <pc:docMk/>
          <pc:sldMk cId="1179567158" sldId="404"/>
        </pc:sldMkLst>
        <pc:spChg chg="add mod">
          <ac:chgData name="Era Poudel" userId="S::era.poudel@tum.de::4038d143-4a25-4ddb-a450-cddf29410981" providerId="AD" clId="Web-{13161BCE-C596-F926-57BA-35AB9FA002A2}" dt="2024-11-25T22:41:42.458" v="560" actId="1076"/>
          <ac:spMkLst>
            <pc:docMk/>
            <pc:sldMk cId="1179567158" sldId="404"/>
            <ac:spMk id="2" creationId="{F1A21B12-F317-F50A-FE10-72E27AB7AAB8}"/>
          </ac:spMkLst>
        </pc:spChg>
        <pc:spChg chg="add mod">
          <ac:chgData name="Era Poudel" userId="S::era.poudel@tum.de::4038d143-4a25-4ddb-a450-cddf29410981" providerId="AD" clId="Web-{13161BCE-C596-F926-57BA-35AB9FA002A2}" dt="2024-11-25T22:41:39.177" v="559" actId="1076"/>
          <ac:spMkLst>
            <pc:docMk/>
            <pc:sldMk cId="1179567158" sldId="404"/>
            <ac:spMk id="4" creationId="{06CFC185-661B-FE38-CB5E-9B8B78C1DED4}"/>
          </ac:spMkLst>
        </pc:spChg>
        <pc:spChg chg="mod">
          <ac:chgData name="Era Poudel" userId="S::era.poudel@tum.de::4038d143-4a25-4ddb-a450-cddf29410981" providerId="AD" clId="Web-{13161BCE-C596-F926-57BA-35AB9FA002A2}" dt="2024-11-25T22:41:57.240" v="563" actId="14100"/>
          <ac:spMkLst>
            <pc:docMk/>
            <pc:sldMk cId="1179567158" sldId="404"/>
            <ac:spMk id="7" creationId="{A9471AC6-B495-C03E-5B97-9380D56DED5B}"/>
          </ac:spMkLst>
        </pc:spChg>
        <pc:spChg chg="mod">
          <ac:chgData name="Era Poudel" userId="S::era.poudel@tum.de::4038d143-4a25-4ddb-a450-cddf29410981" providerId="AD" clId="Web-{13161BCE-C596-F926-57BA-35AB9FA002A2}" dt="2024-11-25T22:42:03.037" v="564" actId="1076"/>
          <ac:spMkLst>
            <pc:docMk/>
            <pc:sldMk cId="1179567158" sldId="404"/>
            <ac:spMk id="8" creationId="{CE749D75-BB64-EA3F-4A37-8B6B98B5B366}"/>
          </ac:spMkLst>
        </pc:spChg>
        <pc:spChg chg="mod">
          <ac:chgData name="Era Poudel" userId="S::era.poudel@tum.de::4038d143-4a25-4ddb-a450-cddf29410981" providerId="AD" clId="Web-{13161BCE-C596-F926-57BA-35AB9FA002A2}" dt="2024-11-25T22:42:07.803" v="565" actId="14100"/>
          <ac:spMkLst>
            <pc:docMk/>
            <pc:sldMk cId="1179567158" sldId="404"/>
            <ac:spMk id="9" creationId="{BC21C8CF-539D-E464-29F1-01ECBED7D0F4}"/>
          </ac:spMkLst>
        </pc:spChg>
        <pc:spChg chg="mod">
          <ac:chgData name="Era Poudel" userId="S::era.poudel@tum.de::4038d143-4a25-4ddb-a450-cddf29410981" providerId="AD" clId="Web-{13161BCE-C596-F926-57BA-35AB9FA002A2}" dt="2024-11-25T22:40:59.176" v="547" actId="1076"/>
          <ac:spMkLst>
            <pc:docMk/>
            <pc:sldMk cId="1179567158" sldId="404"/>
            <ac:spMk id="13" creationId="{817FCBA3-EFE9-7AA6-9D84-3B990635EB2E}"/>
          </ac:spMkLst>
        </pc:spChg>
        <pc:spChg chg="mod">
          <ac:chgData name="Era Poudel" userId="S::era.poudel@tum.de::4038d143-4a25-4ddb-a450-cddf29410981" providerId="AD" clId="Web-{13161BCE-C596-F926-57BA-35AB9FA002A2}" dt="2024-11-25T22:40:47.160" v="543" actId="1076"/>
          <ac:spMkLst>
            <pc:docMk/>
            <pc:sldMk cId="1179567158" sldId="404"/>
            <ac:spMk id="14" creationId="{2F6012F6-E8F4-A191-BC75-1398C7B93EBE}"/>
          </ac:spMkLst>
        </pc:spChg>
        <pc:spChg chg="mod">
          <ac:chgData name="Era Poudel" userId="S::era.poudel@tum.de::4038d143-4a25-4ddb-a450-cddf29410981" providerId="AD" clId="Web-{13161BCE-C596-F926-57BA-35AB9FA002A2}" dt="2024-11-25T22:40:52.566" v="545" actId="1076"/>
          <ac:spMkLst>
            <pc:docMk/>
            <pc:sldMk cId="1179567158" sldId="404"/>
            <ac:spMk id="16" creationId="{1D6159E8-557D-FDCD-FC65-C528B4B1091C}"/>
          </ac:spMkLst>
        </pc:spChg>
        <pc:spChg chg="mod">
          <ac:chgData name="Era Poudel" userId="S::era.poudel@tum.de::4038d143-4a25-4ddb-a450-cddf29410981" providerId="AD" clId="Web-{13161BCE-C596-F926-57BA-35AB9FA002A2}" dt="2024-11-25T22:40:54.738" v="546" actId="1076"/>
          <ac:spMkLst>
            <pc:docMk/>
            <pc:sldMk cId="1179567158" sldId="404"/>
            <ac:spMk id="18" creationId="{A6C3DFE2-1650-D046-8C5B-F8C5382E8E92}"/>
          </ac:spMkLst>
        </pc:spChg>
        <pc:picChg chg="mod">
          <ac:chgData name="Era Poudel" userId="S::era.poudel@tum.de::4038d143-4a25-4ddb-a450-cddf29410981" providerId="AD" clId="Web-{13161BCE-C596-F926-57BA-35AB9FA002A2}" dt="2024-11-25T22:40:49.551" v="544" actId="1076"/>
          <ac:picMkLst>
            <pc:docMk/>
            <pc:sldMk cId="1179567158" sldId="404"/>
            <ac:picMk id="17" creationId="{36920F57-8051-A4F2-51C9-3D7506450F0B}"/>
          </ac:picMkLst>
        </pc:picChg>
      </pc:sldChg>
    </pc:docChg>
  </pc:docChgLst>
  <pc:docChgLst>
    <pc:chgData name="Ömer Taha Sevimli" userId="S::omer.sevimli@tum.de::d68fb2f4-76b1-4cfc-96e6-800a7d956fcb" providerId="AD" clId="Web-{0B2230A5-A5A4-E7DE-06B5-2499EBCAECAF}"/>
    <pc:docChg chg="mod modSld">
      <pc:chgData name="Ömer Taha Sevimli" userId="S::omer.sevimli@tum.de::d68fb2f4-76b1-4cfc-96e6-800a7d956fcb" providerId="AD" clId="Web-{0B2230A5-A5A4-E7DE-06B5-2499EBCAECAF}" dt="2024-11-12T15:10:18.635" v="27" actId="20577"/>
      <pc:docMkLst>
        <pc:docMk/>
      </pc:docMkLst>
      <pc:sldChg chg="modSp">
        <pc:chgData name="Ömer Taha Sevimli" userId="S::omer.sevimli@tum.de::d68fb2f4-76b1-4cfc-96e6-800a7d956fcb" providerId="AD" clId="Web-{0B2230A5-A5A4-E7DE-06B5-2499EBCAECAF}" dt="2024-11-12T15:10:18.635" v="27" actId="20577"/>
        <pc:sldMkLst>
          <pc:docMk/>
          <pc:sldMk cId="0" sldId="256"/>
        </pc:sldMkLst>
        <pc:spChg chg="mod">
          <ac:chgData name="Ömer Taha Sevimli" userId="S::omer.sevimli@tum.de::d68fb2f4-76b1-4cfc-96e6-800a7d956fcb" providerId="AD" clId="Web-{0B2230A5-A5A4-E7DE-06B5-2499EBCAECAF}" dt="2024-11-12T15:09:42.384" v="14" actId="20577"/>
          <ac:spMkLst>
            <pc:docMk/>
            <pc:sldMk cId="0" sldId="256"/>
            <ac:spMk id="326" creationId="{00000000-0000-0000-0000-000000000000}"/>
          </ac:spMkLst>
        </pc:spChg>
        <pc:spChg chg="mod">
          <ac:chgData name="Ömer Taha Sevimli" userId="S::omer.sevimli@tum.de::d68fb2f4-76b1-4cfc-96e6-800a7d956fcb" providerId="AD" clId="Web-{0B2230A5-A5A4-E7DE-06B5-2499EBCAECAF}" dt="2024-11-12T15:10:18.635" v="27" actId="20577"/>
          <ac:spMkLst>
            <pc:docMk/>
            <pc:sldMk cId="0" sldId="256"/>
            <ac:spMk id="327" creationId="{00000000-0000-0000-0000-000000000000}"/>
          </ac:spMkLst>
        </pc:spChg>
      </pc:sldChg>
      <pc:sldChg chg="modSp">
        <pc:chgData name="Ömer Taha Sevimli" userId="S::omer.sevimli@tum.de::d68fb2f4-76b1-4cfc-96e6-800a7d956fcb" providerId="AD" clId="Web-{0B2230A5-A5A4-E7DE-06B5-2499EBCAECAF}" dt="2024-11-12T15:06:18.798" v="4" actId="20577"/>
        <pc:sldMkLst>
          <pc:docMk/>
          <pc:sldMk cId="1608053785" sldId="303"/>
        </pc:sldMkLst>
        <pc:spChg chg="mod">
          <ac:chgData name="Ömer Taha Sevimli" userId="S::omer.sevimli@tum.de::d68fb2f4-76b1-4cfc-96e6-800a7d956fcb" providerId="AD" clId="Web-{0B2230A5-A5A4-E7DE-06B5-2499EBCAECAF}" dt="2024-11-12T15:06:18.798" v="4" actId="20577"/>
          <ac:spMkLst>
            <pc:docMk/>
            <pc:sldMk cId="1608053785" sldId="303"/>
            <ac:spMk id="6" creationId="{F7697B48-98C7-2D4D-028F-20A8A01892B8}"/>
          </ac:spMkLst>
        </pc:spChg>
      </pc:sldChg>
      <pc:sldChg chg="mod modShow">
        <pc:chgData name="Ömer Taha Sevimli" userId="S::omer.sevimli@tum.de::d68fb2f4-76b1-4cfc-96e6-800a7d956fcb" providerId="AD" clId="Web-{0B2230A5-A5A4-E7DE-06B5-2499EBCAECAF}" dt="2024-11-12T15:07:06.425" v="10"/>
        <pc:sldMkLst>
          <pc:docMk/>
          <pc:sldMk cId="656948936" sldId="307"/>
        </pc:sldMkLst>
      </pc:sldChg>
      <pc:sldChg chg="modSp">
        <pc:chgData name="Ömer Taha Sevimli" userId="S::omer.sevimli@tum.de::d68fb2f4-76b1-4cfc-96e6-800a7d956fcb" providerId="AD" clId="Web-{0B2230A5-A5A4-E7DE-06B5-2499EBCAECAF}" dt="2024-11-12T15:09:48.681" v="24" actId="20577"/>
        <pc:sldMkLst>
          <pc:docMk/>
          <pc:sldMk cId="1183542163" sldId="339"/>
        </pc:sldMkLst>
        <pc:spChg chg="mod">
          <ac:chgData name="Ömer Taha Sevimli" userId="S::omer.sevimli@tum.de::d68fb2f4-76b1-4cfc-96e6-800a7d956fcb" providerId="AD" clId="Web-{0B2230A5-A5A4-E7DE-06B5-2499EBCAECAF}" dt="2024-11-12T15:09:48.681" v="24" actId="20577"/>
          <ac:spMkLst>
            <pc:docMk/>
            <pc:sldMk cId="1183542163" sldId="339"/>
            <ac:spMk id="2" creationId="{FE3A5165-8DD7-B00A-7B51-96C83EC80066}"/>
          </ac:spMkLst>
        </pc:spChg>
      </pc:sldChg>
      <pc:sldChg chg="mod modShow">
        <pc:chgData name="Ömer Taha Sevimli" userId="S::omer.sevimli@tum.de::d68fb2f4-76b1-4cfc-96e6-800a7d956fcb" providerId="AD" clId="Web-{0B2230A5-A5A4-E7DE-06B5-2499EBCAECAF}" dt="2024-11-12T15:07:05.440" v="7"/>
        <pc:sldMkLst>
          <pc:docMk/>
          <pc:sldMk cId="1871282574" sldId="340"/>
        </pc:sldMkLst>
      </pc:sldChg>
      <pc:sldChg chg="mod modShow">
        <pc:chgData name="Ömer Taha Sevimli" userId="S::omer.sevimli@tum.de::d68fb2f4-76b1-4cfc-96e6-800a7d956fcb" providerId="AD" clId="Web-{0B2230A5-A5A4-E7DE-06B5-2499EBCAECAF}" dt="2024-11-12T15:07:06.081" v="9"/>
        <pc:sldMkLst>
          <pc:docMk/>
          <pc:sldMk cId="3645510430" sldId="379"/>
        </pc:sldMkLst>
      </pc:sldChg>
      <pc:sldChg chg="mod modShow">
        <pc:chgData name="Ömer Taha Sevimli" userId="S::omer.sevimli@tum.de::d68fb2f4-76b1-4cfc-96e6-800a7d956fcb" providerId="AD" clId="Web-{0B2230A5-A5A4-E7DE-06B5-2499EBCAECAF}" dt="2024-11-12T15:07:05.846" v="8"/>
        <pc:sldMkLst>
          <pc:docMk/>
          <pc:sldMk cId="2577462896" sldId="380"/>
        </pc:sldMkLst>
      </pc:sldChg>
      <pc:sldChg chg="mod modShow">
        <pc:chgData name="Ömer Taha Sevimli" userId="S::omer.sevimli@tum.de::d68fb2f4-76b1-4cfc-96e6-800a7d956fcb" providerId="AD" clId="Web-{0B2230A5-A5A4-E7DE-06B5-2499EBCAECAF}" dt="2024-11-12T15:07:05.143" v="6"/>
        <pc:sldMkLst>
          <pc:docMk/>
          <pc:sldMk cId="1028456503" sldId="382"/>
        </pc:sldMkLst>
      </pc:sldChg>
    </pc:docChg>
  </pc:docChgLst>
  <pc:docChgLst>
    <pc:chgData name="Tabea Monz" userId="S::t.monz@tum.de::f46a5392-c507-4495-8454-0a2fbbcf0cda" providerId="AD" clId="Web-{BB26A4F1-031C-2614-5C36-C3C8D5A0256B}"/>
    <pc:docChg chg="sldOrd">
      <pc:chgData name="Tabea Monz" userId="S::t.monz@tum.de::f46a5392-c507-4495-8454-0a2fbbcf0cda" providerId="AD" clId="Web-{BB26A4F1-031C-2614-5C36-C3C8D5A0256B}" dt="2025-01-28T18:19:53.971" v="0"/>
      <pc:docMkLst>
        <pc:docMk/>
      </pc:docMkLst>
      <pc:sldChg chg="ord">
        <pc:chgData name="Tabea Monz" userId="S::t.monz@tum.de::f46a5392-c507-4495-8454-0a2fbbcf0cda" providerId="AD" clId="Web-{BB26A4F1-031C-2614-5C36-C3C8D5A0256B}" dt="2025-01-28T18:19:53.971" v="0"/>
        <pc:sldMkLst>
          <pc:docMk/>
          <pc:sldMk cId="567736257" sldId="467"/>
        </pc:sldMkLst>
      </pc:sldChg>
    </pc:docChg>
  </pc:docChgLst>
  <pc:docChgLst>
    <pc:chgData name="Tabea Monz" userId="S::t.monz@tum.de::f46a5392-c507-4495-8454-0a2fbbcf0cda" providerId="AD" clId="Web-{ADB96989-F87B-6652-98C1-D0BB8B4465D5}"/>
    <pc:docChg chg="addSld modSld modSection">
      <pc:chgData name="Tabea Monz" userId="S::t.monz@tum.de::f46a5392-c507-4495-8454-0a2fbbcf0cda" providerId="AD" clId="Web-{ADB96989-F87B-6652-98C1-D0BB8B4465D5}" dt="2024-12-16T10:19:12.677" v="122" actId="14100"/>
      <pc:docMkLst>
        <pc:docMk/>
      </pc:docMkLst>
      <pc:sldChg chg="addSp modSp">
        <pc:chgData name="Tabea Monz" userId="S::t.monz@tum.de::f46a5392-c507-4495-8454-0a2fbbcf0cda" providerId="AD" clId="Web-{ADB96989-F87B-6652-98C1-D0BB8B4465D5}" dt="2024-12-16T10:07:12.638" v="76"/>
        <pc:sldMkLst>
          <pc:docMk/>
          <pc:sldMk cId="4205909830" sldId="421"/>
        </pc:sldMkLst>
        <pc:spChg chg="add mod">
          <ac:chgData name="Tabea Monz" userId="S::t.monz@tum.de::f46a5392-c507-4495-8454-0a2fbbcf0cda" providerId="AD" clId="Web-{ADB96989-F87B-6652-98C1-D0BB8B4465D5}" dt="2024-12-16T10:06:47.466" v="75" actId="20577"/>
          <ac:spMkLst>
            <pc:docMk/>
            <pc:sldMk cId="4205909830" sldId="421"/>
            <ac:spMk id="11" creationId="{23CC8457-06D3-D223-AEA0-721518433E75}"/>
          </ac:spMkLst>
        </pc:spChg>
        <pc:cxnChg chg="add mod">
          <ac:chgData name="Tabea Monz" userId="S::t.monz@tum.de::f46a5392-c507-4495-8454-0a2fbbcf0cda" providerId="AD" clId="Web-{ADB96989-F87B-6652-98C1-D0BB8B4465D5}" dt="2024-12-16T10:07:12.638" v="76"/>
          <ac:cxnSpMkLst>
            <pc:docMk/>
            <pc:sldMk cId="4205909830" sldId="421"/>
            <ac:cxnSpMk id="7" creationId="{09A89F02-4D33-1036-DEC9-54EF6879E466}"/>
          </ac:cxnSpMkLst>
        </pc:cxnChg>
      </pc:sldChg>
      <pc:sldChg chg="delSp modSp add replId">
        <pc:chgData name="Tabea Monz" userId="S::t.monz@tum.de::f46a5392-c507-4495-8454-0a2fbbcf0cda" providerId="AD" clId="Web-{ADB96989-F87B-6652-98C1-D0BB8B4465D5}" dt="2024-12-16T10:19:12.677" v="122" actId="14100"/>
        <pc:sldMkLst>
          <pc:docMk/>
          <pc:sldMk cId="2184080923" sldId="422"/>
        </pc:sldMkLst>
      </pc:sldChg>
    </pc:docChg>
  </pc:docChgLst>
  <pc:docChgLst>
    <pc:chgData name="Stefan Zieglmeier" userId="9d0a9ec1-89ae-40c9-8d3d-62f162d41600" providerId="ADAL" clId="{3C4B6B24-2D6C-3F47-8ABC-5CD36C309CE9}"/>
    <pc:docChg chg="undo custSel addSld delSld modSld modSection">
      <pc:chgData name="Stefan Zieglmeier" userId="9d0a9ec1-89ae-40c9-8d3d-62f162d41600" providerId="ADAL" clId="{3C4B6B24-2D6C-3F47-8ABC-5CD36C309CE9}" dt="2024-12-10T00:34:11.007" v="1528" actId="1076"/>
      <pc:docMkLst>
        <pc:docMk/>
      </pc:docMkLst>
      <pc:sldChg chg="modSp">
        <pc:chgData name="Stefan Zieglmeier" userId="9d0a9ec1-89ae-40c9-8d3d-62f162d41600" providerId="ADAL" clId="{3C4B6B24-2D6C-3F47-8ABC-5CD36C309CE9}" dt="2024-12-02T16:23:36.045" v="7" actId="1076"/>
        <pc:sldMkLst>
          <pc:docMk/>
          <pc:sldMk cId="1601966315" sldId="285"/>
        </pc:sldMkLst>
        <pc:spChg chg="mod">
          <ac:chgData name="Stefan Zieglmeier" userId="9d0a9ec1-89ae-40c9-8d3d-62f162d41600" providerId="ADAL" clId="{3C4B6B24-2D6C-3F47-8ABC-5CD36C309CE9}" dt="2024-12-02T16:23:36.045" v="7" actId="1076"/>
          <ac:spMkLst>
            <pc:docMk/>
            <pc:sldMk cId="1601966315" sldId="285"/>
            <ac:spMk id="22" creationId="{FE293BEB-10AE-D6AB-EBE2-A922DCFE03C1}"/>
          </ac:spMkLst>
        </pc:spChg>
      </pc:sldChg>
      <pc:sldChg chg="addSp modSp">
        <pc:chgData name="Stefan Zieglmeier" userId="9d0a9ec1-89ae-40c9-8d3d-62f162d41600" providerId="ADAL" clId="{3C4B6B24-2D6C-3F47-8ABC-5CD36C309CE9}" dt="2024-12-02T18:04:22.428" v="991" actId="207"/>
        <pc:sldMkLst>
          <pc:docMk/>
          <pc:sldMk cId="1890939302" sldId="389"/>
        </pc:sldMkLst>
      </pc:sldChg>
      <pc:sldChg chg="addSp delSp modSp add">
        <pc:chgData name="Stefan Zieglmeier" userId="9d0a9ec1-89ae-40c9-8d3d-62f162d41600" providerId="ADAL" clId="{3C4B6B24-2D6C-3F47-8ABC-5CD36C309CE9}" dt="2024-12-02T17:41:14.629" v="920" actId="14100"/>
        <pc:sldMkLst>
          <pc:docMk/>
          <pc:sldMk cId="2812918502" sldId="405"/>
        </pc:sldMkLst>
      </pc:sldChg>
      <pc:sldChg chg="addSp delSp modSp new">
        <pc:chgData name="Stefan Zieglmeier" userId="9d0a9ec1-89ae-40c9-8d3d-62f162d41600" providerId="ADAL" clId="{3C4B6B24-2D6C-3F47-8ABC-5CD36C309CE9}" dt="2024-12-02T18:05:05.796" v="998" actId="14100"/>
        <pc:sldMkLst>
          <pc:docMk/>
          <pc:sldMk cId="3395738072" sldId="406"/>
        </pc:sldMkLst>
      </pc:sldChg>
      <pc:sldChg chg="addSp delSp modSp new">
        <pc:chgData name="Stefan Zieglmeier" userId="9d0a9ec1-89ae-40c9-8d3d-62f162d41600" providerId="ADAL" clId="{3C4B6B24-2D6C-3F47-8ABC-5CD36C309CE9}" dt="2024-12-10T00:34:11.007" v="1528" actId="1076"/>
        <pc:sldMkLst>
          <pc:docMk/>
          <pc:sldMk cId="1149059724" sldId="416"/>
        </pc:sldMkLst>
      </pc:sldChg>
      <pc:sldChg chg="new del">
        <pc:chgData name="Stefan Zieglmeier" userId="9d0a9ec1-89ae-40c9-8d3d-62f162d41600" providerId="ADAL" clId="{3C4B6B24-2D6C-3F47-8ABC-5CD36C309CE9}" dt="2024-12-09T23:32:50.888" v="1000" actId="680"/>
        <pc:sldMkLst>
          <pc:docMk/>
          <pc:sldMk cId="2544669878" sldId="416"/>
        </pc:sldMkLst>
      </pc:sldChg>
      <pc:sldChg chg="delSp new">
        <pc:chgData name="Stefan Zieglmeier" userId="9d0a9ec1-89ae-40c9-8d3d-62f162d41600" providerId="ADAL" clId="{3C4B6B24-2D6C-3F47-8ABC-5CD36C309CE9}" dt="2024-12-10T00:27:57.889" v="1450" actId="478"/>
        <pc:sldMkLst>
          <pc:docMk/>
          <pc:sldMk cId="1402581481" sldId="417"/>
        </pc:sldMkLst>
      </pc:sldChg>
    </pc:docChg>
  </pc:docChgLst>
  <pc:docChgLst>
    <pc:chgData name="Lukas Rau" userId="S::lukas.rau@tum.de::a75e0523-20be-4fb9-acc6-1a36dfa716c4" providerId="AD" clId="Web-{1BA0AA3F-5280-C078-3824-876ACC772EC4}"/>
    <pc:docChg chg="addSld delSld modSld modSection">
      <pc:chgData name="Lukas Rau" userId="S::lukas.rau@tum.de::a75e0523-20be-4fb9-acc6-1a36dfa716c4" providerId="AD" clId="Web-{1BA0AA3F-5280-C078-3824-876ACC772EC4}" dt="2024-11-30T15:54:52.559" v="3" actId="1076"/>
      <pc:docMkLst>
        <pc:docMk/>
      </pc:docMkLst>
      <pc:sldChg chg="modSp">
        <pc:chgData name="Lukas Rau" userId="S::lukas.rau@tum.de::a75e0523-20be-4fb9-acc6-1a36dfa716c4" providerId="AD" clId="Web-{1BA0AA3F-5280-C078-3824-876ACC772EC4}" dt="2024-11-30T15:54:52.559" v="3" actId="1076"/>
        <pc:sldMkLst>
          <pc:docMk/>
          <pc:sldMk cId="2861992113" sldId="394"/>
        </pc:sldMkLst>
      </pc:sldChg>
      <pc:sldChg chg="add del replId">
        <pc:chgData name="Lukas Rau" userId="S::lukas.rau@tum.de::a75e0523-20be-4fb9-acc6-1a36dfa716c4" providerId="AD" clId="Web-{1BA0AA3F-5280-C078-3824-876ACC772EC4}" dt="2024-11-30T14:20:34.600" v="1"/>
        <pc:sldMkLst>
          <pc:docMk/>
          <pc:sldMk cId="2627434739" sldId="405"/>
        </pc:sldMkLst>
      </pc:sldChg>
    </pc:docChg>
  </pc:docChgLst>
  <pc:docChgLst>
    <pc:chgData name="Era Poudel" userId="S::era.poudel@tum.de::4038d143-4a25-4ddb-a450-cddf29410981" providerId="AD" clId="Web-{F0CD15BA-B627-30E8-CC27-06731BCDFD51}"/>
    <pc:docChg chg="modSld">
      <pc:chgData name="Era Poudel" userId="S::era.poudel@tum.de::4038d143-4a25-4ddb-a450-cddf29410981" providerId="AD" clId="Web-{F0CD15BA-B627-30E8-CC27-06731BCDFD51}" dt="2025-01-06T22:19:57.341" v="266" actId="1076"/>
      <pc:docMkLst>
        <pc:docMk/>
      </pc:docMkLst>
      <pc:sldChg chg="modSp">
        <pc:chgData name="Era Poudel" userId="S::era.poudel@tum.de::4038d143-4a25-4ddb-a450-cddf29410981" providerId="AD" clId="Web-{F0CD15BA-B627-30E8-CC27-06731BCDFD51}" dt="2025-01-06T21:55:05.740" v="240" actId="20577"/>
        <pc:sldMkLst>
          <pc:docMk/>
          <pc:sldMk cId="1997358788" sldId="297"/>
        </pc:sldMkLst>
        <pc:spChg chg="mod">
          <ac:chgData name="Era Poudel" userId="S::era.poudel@tum.de::4038d143-4a25-4ddb-a450-cddf29410981" providerId="AD" clId="Web-{F0CD15BA-B627-30E8-CC27-06731BCDFD51}" dt="2025-01-06T21:54:51.271" v="239" actId="14100"/>
          <ac:spMkLst>
            <pc:docMk/>
            <pc:sldMk cId="1997358788" sldId="297"/>
            <ac:spMk id="7" creationId="{A9471AC6-B495-C03E-5B97-9380D56DED5B}"/>
          </ac:spMkLst>
        </pc:spChg>
        <pc:spChg chg="mod">
          <ac:chgData name="Era Poudel" userId="S::era.poudel@tum.de::4038d143-4a25-4ddb-a450-cddf29410981" providerId="AD" clId="Web-{F0CD15BA-B627-30E8-CC27-06731BCDFD51}" dt="2025-01-06T21:55:05.740" v="240" actId="20577"/>
          <ac:spMkLst>
            <pc:docMk/>
            <pc:sldMk cId="1997358788" sldId="297"/>
            <ac:spMk id="9" creationId="{BC21C8CF-539D-E464-29F1-01ECBED7D0F4}"/>
          </ac:spMkLst>
        </pc:spChg>
      </pc:sldChg>
      <pc:sldChg chg="modSp">
        <pc:chgData name="Era Poudel" userId="S::era.poudel@tum.de::4038d143-4a25-4ddb-a450-cddf29410981" providerId="AD" clId="Web-{F0CD15BA-B627-30E8-CC27-06731BCDFD51}" dt="2025-01-06T21:42:28.347" v="198" actId="20577"/>
        <pc:sldMkLst>
          <pc:docMk/>
          <pc:sldMk cId="1126850562" sldId="317"/>
        </pc:sldMkLst>
      </pc:sldChg>
      <pc:sldChg chg="addSp delSp modSp">
        <pc:chgData name="Era Poudel" userId="S::era.poudel@tum.de::4038d143-4a25-4ddb-a450-cddf29410981" providerId="AD" clId="Web-{F0CD15BA-B627-30E8-CC27-06731BCDFD51}" dt="2025-01-06T21:39:26.669" v="90" actId="1076"/>
        <pc:sldMkLst>
          <pc:docMk/>
          <pc:sldMk cId="2861992113" sldId="394"/>
        </pc:sldMkLst>
      </pc:sldChg>
      <pc:sldChg chg="addSp delSp modSp">
        <pc:chgData name="Era Poudel" userId="S::era.poudel@tum.de::4038d143-4a25-4ddb-a450-cddf29410981" providerId="AD" clId="Web-{F0CD15BA-B627-30E8-CC27-06731BCDFD51}" dt="2025-01-06T22:02:28.395" v="254" actId="1076"/>
        <pc:sldMkLst>
          <pc:docMk/>
          <pc:sldMk cId="206374014" sldId="403"/>
        </pc:sldMkLst>
      </pc:sldChg>
      <pc:sldChg chg="modSp">
        <pc:chgData name="Era Poudel" userId="S::era.poudel@tum.de::4038d143-4a25-4ddb-a450-cddf29410981" providerId="AD" clId="Web-{F0CD15BA-B627-30E8-CC27-06731BCDFD51}" dt="2025-01-06T21:52:08.293" v="232" actId="1076"/>
        <pc:sldMkLst>
          <pc:docMk/>
          <pc:sldMk cId="1179567158" sldId="404"/>
        </pc:sldMkLst>
        <pc:spChg chg="mod">
          <ac:chgData name="Era Poudel" userId="S::era.poudel@tum.de::4038d143-4a25-4ddb-a450-cddf29410981" providerId="AD" clId="Web-{F0CD15BA-B627-30E8-CC27-06731BCDFD51}" dt="2025-01-06T21:52:05.090" v="231" actId="1076"/>
          <ac:spMkLst>
            <pc:docMk/>
            <pc:sldMk cId="1179567158" sldId="404"/>
            <ac:spMk id="2" creationId="{F1A21B12-F317-F50A-FE10-72E27AB7AAB8}"/>
          </ac:spMkLst>
        </pc:spChg>
        <pc:spChg chg="mod">
          <ac:chgData name="Era Poudel" userId="S::era.poudel@tum.de::4038d143-4a25-4ddb-a450-cddf29410981" providerId="AD" clId="Web-{F0CD15BA-B627-30E8-CC27-06731BCDFD51}" dt="2025-01-06T21:52:08.293" v="232" actId="1076"/>
          <ac:spMkLst>
            <pc:docMk/>
            <pc:sldMk cId="1179567158" sldId="404"/>
            <ac:spMk id="4" creationId="{06CFC185-661B-FE38-CB5E-9B8B78C1DED4}"/>
          </ac:spMkLst>
        </pc:spChg>
        <pc:spChg chg="mod">
          <ac:chgData name="Era Poudel" userId="S::era.poudel@tum.de::4038d143-4a25-4ddb-a450-cddf29410981" providerId="AD" clId="Web-{F0CD15BA-B627-30E8-CC27-06731BCDFD51}" dt="2025-01-06T21:51:56.167" v="228" actId="14100"/>
          <ac:spMkLst>
            <pc:docMk/>
            <pc:sldMk cId="1179567158" sldId="404"/>
            <ac:spMk id="7" creationId="{A9471AC6-B495-C03E-5B97-9380D56DED5B}"/>
          </ac:spMkLst>
        </pc:spChg>
        <pc:spChg chg="mod">
          <ac:chgData name="Era Poudel" userId="S::era.poudel@tum.de::4038d143-4a25-4ddb-a450-cddf29410981" providerId="AD" clId="Web-{F0CD15BA-B627-30E8-CC27-06731BCDFD51}" dt="2025-01-06T21:51:59.386" v="229" actId="1076"/>
          <ac:spMkLst>
            <pc:docMk/>
            <pc:sldMk cId="1179567158" sldId="404"/>
            <ac:spMk id="8" creationId="{CE749D75-BB64-EA3F-4A37-8B6B98B5B366}"/>
          </ac:spMkLst>
        </pc:spChg>
        <pc:spChg chg="mod">
          <ac:chgData name="Era Poudel" userId="S::era.poudel@tum.de::4038d143-4a25-4ddb-a450-cddf29410981" providerId="AD" clId="Web-{F0CD15BA-B627-30E8-CC27-06731BCDFD51}" dt="2025-01-06T21:52:02.152" v="230" actId="1076"/>
          <ac:spMkLst>
            <pc:docMk/>
            <pc:sldMk cId="1179567158" sldId="404"/>
            <ac:spMk id="9" creationId="{BC21C8CF-539D-E464-29F1-01ECBED7D0F4}"/>
          </ac:spMkLst>
        </pc:spChg>
        <pc:spChg chg="mod">
          <ac:chgData name="Era Poudel" userId="S::era.poudel@tum.de::4038d143-4a25-4ddb-a450-cddf29410981" providerId="AD" clId="Web-{F0CD15BA-B627-30E8-CC27-06731BCDFD51}" dt="2025-01-06T21:41:09.500" v="177" actId="20577"/>
          <ac:spMkLst>
            <pc:docMk/>
            <pc:sldMk cId="1179567158" sldId="404"/>
            <ac:spMk id="13" creationId="{817FCBA3-EFE9-7AA6-9D84-3B990635EB2E}"/>
          </ac:spMkLst>
        </pc:spChg>
      </pc:sldChg>
      <pc:sldChg chg="modSp">
        <pc:chgData name="Era Poudel" userId="S::era.poudel@tum.de::4038d143-4a25-4ddb-a450-cddf29410981" providerId="AD" clId="Web-{F0CD15BA-B627-30E8-CC27-06731BCDFD51}" dt="2025-01-06T22:18:33.525" v="259" actId="1076"/>
        <pc:sldMkLst>
          <pc:docMk/>
          <pc:sldMk cId="3998095132" sldId="426"/>
        </pc:sldMkLst>
      </pc:sldChg>
      <pc:sldChg chg="modSp">
        <pc:chgData name="Era Poudel" userId="S::era.poudel@tum.de::4038d143-4a25-4ddb-a450-cddf29410981" providerId="AD" clId="Web-{F0CD15BA-B627-30E8-CC27-06731BCDFD51}" dt="2025-01-06T22:19:57.341" v="266" actId="1076"/>
        <pc:sldMkLst>
          <pc:docMk/>
          <pc:sldMk cId="193242376" sldId="429"/>
        </pc:sldMkLst>
      </pc:sldChg>
    </pc:docChg>
  </pc:docChgLst>
  <pc:docChgLst>
    <pc:chgData name="Tabea Monz" userId="S::t.monz@tum.de::f46a5392-c507-4495-8454-0a2fbbcf0cda" providerId="AD" clId="Web-{B45BE955-E632-4AF2-E430-15A6533722A2}"/>
    <pc:docChg chg="modSld">
      <pc:chgData name="Tabea Monz" userId="S::t.monz@tum.de::f46a5392-c507-4495-8454-0a2fbbcf0cda" providerId="AD" clId="Web-{B45BE955-E632-4AF2-E430-15A6533722A2}" dt="2025-01-21T11:29:43.891" v="14" actId="1076"/>
      <pc:docMkLst>
        <pc:docMk/>
      </pc:docMkLst>
      <pc:sldChg chg="addSp delSp modSp">
        <pc:chgData name="Tabea Monz" userId="S::t.monz@tum.de::f46a5392-c507-4495-8454-0a2fbbcf0cda" providerId="AD" clId="Web-{B45BE955-E632-4AF2-E430-15A6533722A2}" dt="2025-01-21T11:29:43.891" v="14" actId="1076"/>
        <pc:sldMkLst>
          <pc:docMk/>
          <pc:sldMk cId="1212062671" sldId="452"/>
        </pc:sldMkLst>
        <pc:picChg chg="mod">
          <ac:chgData name="Tabea Monz" userId="S::t.monz@tum.de::f46a5392-c507-4495-8454-0a2fbbcf0cda" providerId="AD" clId="Web-{B45BE955-E632-4AF2-E430-15A6533722A2}" dt="2025-01-21T11:29:40.328" v="13" actId="1076"/>
          <ac:picMkLst>
            <pc:docMk/>
            <pc:sldMk cId="1212062671" sldId="452"/>
            <ac:picMk id="2" creationId="{C85F922A-DF1A-3706-D5D2-299AD5284C2C}"/>
          </ac:picMkLst>
        </pc:picChg>
        <pc:picChg chg="add mod modCrop">
          <ac:chgData name="Tabea Monz" userId="S::t.monz@tum.de::f46a5392-c507-4495-8454-0a2fbbcf0cda" providerId="AD" clId="Web-{B45BE955-E632-4AF2-E430-15A6533722A2}" dt="2025-01-21T11:29:43.891" v="14" actId="1076"/>
          <ac:picMkLst>
            <pc:docMk/>
            <pc:sldMk cId="1212062671" sldId="452"/>
            <ac:picMk id="6" creationId="{62979016-636D-8A14-5090-781C35B6F367}"/>
          </ac:picMkLst>
        </pc:picChg>
      </pc:sldChg>
    </pc:docChg>
  </pc:docChgLst>
  <pc:docChgLst>
    <pc:chgData name="Tabea Monz" userId="S::t.monz@tum.de::f46a5392-c507-4495-8454-0a2fbbcf0cda" providerId="AD" clId="Web-{89042317-BEAD-F399-A898-7C79922956DC}"/>
    <pc:docChg chg="addSld delSld modSld sldOrd modSection">
      <pc:chgData name="Tabea Monz" userId="S::t.monz@tum.de::f46a5392-c507-4495-8454-0a2fbbcf0cda" providerId="AD" clId="Web-{89042317-BEAD-F399-A898-7C79922956DC}" dt="2024-12-05T12:09:41.879" v="1996"/>
      <pc:docMkLst>
        <pc:docMk/>
      </pc:docMkLst>
      <pc:sldChg chg="addSp delSp modSp ord">
        <pc:chgData name="Tabea Monz" userId="S::t.monz@tum.de::f46a5392-c507-4495-8454-0a2fbbcf0cda" providerId="AD" clId="Web-{89042317-BEAD-F399-A898-7C79922956DC}" dt="2024-12-05T09:44:35.484" v="882"/>
        <pc:sldMkLst>
          <pc:docMk/>
          <pc:sldMk cId="1601966315" sldId="285"/>
        </pc:sldMkLst>
        <pc:spChg chg="mod">
          <ac:chgData name="Tabea Monz" userId="S::t.monz@tum.de::f46a5392-c507-4495-8454-0a2fbbcf0cda" providerId="AD" clId="Web-{89042317-BEAD-F399-A898-7C79922956DC}" dt="2024-12-05T09:23:20.019" v="441" actId="20577"/>
          <ac:spMkLst>
            <pc:docMk/>
            <pc:sldMk cId="1601966315" sldId="285"/>
            <ac:spMk id="4" creationId="{9FED2E82-8B4E-CED3-E7CC-13BEEA6B927D}"/>
          </ac:spMkLst>
        </pc:spChg>
        <pc:spChg chg="add mod">
          <ac:chgData name="Tabea Monz" userId="S::t.monz@tum.de::f46a5392-c507-4495-8454-0a2fbbcf0cda" providerId="AD" clId="Web-{89042317-BEAD-F399-A898-7C79922956DC}" dt="2024-12-05T09:36:37.208" v="588" actId="20577"/>
          <ac:spMkLst>
            <pc:docMk/>
            <pc:sldMk cId="1601966315" sldId="285"/>
            <ac:spMk id="5" creationId="{47CB8B55-5221-8ED1-B020-5C92DCB4AE8A}"/>
          </ac:spMkLst>
        </pc:spChg>
        <pc:spChg chg="mod">
          <ac:chgData name="Tabea Monz" userId="S::t.monz@tum.de::f46a5392-c507-4495-8454-0a2fbbcf0cda" providerId="AD" clId="Web-{89042317-BEAD-F399-A898-7C79922956DC}" dt="2024-12-05T09:10:06.377" v="100" actId="1076"/>
          <ac:spMkLst>
            <pc:docMk/>
            <pc:sldMk cId="1601966315" sldId="285"/>
            <ac:spMk id="6" creationId="{60826006-F73F-8F4D-B400-0565C4DD04A9}"/>
          </ac:spMkLst>
        </pc:spChg>
        <pc:spChg chg="add mod">
          <ac:chgData name="Tabea Monz" userId="S::t.monz@tum.de::f46a5392-c507-4495-8454-0a2fbbcf0cda" providerId="AD" clId="Web-{89042317-BEAD-F399-A898-7C79922956DC}" dt="2024-12-05T09:33:09.313" v="562" actId="20577"/>
          <ac:spMkLst>
            <pc:docMk/>
            <pc:sldMk cId="1601966315" sldId="285"/>
            <ac:spMk id="8" creationId="{0F2527F7-CBA9-70C1-03DE-5F22B192FA30}"/>
          </ac:spMkLst>
        </pc:spChg>
        <pc:spChg chg="add mod">
          <ac:chgData name="Tabea Monz" userId="S::t.monz@tum.de::f46a5392-c507-4495-8454-0a2fbbcf0cda" providerId="AD" clId="Web-{89042317-BEAD-F399-A898-7C79922956DC}" dt="2024-12-05T09:32:53.375" v="560" actId="20577"/>
          <ac:spMkLst>
            <pc:docMk/>
            <pc:sldMk cId="1601966315" sldId="285"/>
            <ac:spMk id="9" creationId="{8AE5B2B1-1A55-4C2C-EED1-53E025FF813D}"/>
          </ac:spMkLst>
        </pc:spChg>
        <pc:spChg chg="add mod">
          <ac:chgData name="Tabea Monz" userId="S::t.monz@tum.de::f46a5392-c507-4495-8454-0a2fbbcf0cda" providerId="AD" clId="Web-{89042317-BEAD-F399-A898-7C79922956DC}" dt="2024-12-05T09:29:11.699" v="516" actId="1076"/>
          <ac:spMkLst>
            <pc:docMk/>
            <pc:sldMk cId="1601966315" sldId="285"/>
            <ac:spMk id="10" creationId="{91A3E247-EF6D-1DD4-2CEE-AD97DFB2AB84}"/>
          </ac:spMkLst>
        </pc:spChg>
        <pc:spChg chg="add mod">
          <ac:chgData name="Tabea Monz" userId="S::t.monz@tum.de::f46a5392-c507-4495-8454-0a2fbbcf0cda" providerId="AD" clId="Web-{89042317-BEAD-F399-A898-7C79922956DC}" dt="2024-12-05T09:33:14.845" v="564" actId="20577"/>
          <ac:spMkLst>
            <pc:docMk/>
            <pc:sldMk cId="1601966315" sldId="285"/>
            <ac:spMk id="11" creationId="{95BBC967-E5E7-5520-3149-E6BC2AA47613}"/>
          </ac:spMkLst>
        </pc:spChg>
        <pc:spChg chg="add mod">
          <ac:chgData name="Tabea Monz" userId="S::t.monz@tum.de::f46a5392-c507-4495-8454-0a2fbbcf0cda" providerId="AD" clId="Web-{89042317-BEAD-F399-A898-7C79922956DC}" dt="2024-12-05T09:32:37.188" v="556" actId="20577"/>
          <ac:spMkLst>
            <pc:docMk/>
            <pc:sldMk cId="1601966315" sldId="285"/>
            <ac:spMk id="12" creationId="{5EF3E304-9BD6-88F0-8F3E-ED96D307D49F}"/>
          </ac:spMkLst>
        </pc:spChg>
        <pc:spChg chg="add mod">
          <ac:chgData name="Tabea Monz" userId="S::t.monz@tum.de::f46a5392-c507-4495-8454-0a2fbbcf0cda" providerId="AD" clId="Web-{89042317-BEAD-F399-A898-7C79922956DC}" dt="2024-12-05T09:32:43.531" v="558" actId="20577"/>
          <ac:spMkLst>
            <pc:docMk/>
            <pc:sldMk cId="1601966315" sldId="285"/>
            <ac:spMk id="13" creationId="{75435C71-5BAC-6693-DC70-C04C791B459A}"/>
          </ac:spMkLst>
        </pc:spChg>
        <pc:spChg chg="add mod">
          <ac:chgData name="Tabea Monz" userId="S::t.monz@tum.de::f46a5392-c507-4495-8454-0a2fbbcf0cda" providerId="AD" clId="Web-{89042317-BEAD-F399-A898-7C79922956DC}" dt="2024-12-05T09:32:27.015" v="554" actId="1076"/>
          <ac:spMkLst>
            <pc:docMk/>
            <pc:sldMk cId="1601966315" sldId="285"/>
            <ac:spMk id="21" creationId="{FA6DD4FC-E339-C276-2283-3E165E7E8F50}"/>
          </ac:spMkLst>
        </pc:spChg>
        <pc:spChg chg="mod">
          <ac:chgData name="Tabea Monz" userId="S::t.monz@tum.de::f46a5392-c507-4495-8454-0a2fbbcf0cda" providerId="AD" clId="Web-{89042317-BEAD-F399-A898-7C79922956DC}" dt="2024-12-05T09:10:22.315" v="102" actId="20577"/>
          <ac:spMkLst>
            <pc:docMk/>
            <pc:sldMk cId="1601966315" sldId="285"/>
            <ac:spMk id="28" creationId="{1E7F3884-BACD-49E3-027F-BC4198F8C2AE}"/>
          </ac:spMkLst>
        </pc:spChg>
        <pc:picChg chg="add mod">
          <ac:chgData name="Tabea Monz" userId="S::t.monz@tum.de::f46a5392-c507-4495-8454-0a2fbbcf0cda" providerId="AD" clId="Web-{89042317-BEAD-F399-A898-7C79922956DC}" dt="2024-12-05T09:32:08.578" v="544" actId="1076"/>
          <ac:picMkLst>
            <pc:docMk/>
            <pc:sldMk cId="1601966315" sldId="285"/>
            <ac:picMk id="14" creationId="{75811885-D681-ED86-BD6D-115F876577E8}"/>
          </ac:picMkLst>
        </pc:picChg>
        <pc:picChg chg="add mod">
          <ac:chgData name="Tabea Monz" userId="S::t.monz@tum.de::f46a5392-c507-4495-8454-0a2fbbcf0cda" providerId="AD" clId="Web-{89042317-BEAD-F399-A898-7C79922956DC}" dt="2024-12-05T09:31:45.374" v="541" actId="1076"/>
          <ac:picMkLst>
            <pc:docMk/>
            <pc:sldMk cId="1601966315" sldId="285"/>
            <ac:picMk id="15" creationId="{38FB201E-E664-1437-9C88-1B95B765AD86}"/>
          </ac:picMkLst>
        </pc:picChg>
        <pc:picChg chg="add mod">
          <ac:chgData name="Tabea Monz" userId="S::t.monz@tum.de::f46a5392-c507-4495-8454-0a2fbbcf0cda" providerId="AD" clId="Web-{89042317-BEAD-F399-A898-7C79922956DC}" dt="2024-12-05T09:31:43.499" v="540" actId="1076"/>
          <ac:picMkLst>
            <pc:docMk/>
            <pc:sldMk cId="1601966315" sldId="285"/>
            <ac:picMk id="16" creationId="{AFEFEFD4-466A-92EB-7F8D-0D011A0ECB41}"/>
          </ac:picMkLst>
        </pc:picChg>
        <pc:picChg chg="add mod">
          <ac:chgData name="Tabea Monz" userId="S::t.monz@tum.de::f46a5392-c507-4495-8454-0a2fbbcf0cda" providerId="AD" clId="Web-{89042317-BEAD-F399-A898-7C79922956DC}" dt="2024-12-05T09:31:38.608" v="539" actId="1076"/>
          <ac:picMkLst>
            <pc:docMk/>
            <pc:sldMk cId="1601966315" sldId="285"/>
            <ac:picMk id="17" creationId="{7C721E98-FF10-6521-4B84-2246FDF7F1DE}"/>
          </ac:picMkLst>
        </pc:picChg>
        <pc:picChg chg="mod">
          <ac:chgData name="Tabea Monz" userId="S::t.monz@tum.de::f46a5392-c507-4495-8454-0a2fbbcf0cda" providerId="AD" clId="Web-{89042317-BEAD-F399-A898-7C79922956DC}" dt="2024-12-05T09:10:35.190" v="104" actId="1076"/>
          <ac:picMkLst>
            <pc:docMk/>
            <pc:sldMk cId="1601966315" sldId="285"/>
            <ac:picMk id="34" creationId="{07D92C56-89DA-4779-F42E-0575B27D415B}"/>
          </ac:picMkLst>
        </pc:picChg>
      </pc:sldChg>
      <pc:sldChg chg="modSp ord">
        <pc:chgData name="Tabea Monz" userId="S::t.monz@tum.de::f46a5392-c507-4495-8454-0a2fbbcf0cda" providerId="AD" clId="Web-{89042317-BEAD-F399-A898-7C79922956DC}" dt="2024-12-05T12:09:41.879" v="1996"/>
        <pc:sldMkLst>
          <pc:docMk/>
          <pc:sldMk cId="3573279774" sldId="286"/>
        </pc:sldMkLst>
        <pc:spChg chg="mod">
          <ac:chgData name="Tabea Monz" userId="S::t.monz@tum.de::f46a5392-c507-4495-8454-0a2fbbcf0cda" providerId="AD" clId="Web-{89042317-BEAD-F399-A898-7C79922956DC}" dt="2024-12-05T10:40:04.555" v="1456" actId="20577"/>
          <ac:spMkLst>
            <pc:docMk/>
            <pc:sldMk cId="3573279774" sldId="286"/>
            <ac:spMk id="6" creationId="{EECBEFEB-9C0E-5927-15A7-351A5C54385E}"/>
          </ac:spMkLst>
        </pc:spChg>
      </pc:sldChg>
      <pc:sldChg chg="addSp modSp add replId">
        <pc:chgData name="Tabea Monz" userId="S::t.monz@tum.de::f46a5392-c507-4495-8454-0a2fbbcf0cda" providerId="AD" clId="Web-{89042317-BEAD-F399-A898-7C79922956DC}" dt="2024-12-05T10:37:54.099" v="1434" actId="20577"/>
        <pc:sldMkLst>
          <pc:docMk/>
          <pc:sldMk cId="1350676828" sldId="407"/>
        </pc:sldMkLst>
        <pc:spChg chg="mod">
          <ac:chgData name="Tabea Monz" userId="S::t.monz@tum.de::f46a5392-c507-4495-8454-0a2fbbcf0cda" providerId="AD" clId="Web-{89042317-BEAD-F399-A898-7C79922956DC}" dt="2024-12-05T10:37:54.099" v="1434" actId="20577"/>
          <ac:spMkLst>
            <pc:docMk/>
            <pc:sldMk cId="1350676828" sldId="407"/>
            <ac:spMk id="6" creationId="{60826006-F73F-8F4D-B400-0565C4DD04A9}"/>
          </ac:spMkLst>
        </pc:spChg>
        <pc:inkChg chg="add">
          <ac:chgData name="Tabea Monz" userId="S::t.monz@tum.de::f46a5392-c507-4495-8454-0a2fbbcf0cda" providerId="AD" clId="Web-{89042317-BEAD-F399-A898-7C79922956DC}" dt="2024-12-05T10:25:26.693" v="1282"/>
          <ac:inkMkLst>
            <pc:docMk/>
            <pc:sldMk cId="1350676828" sldId="407"/>
            <ac:inkMk id="2" creationId="{78BF406A-3099-D3BB-609F-5D3DC63390BE}"/>
          </ac:inkMkLst>
        </pc:inkChg>
        <pc:inkChg chg="add">
          <ac:chgData name="Tabea Monz" userId="S::t.monz@tum.de::f46a5392-c507-4495-8454-0a2fbbcf0cda" providerId="AD" clId="Web-{89042317-BEAD-F399-A898-7C79922956DC}" dt="2024-12-05T10:25:29.818" v="1283"/>
          <ac:inkMkLst>
            <pc:docMk/>
            <pc:sldMk cId="1350676828" sldId="407"/>
            <ac:inkMk id="5" creationId="{FB849A82-B70A-BBF1-6123-6F1986573DCF}"/>
          </ac:inkMkLst>
        </pc:inkChg>
        <pc:inkChg chg="add">
          <ac:chgData name="Tabea Monz" userId="S::t.monz@tum.de::f46a5392-c507-4495-8454-0a2fbbcf0cda" providerId="AD" clId="Web-{89042317-BEAD-F399-A898-7C79922956DC}" dt="2024-12-05T10:25:34.131" v="1284"/>
          <ac:inkMkLst>
            <pc:docMk/>
            <pc:sldMk cId="1350676828" sldId="407"/>
            <ac:inkMk id="7" creationId="{7D84F3FD-B377-96F3-7CD7-E985C210F7FE}"/>
          </ac:inkMkLst>
        </pc:inkChg>
        <pc:inkChg chg="add">
          <ac:chgData name="Tabea Monz" userId="S::t.monz@tum.de::f46a5392-c507-4495-8454-0a2fbbcf0cda" providerId="AD" clId="Web-{89042317-BEAD-F399-A898-7C79922956DC}" dt="2024-12-05T10:25:37.193" v="1285"/>
          <ac:inkMkLst>
            <pc:docMk/>
            <pc:sldMk cId="1350676828" sldId="407"/>
            <ac:inkMk id="8" creationId="{A08603C8-EF6F-9A8C-4674-EE1DB1A60DF3}"/>
          </ac:inkMkLst>
        </pc:inkChg>
      </pc:sldChg>
      <pc:sldChg chg="delSp modSp add replId">
        <pc:chgData name="Tabea Monz" userId="S::t.monz@tum.de::f46a5392-c507-4495-8454-0a2fbbcf0cda" providerId="AD" clId="Web-{89042317-BEAD-F399-A898-7C79922956DC}" dt="2024-12-05T09:50:41.570" v="956" actId="20577"/>
        <pc:sldMkLst>
          <pc:docMk/>
          <pc:sldMk cId="2146858438" sldId="408"/>
        </pc:sldMkLst>
      </pc:sldChg>
      <pc:sldChg chg="addSp delSp modSp add replId modNotes">
        <pc:chgData name="Tabea Monz" userId="S::t.monz@tum.de::f46a5392-c507-4495-8454-0a2fbbcf0cda" providerId="AD" clId="Web-{89042317-BEAD-F399-A898-7C79922956DC}" dt="2024-12-05T10:07:07.763" v="1064"/>
        <pc:sldMkLst>
          <pc:docMk/>
          <pc:sldMk cId="4165276256" sldId="409"/>
        </pc:sldMkLst>
        <pc:spChg chg="add mod">
          <ac:chgData name="Tabea Monz" userId="S::t.monz@tum.de::f46a5392-c507-4495-8454-0a2fbbcf0cda" providerId="AD" clId="Web-{89042317-BEAD-F399-A898-7C79922956DC}" dt="2024-12-05T09:52:34.682" v="980" actId="20577"/>
          <ac:spMkLst>
            <pc:docMk/>
            <pc:sldMk cId="4165276256" sldId="409"/>
            <ac:spMk id="14" creationId="{1DC39A33-AFC3-BAFB-BCFC-815AF85F41A3}"/>
          </ac:spMkLst>
        </pc:spChg>
        <pc:spChg chg="add mod">
          <ac:chgData name="Tabea Monz" userId="S::t.monz@tum.de::f46a5392-c507-4495-8454-0a2fbbcf0cda" providerId="AD" clId="Web-{89042317-BEAD-F399-A898-7C79922956DC}" dt="2024-12-05T09:52:54.261" v="991" actId="20577"/>
          <ac:spMkLst>
            <pc:docMk/>
            <pc:sldMk cId="4165276256" sldId="409"/>
            <ac:spMk id="16" creationId="{8559A7D3-2E5E-B910-272A-32EA29C804A2}"/>
          </ac:spMkLst>
        </pc:spChg>
        <pc:spChg chg="add mod">
          <ac:chgData name="Tabea Monz" userId="S::t.monz@tum.de::f46a5392-c507-4495-8454-0a2fbbcf0cda" providerId="AD" clId="Web-{89042317-BEAD-F399-A898-7C79922956DC}" dt="2024-12-05T09:52:45.198" v="983" actId="20577"/>
          <ac:spMkLst>
            <pc:docMk/>
            <pc:sldMk cId="4165276256" sldId="409"/>
            <ac:spMk id="17" creationId="{93DF21F3-B62A-CE9C-BDB3-1F4AB943CCC4}"/>
          </ac:spMkLst>
        </pc:spChg>
        <pc:spChg chg="add mod">
          <ac:chgData name="Tabea Monz" userId="S::t.monz@tum.de::f46a5392-c507-4495-8454-0a2fbbcf0cda" providerId="AD" clId="Web-{89042317-BEAD-F399-A898-7C79922956DC}" dt="2024-12-05T09:53:02.651" v="994" actId="20577"/>
          <ac:spMkLst>
            <pc:docMk/>
            <pc:sldMk cId="4165276256" sldId="409"/>
            <ac:spMk id="19" creationId="{73A61211-80BF-B1A8-FC36-E9ED11B6DC85}"/>
          </ac:spMkLst>
        </pc:spChg>
        <pc:spChg chg="add mod">
          <ac:chgData name="Tabea Monz" userId="S::t.monz@tum.de::f46a5392-c507-4495-8454-0a2fbbcf0cda" providerId="AD" clId="Web-{89042317-BEAD-F399-A898-7C79922956DC}" dt="2024-12-05T09:53:16.464" v="1002" actId="20577"/>
          <ac:spMkLst>
            <pc:docMk/>
            <pc:sldMk cId="4165276256" sldId="409"/>
            <ac:spMk id="21" creationId="{9C779F89-23F1-8273-09EF-134F10F9DD9C}"/>
          </ac:spMkLst>
        </pc:spChg>
        <pc:spChg chg="add mod">
          <ac:chgData name="Tabea Monz" userId="S::t.monz@tum.de::f46a5392-c507-4495-8454-0a2fbbcf0cda" providerId="AD" clId="Web-{89042317-BEAD-F399-A898-7C79922956DC}" dt="2024-12-05T09:53:25.214" v="1010" actId="20577"/>
          <ac:spMkLst>
            <pc:docMk/>
            <pc:sldMk cId="4165276256" sldId="409"/>
            <ac:spMk id="23" creationId="{AD661E3A-5B0F-01A4-3643-66BF593B9B61}"/>
          </ac:spMkLst>
        </pc:spChg>
        <pc:spChg chg="add mod">
          <ac:chgData name="Tabea Monz" userId="S::t.monz@tum.de::f46a5392-c507-4495-8454-0a2fbbcf0cda" providerId="AD" clId="Web-{89042317-BEAD-F399-A898-7C79922956DC}" dt="2024-12-05T09:53:38.668" v="1014" actId="20577"/>
          <ac:spMkLst>
            <pc:docMk/>
            <pc:sldMk cId="4165276256" sldId="409"/>
            <ac:spMk id="25" creationId="{EBBDADC1-07FE-F8E2-49CD-4C68E9023C03}"/>
          </ac:spMkLst>
        </pc:spChg>
        <pc:spChg chg="add mod">
          <ac:chgData name="Tabea Monz" userId="S::t.monz@tum.de::f46a5392-c507-4495-8454-0a2fbbcf0cda" providerId="AD" clId="Web-{89042317-BEAD-F399-A898-7C79922956DC}" dt="2024-12-05T09:53:49.168" v="1017" actId="20577"/>
          <ac:spMkLst>
            <pc:docMk/>
            <pc:sldMk cId="4165276256" sldId="409"/>
            <ac:spMk id="26" creationId="{09890D54-A53D-4CA6-508B-2A1A76DBB6A7}"/>
          </ac:spMkLst>
        </pc:spChg>
        <pc:picChg chg="add mod">
          <ac:chgData name="Tabea Monz" userId="S::t.monz@tum.de::f46a5392-c507-4495-8454-0a2fbbcf0cda" providerId="AD" clId="Web-{89042317-BEAD-F399-A898-7C79922956DC}" dt="2024-12-05T09:48:22.333" v="900" actId="1076"/>
          <ac:picMkLst>
            <pc:docMk/>
            <pc:sldMk cId="4165276256" sldId="409"/>
            <ac:picMk id="2" creationId="{B7255242-02F8-3BA5-29B9-2490301C4735}"/>
          </ac:picMkLst>
        </pc:picChg>
        <pc:picChg chg="add mod">
          <ac:chgData name="Tabea Monz" userId="S::t.monz@tum.de::f46a5392-c507-4495-8454-0a2fbbcf0cda" providerId="AD" clId="Web-{89042317-BEAD-F399-A898-7C79922956DC}" dt="2024-12-05T09:48:46.302" v="902" actId="1076"/>
          <ac:picMkLst>
            <pc:docMk/>
            <pc:sldMk cId="4165276256" sldId="409"/>
            <ac:picMk id="7" creationId="{C626F102-0D4B-C862-7A1A-70249A8CF74B}"/>
          </ac:picMkLst>
        </pc:picChg>
        <pc:picChg chg="add mod">
          <ac:chgData name="Tabea Monz" userId="S::t.monz@tum.de::f46a5392-c507-4495-8454-0a2fbbcf0cda" providerId="AD" clId="Web-{89042317-BEAD-F399-A898-7C79922956DC}" dt="2024-12-05T09:48:13.395" v="898" actId="1076"/>
          <ac:picMkLst>
            <pc:docMk/>
            <pc:sldMk cId="4165276256" sldId="409"/>
            <ac:picMk id="8" creationId="{1359D337-1D66-1DE5-4E06-4D96347AB294}"/>
          </ac:picMkLst>
        </pc:picChg>
        <pc:picChg chg="add mod">
          <ac:chgData name="Tabea Monz" userId="S::t.monz@tum.de::f46a5392-c507-4495-8454-0a2fbbcf0cda" providerId="AD" clId="Web-{89042317-BEAD-F399-A898-7C79922956DC}" dt="2024-12-05T09:48:40.490" v="901" actId="1076"/>
          <ac:picMkLst>
            <pc:docMk/>
            <pc:sldMk cId="4165276256" sldId="409"/>
            <ac:picMk id="9" creationId="{A6953649-490C-1802-8D63-4A99FF934F79}"/>
          </ac:picMkLst>
        </pc:picChg>
        <pc:picChg chg="add mod">
          <ac:chgData name="Tabea Monz" userId="S::t.monz@tum.de::f46a5392-c507-4495-8454-0a2fbbcf0cda" providerId="AD" clId="Web-{89042317-BEAD-F399-A898-7C79922956DC}" dt="2024-12-05T09:51:31.571" v="966" actId="1076"/>
          <ac:picMkLst>
            <pc:docMk/>
            <pc:sldMk cId="4165276256" sldId="409"/>
            <ac:picMk id="10" creationId="{F56FB6D0-DCA3-5FF5-D949-A469EC1AA2BE}"/>
          </ac:picMkLst>
        </pc:picChg>
        <pc:picChg chg="add mod">
          <ac:chgData name="Tabea Monz" userId="S::t.monz@tum.de::f46a5392-c507-4495-8454-0a2fbbcf0cda" providerId="AD" clId="Web-{89042317-BEAD-F399-A898-7C79922956DC}" dt="2024-12-05T09:48:50.146" v="903" actId="1076"/>
          <ac:picMkLst>
            <pc:docMk/>
            <pc:sldMk cId="4165276256" sldId="409"/>
            <ac:picMk id="11" creationId="{C4A38CEB-21AE-CAD3-E74F-1D2AB2432DC2}"/>
          </ac:picMkLst>
        </pc:picChg>
        <pc:picChg chg="add mod">
          <ac:chgData name="Tabea Monz" userId="S::t.monz@tum.de::f46a5392-c507-4495-8454-0a2fbbcf0cda" providerId="AD" clId="Web-{89042317-BEAD-F399-A898-7C79922956DC}" dt="2024-12-05T09:48:18.239" v="899" actId="1076"/>
          <ac:picMkLst>
            <pc:docMk/>
            <pc:sldMk cId="4165276256" sldId="409"/>
            <ac:picMk id="12" creationId="{D5F31C03-D862-E64D-F4CE-8D6D3936274D}"/>
          </ac:picMkLst>
        </pc:picChg>
        <pc:picChg chg="add mod">
          <ac:chgData name="Tabea Monz" userId="S::t.monz@tum.de::f46a5392-c507-4495-8454-0a2fbbcf0cda" providerId="AD" clId="Web-{89042317-BEAD-F399-A898-7C79922956DC}" dt="2024-12-05T09:51:33.571" v="967" actId="1076"/>
          <ac:picMkLst>
            <pc:docMk/>
            <pc:sldMk cId="4165276256" sldId="409"/>
            <ac:picMk id="13" creationId="{ABF5B4D9-EB05-C043-4FBC-CE74E38E6CCC}"/>
          </ac:picMkLst>
        </pc:picChg>
        <pc:inkChg chg="add">
          <ac:chgData name="Tabea Monz" userId="S::t.monz@tum.de::f46a5392-c507-4495-8454-0a2fbbcf0cda" providerId="AD" clId="Web-{89042317-BEAD-F399-A898-7C79922956DC}" dt="2024-12-05T09:56:10.452" v="1040"/>
          <ac:inkMkLst>
            <pc:docMk/>
            <pc:sldMk cId="4165276256" sldId="409"/>
            <ac:inkMk id="37" creationId="{F90333A1-842E-1BF9-7359-4943903F00D5}"/>
          </ac:inkMkLst>
        </pc:inkChg>
        <pc:inkChg chg="add">
          <ac:chgData name="Tabea Monz" userId="S::t.monz@tum.de::f46a5392-c507-4495-8454-0a2fbbcf0cda" providerId="AD" clId="Web-{89042317-BEAD-F399-A898-7C79922956DC}" dt="2024-12-05T09:56:11.499" v="1041"/>
          <ac:inkMkLst>
            <pc:docMk/>
            <pc:sldMk cId="4165276256" sldId="409"/>
            <ac:inkMk id="38" creationId="{AFC3F3E6-DEC2-5BB7-F53C-FBF65CBAE387}"/>
          </ac:inkMkLst>
        </pc:inkChg>
        <pc:inkChg chg="add">
          <ac:chgData name="Tabea Monz" userId="S::t.monz@tum.de::f46a5392-c507-4495-8454-0a2fbbcf0cda" providerId="AD" clId="Web-{89042317-BEAD-F399-A898-7C79922956DC}" dt="2024-12-05T09:56:14.999" v="1042"/>
          <ac:inkMkLst>
            <pc:docMk/>
            <pc:sldMk cId="4165276256" sldId="409"/>
            <ac:inkMk id="39" creationId="{F7DEEC2C-B4F4-BDF3-6910-87D4D55474F6}"/>
          </ac:inkMkLst>
        </pc:inkChg>
        <pc:inkChg chg="add">
          <ac:chgData name="Tabea Monz" userId="S::t.monz@tum.de::f46a5392-c507-4495-8454-0a2fbbcf0cda" providerId="AD" clId="Web-{89042317-BEAD-F399-A898-7C79922956DC}" dt="2024-12-05T09:56:16.140" v="1043"/>
          <ac:inkMkLst>
            <pc:docMk/>
            <pc:sldMk cId="4165276256" sldId="409"/>
            <ac:inkMk id="40" creationId="{B9712D9B-28F9-E8DA-7292-07988C3FC843}"/>
          </ac:inkMkLst>
        </pc:inkChg>
        <pc:inkChg chg="add">
          <ac:chgData name="Tabea Monz" userId="S::t.monz@tum.de::f46a5392-c507-4495-8454-0a2fbbcf0cda" providerId="AD" clId="Web-{89042317-BEAD-F399-A898-7C79922956DC}" dt="2024-12-05T09:56:20.515" v="1044"/>
          <ac:inkMkLst>
            <pc:docMk/>
            <pc:sldMk cId="4165276256" sldId="409"/>
            <ac:inkMk id="41" creationId="{BF9E2DF8-35AA-F983-4D9C-47B9FE6EA6B8}"/>
          </ac:inkMkLst>
        </pc:inkChg>
        <pc:inkChg chg="add">
          <ac:chgData name="Tabea Monz" userId="S::t.monz@tum.de::f46a5392-c507-4495-8454-0a2fbbcf0cda" providerId="AD" clId="Web-{89042317-BEAD-F399-A898-7C79922956DC}" dt="2024-12-05T09:56:21.640" v="1045"/>
          <ac:inkMkLst>
            <pc:docMk/>
            <pc:sldMk cId="4165276256" sldId="409"/>
            <ac:inkMk id="42" creationId="{F98BBF4B-4F6B-2805-6BC9-D5254BEAAD7B}"/>
          </ac:inkMkLst>
        </pc:inkChg>
        <pc:inkChg chg="add">
          <ac:chgData name="Tabea Monz" userId="S::t.monz@tum.de::f46a5392-c507-4495-8454-0a2fbbcf0cda" providerId="AD" clId="Web-{89042317-BEAD-F399-A898-7C79922956DC}" dt="2024-12-05T09:56:30.390" v="1046"/>
          <ac:inkMkLst>
            <pc:docMk/>
            <pc:sldMk cId="4165276256" sldId="409"/>
            <ac:inkMk id="43" creationId="{E77EC7B7-1B79-B79C-BBFD-D05D84843438}"/>
          </ac:inkMkLst>
        </pc:inkChg>
        <pc:inkChg chg="add">
          <ac:chgData name="Tabea Monz" userId="S::t.monz@tum.de::f46a5392-c507-4495-8454-0a2fbbcf0cda" providerId="AD" clId="Web-{89042317-BEAD-F399-A898-7C79922956DC}" dt="2024-12-05T09:56:32.593" v="1047"/>
          <ac:inkMkLst>
            <pc:docMk/>
            <pc:sldMk cId="4165276256" sldId="409"/>
            <ac:inkMk id="44" creationId="{7FCC9ACF-0651-E6E3-F4B4-B1D909B92573}"/>
          </ac:inkMkLst>
        </pc:inkChg>
        <pc:inkChg chg="add">
          <ac:chgData name="Tabea Monz" userId="S::t.monz@tum.de::f46a5392-c507-4495-8454-0a2fbbcf0cda" providerId="AD" clId="Web-{89042317-BEAD-F399-A898-7C79922956DC}" dt="2024-12-05T09:56:36.062" v="1048"/>
          <ac:inkMkLst>
            <pc:docMk/>
            <pc:sldMk cId="4165276256" sldId="409"/>
            <ac:inkMk id="45" creationId="{DFD9288E-B00F-339C-16D5-5469544EF0C8}"/>
          </ac:inkMkLst>
        </pc:inkChg>
        <pc:inkChg chg="add">
          <ac:chgData name="Tabea Monz" userId="S::t.monz@tum.de::f46a5392-c507-4495-8454-0a2fbbcf0cda" providerId="AD" clId="Web-{89042317-BEAD-F399-A898-7C79922956DC}" dt="2024-12-05T09:56:37.859" v="1049"/>
          <ac:inkMkLst>
            <pc:docMk/>
            <pc:sldMk cId="4165276256" sldId="409"/>
            <ac:inkMk id="46" creationId="{E42C7760-DA83-B140-EC15-170A76CED852}"/>
          </ac:inkMkLst>
        </pc:inkChg>
        <pc:inkChg chg="add">
          <ac:chgData name="Tabea Monz" userId="S::t.monz@tum.de::f46a5392-c507-4495-8454-0a2fbbcf0cda" providerId="AD" clId="Web-{89042317-BEAD-F399-A898-7C79922956DC}" dt="2024-12-05T09:56:42.406" v="1050"/>
          <ac:inkMkLst>
            <pc:docMk/>
            <pc:sldMk cId="4165276256" sldId="409"/>
            <ac:inkMk id="47" creationId="{7F59C1C3-515A-02D9-A231-117A5268EC3B}"/>
          </ac:inkMkLst>
        </pc:inkChg>
        <pc:inkChg chg="add">
          <ac:chgData name="Tabea Monz" userId="S::t.monz@tum.de::f46a5392-c507-4495-8454-0a2fbbcf0cda" providerId="AD" clId="Web-{89042317-BEAD-F399-A898-7C79922956DC}" dt="2024-12-05T09:56:43.469" v="1051"/>
          <ac:inkMkLst>
            <pc:docMk/>
            <pc:sldMk cId="4165276256" sldId="409"/>
            <ac:inkMk id="48" creationId="{7D1E9A88-B856-D696-DD37-639BDE6F5A19}"/>
          </ac:inkMkLst>
        </pc:inkChg>
        <pc:inkChg chg="add">
          <ac:chgData name="Tabea Monz" userId="S::t.monz@tum.de::f46a5392-c507-4495-8454-0a2fbbcf0cda" providerId="AD" clId="Web-{89042317-BEAD-F399-A898-7C79922956DC}" dt="2024-12-05T09:56:47.719" v="1052"/>
          <ac:inkMkLst>
            <pc:docMk/>
            <pc:sldMk cId="4165276256" sldId="409"/>
            <ac:inkMk id="49" creationId="{B84A6D74-DF07-7EF3-3ED2-5B67264E8213}"/>
          </ac:inkMkLst>
        </pc:inkChg>
        <pc:inkChg chg="add">
          <ac:chgData name="Tabea Monz" userId="S::t.monz@tum.de::f46a5392-c507-4495-8454-0a2fbbcf0cda" providerId="AD" clId="Web-{89042317-BEAD-F399-A898-7C79922956DC}" dt="2024-12-05T09:56:49.047" v="1053"/>
          <ac:inkMkLst>
            <pc:docMk/>
            <pc:sldMk cId="4165276256" sldId="409"/>
            <ac:inkMk id="50" creationId="{BC899390-8EC0-5D70-AEF1-99D363B9806D}"/>
          </ac:inkMkLst>
        </pc:inkChg>
        <pc:inkChg chg="add">
          <ac:chgData name="Tabea Monz" userId="S::t.monz@tum.de::f46a5392-c507-4495-8454-0a2fbbcf0cda" providerId="AD" clId="Web-{89042317-BEAD-F399-A898-7C79922956DC}" dt="2024-12-05T09:56:52.531" v="1054"/>
          <ac:inkMkLst>
            <pc:docMk/>
            <pc:sldMk cId="4165276256" sldId="409"/>
            <ac:inkMk id="51" creationId="{0BF0940E-9912-15D0-D880-2EA8F64D1D78}"/>
          </ac:inkMkLst>
        </pc:inkChg>
        <pc:inkChg chg="add">
          <ac:chgData name="Tabea Monz" userId="S::t.monz@tum.de::f46a5392-c507-4495-8454-0a2fbbcf0cda" providerId="AD" clId="Web-{89042317-BEAD-F399-A898-7C79922956DC}" dt="2024-12-05T09:56:59.547" v="1057"/>
          <ac:inkMkLst>
            <pc:docMk/>
            <pc:sldMk cId="4165276256" sldId="409"/>
            <ac:inkMk id="53" creationId="{7964E81E-8B12-C682-A055-79D6459167A8}"/>
          </ac:inkMkLst>
        </pc:inkChg>
        <pc:inkChg chg="add">
          <ac:chgData name="Tabea Monz" userId="S::t.monz@tum.de::f46a5392-c507-4495-8454-0a2fbbcf0cda" providerId="AD" clId="Web-{89042317-BEAD-F399-A898-7C79922956DC}" dt="2024-12-05T09:57:01.375" v="1058"/>
          <ac:inkMkLst>
            <pc:docMk/>
            <pc:sldMk cId="4165276256" sldId="409"/>
            <ac:inkMk id="54" creationId="{14E7730D-2D52-2176-65A7-B177D1735405}"/>
          </ac:inkMkLst>
        </pc:inkChg>
      </pc:sldChg>
      <pc:sldChg chg="modSp add replId">
        <pc:chgData name="Tabea Monz" userId="S::t.monz@tum.de::f46a5392-c507-4495-8454-0a2fbbcf0cda" providerId="AD" clId="Web-{89042317-BEAD-F399-A898-7C79922956DC}" dt="2024-12-05T10:17:48.074" v="1181" actId="20577"/>
        <pc:sldMkLst>
          <pc:docMk/>
          <pc:sldMk cId="3374372959" sldId="410"/>
        </pc:sldMkLst>
        <pc:spChg chg="mod">
          <ac:chgData name="Tabea Monz" userId="S::t.monz@tum.de::f46a5392-c507-4495-8454-0a2fbbcf0cda" providerId="AD" clId="Web-{89042317-BEAD-F399-A898-7C79922956DC}" dt="2024-12-05T10:17:48.074" v="1181" actId="20577"/>
          <ac:spMkLst>
            <pc:docMk/>
            <pc:sldMk cId="3374372959" sldId="410"/>
            <ac:spMk id="5" creationId="{86D9B208-016D-11B1-A5B7-841961C1B3AD}"/>
          </ac:spMkLst>
        </pc:spChg>
        <pc:spChg chg="mod">
          <ac:chgData name="Tabea Monz" userId="S::t.monz@tum.de::f46a5392-c507-4495-8454-0a2fbbcf0cda" providerId="AD" clId="Web-{89042317-BEAD-F399-A898-7C79922956DC}" dt="2024-12-05T10:17:34.449" v="1174" actId="20577"/>
          <ac:spMkLst>
            <pc:docMk/>
            <pc:sldMk cId="3374372959" sldId="410"/>
            <ac:spMk id="6" creationId="{EECBEFEB-9C0E-5927-15A7-351A5C54385E}"/>
          </ac:spMkLst>
        </pc:spChg>
      </pc:sldChg>
      <pc:sldChg chg="addSp delSp modSp add ord replId">
        <pc:chgData name="Tabea Monz" userId="S::t.monz@tum.de::f46a5392-c507-4495-8454-0a2fbbcf0cda" providerId="AD" clId="Web-{89042317-BEAD-F399-A898-7C79922956DC}" dt="2024-12-05T10:37:31.177" v="1423" actId="20577"/>
        <pc:sldMkLst>
          <pc:docMk/>
          <pc:sldMk cId="3117399487" sldId="411"/>
        </pc:sldMkLst>
        <pc:spChg chg="add del mod">
          <ac:chgData name="Tabea Monz" userId="S::t.monz@tum.de::f46a5392-c507-4495-8454-0a2fbbcf0cda" providerId="AD" clId="Web-{89042317-BEAD-F399-A898-7C79922956DC}" dt="2024-12-05T10:36:24.238" v="1394" actId="1076"/>
          <ac:spMkLst>
            <pc:docMk/>
            <pc:sldMk cId="3117399487" sldId="411"/>
            <ac:spMk id="5" creationId="{47CB8B55-5221-8ED1-B020-5C92DCB4AE8A}"/>
          </ac:spMkLst>
        </pc:spChg>
      </pc:sldChg>
      <pc:sldChg chg="add del replId">
        <pc:chgData name="Tabea Monz" userId="S::t.monz@tum.de::f46a5392-c507-4495-8454-0a2fbbcf0cda" providerId="AD" clId="Web-{89042317-BEAD-F399-A898-7C79922956DC}" dt="2024-12-05T10:18:02.809" v="1183"/>
        <pc:sldMkLst>
          <pc:docMk/>
          <pc:sldMk cId="3912456034" sldId="411"/>
        </pc:sldMkLst>
      </pc:sldChg>
      <pc:sldChg chg="add mod replId modShow">
        <pc:chgData name="Tabea Monz" userId="S::t.monz@tum.de::f46a5392-c507-4495-8454-0a2fbbcf0cda" providerId="AD" clId="Web-{89042317-BEAD-F399-A898-7C79922956DC}" dt="2024-12-05T10:38:27.225" v="1436"/>
        <pc:sldMkLst>
          <pc:docMk/>
          <pc:sldMk cId="3275806885" sldId="412"/>
        </pc:sldMkLst>
      </pc:sldChg>
      <pc:sldChg chg="addSp delSp modSp add replId">
        <pc:chgData name="Tabea Monz" userId="S::t.monz@tum.de::f46a5392-c507-4495-8454-0a2fbbcf0cda" providerId="AD" clId="Web-{89042317-BEAD-F399-A898-7C79922956DC}" dt="2024-12-05T10:58:06.390" v="1953" actId="20577"/>
        <pc:sldMkLst>
          <pc:docMk/>
          <pc:sldMk cId="374364369" sldId="413"/>
        </pc:sldMkLst>
        <pc:spChg chg="mod">
          <ac:chgData name="Tabea Monz" userId="S::t.monz@tum.de::f46a5392-c507-4495-8454-0a2fbbcf0cda" providerId="AD" clId="Web-{89042317-BEAD-F399-A898-7C79922956DC}" dt="2024-12-05T10:39:06.695" v="1440" actId="1076"/>
          <ac:spMkLst>
            <pc:docMk/>
            <pc:sldMk cId="374364369" sldId="413"/>
            <ac:spMk id="5" creationId="{3A4927C7-6F99-6A99-A6D9-2ABF34AB5092}"/>
          </ac:spMkLst>
        </pc:spChg>
        <pc:spChg chg="mod">
          <ac:chgData name="Tabea Monz" userId="S::t.monz@tum.de::f46a5392-c507-4495-8454-0a2fbbcf0cda" providerId="AD" clId="Web-{89042317-BEAD-F399-A898-7C79922956DC}" dt="2024-12-05T10:39:06.710" v="1441" actId="1076"/>
          <ac:spMkLst>
            <pc:docMk/>
            <pc:sldMk cId="374364369" sldId="413"/>
            <ac:spMk id="6" creationId="{941436FD-BCC1-69E9-3B63-65CED40F0E05}"/>
          </ac:spMkLst>
        </pc:spChg>
        <pc:spChg chg="mod">
          <ac:chgData name="Tabea Monz" userId="S::t.monz@tum.de::f46a5392-c507-4495-8454-0a2fbbcf0cda" providerId="AD" clId="Web-{89042317-BEAD-F399-A898-7C79922956DC}" dt="2024-12-05T10:39:06.788" v="1443" actId="1076"/>
          <ac:spMkLst>
            <pc:docMk/>
            <pc:sldMk cId="374364369" sldId="413"/>
            <ac:spMk id="8" creationId="{9E7759B4-AB88-1B15-8D80-4AE81F5B3F53}"/>
          </ac:spMkLst>
        </pc:spChg>
        <pc:spChg chg="mod">
          <ac:chgData name="Tabea Monz" userId="S::t.monz@tum.de::f46a5392-c507-4495-8454-0a2fbbcf0cda" providerId="AD" clId="Web-{89042317-BEAD-F399-A898-7C79922956DC}" dt="2024-12-05T10:58:06.390" v="1953" actId="20577"/>
          <ac:spMkLst>
            <pc:docMk/>
            <pc:sldMk cId="374364369" sldId="413"/>
            <ac:spMk id="11" creationId="{C5107335-C559-E6D1-CF82-CCF7C8E26BC5}"/>
          </ac:spMkLst>
        </pc:spChg>
        <pc:picChg chg="mod">
          <ac:chgData name="Tabea Monz" userId="S::t.monz@tum.de::f46a5392-c507-4495-8454-0a2fbbcf0cda" providerId="AD" clId="Web-{89042317-BEAD-F399-A898-7C79922956DC}" dt="2024-12-05T10:39:06.757" v="1442" actId="1076"/>
          <ac:picMkLst>
            <pc:docMk/>
            <pc:sldMk cId="374364369" sldId="413"/>
            <ac:picMk id="7" creationId="{053319C3-33F1-5EED-9B62-C7544179C839}"/>
          </ac:picMkLst>
        </pc:picChg>
      </pc:sldChg>
      <pc:sldChg chg="delSp modSp add replId">
        <pc:chgData name="Tabea Monz" userId="S::t.monz@tum.de::f46a5392-c507-4495-8454-0a2fbbcf0cda" providerId="AD" clId="Web-{89042317-BEAD-F399-A898-7C79922956DC}" dt="2024-12-05T11:01:13.957" v="1983"/>
        <pc:sldMkLst>
          <pc:docMk/>
          <pc:sldMk cId="3390966927" sldId="414"/>
        </pc:sldMkLst>
        <pc:spChg chg="mod">
          <ac:chgData name="Tabea Monz" userId="S::t.monz@tum.de::f46a5392-c507-4495-8454-0a2fbbcf0cda" providerId="AD" clId="Web-{89042317-BEAD-F399-A898-7C79922956DC}" dt="2024-12-05T11:01:13.957" v="1983"/>
          <ac:spMkLst>
            <pc:docMk/>
            <pc:sldMk cId="3390966927" sldId="414"/>
            <ac:spMk id="11" creationId="{C5107335-C559-E6D1-CF82-CCF7C8E26BC5}"/>
          </ac:spMkLst>
        </pc:spChg>
      </pc:sldChg>
      <pc:sldChg chg="modSp add replId">
        <pc:chgData name="Tabea Monz" userId="S::t.monz@tum.de::f46a5392-c507-4495-8454-0a2fbbcf0cda" providerId="AD" clId="Web-{89042317-BEAD-F399-A898-7C79922956DC}" dt="2024-12-05T11:02:43.959" v="1995" actId="20577"/>
        <pc:sldMkLst>
          <pc:docMk/>
          <pc:sldMk cId="4042999223" sldId="415"/>
        </pc:sldMkLst>
        <pc:spChg chg="mod">
          <ac:chgData name="Tabea Monz" userId="S::t.monz@tum.de::f46a5392-c507-4495-8454-0a2fbbcf0cda" providerId="AD" clId="Web-{89042317-BEAD-F399-A898-7C79922956DC}" dt="2024-12-05T11:02:43.959" v="1995" actId="20577"/>
          <ac:spMkLst>
            <pc:docMk/>
            <pc:sldMk cId="4042999223" sldId="415"/>
            <ac:spMk id="11" creationId="{C5107335-C559-E6D1-CF82-CCF7C8E26BC5}"/>
          </ac:spMkLst>
        </pc:spChg>
      </pc:sldChg>
    </pc:docChg>
  </pc:docChgLst>
  <pc:docChgLst>
    <pc:chgData name="Tabea Monz" userId="S::t.monz@tum.de::f46a5392-c507-4495-8454-0a2fbbcf0cda" providerId="AD" clId="Web-{50CA5F3D-6872-A74C-B3C1-FF54AC5CE93C}"/>
    <pc:docChg chg="mod addSld modSld modSection">
      <pc:chgData name="Tabea Monz" userId="S::t.monz@tum.de::f46a5392-c507-4495-8454-0a2fbbcf0cda" providerId="AD" clId="Web-{50CA5F3D-6872-A74C-B3C1-FF54AC5CE93C}" dt="2025-01-14T09:20:55.174" v="1061" actId="20577"/>
      <pc:docMkLst>
        <pc:docMk/>
      </pc:docMkLst>
      <pc:sldChg chg="modSp">
        <pc:chgData name="Tabea Monz" userId="S::t.monz@tum.de::f46a5392-c507-4495-8454-0a2fbbcf0cda" providerId="AD" clId="Web-{50CA5F3D-6872-A74C-B3C1-FF54AC5CE93C}" dt="2025-01-14T08:30:58.430" v="333"/>
        <pc:sldMkLst>
          <pc:docMk/>
          <pc:sldMk cId="3056559578" sldId="390"/>
        </pc:sldMkLst>
      </pc:sldChg>
      <pc:sldChg chg="modSp">
        <pc:chgData name="Tabea Monz" userId="S::t.monz@tum.de::f46a5392-c507-4495-8454-0a2fbbcf0cda" providerId="AD" clId="Web-{50CA5F3D-6872-A74C-B3C1-FF54AC5CE93C}" dt="2025-01-14T09:20:55.174" v="1061" actId="20577"/>
        <pc:sldMkLst>
          <pc:docMk/>
          <pc:sldMk cId="1722066996" sldId="420"/>
        </pc:sldMkLst>
        <pc:spChg chg="mod">
          <ac:chgData name="Tabea Monz" userId="S::t.monz@tum.de::f46a5392-c507-4495-8454-0a2fbbcf0cda" providerId="AD" clId="Web-{50CA5F3D-6872-A74C-B3C1-FF54AC5CE93C}" dt="2025-01-14T09:20:55.174" v="1061" actId="20577"/>
          <ac:spMkLst>
            <pc:docMk/>
            <pc:sldMk cId="1722066996" sldId="420"/>
            <ac:spMk id="14" creationId="{70D8283B-838F-7304-E20E-E3F94B3F6925}"/>
          </ac:spMkLst>
        </pc:spChg>
      </pc:sldChg>
      <pc:sldChg chg="modSp add replId">
        <pc:chgData name="Tabea Monz" userId="S::t.monz@tum.de::f46a5392-c507-4495-8454-0a2fbbcf0cda" providerId="AD" clId="Web-{50CA5F3D-6872-A74C-B3C1-FF54AC5CE93C}" dt="2025-01-14T08:38:18.120" v="596"/>
        <pc:sldMkLst>
          <pc:docMk/>
          <pc:sldMk cId="1727805124" sldId="434"/>
        </pc:sldMkLst>
      </pc:sldChg>
      <pc:sldChg chg="modSp add replId">
        <pc:chgData name="Tabea Monz" userId="S::t.monz@tum.de::f46a5392-c507-4495-8454-0a2fbbcf0cda" providerId="AD" clId="Web-{50CA5F3D-6872-A74C-B3C1-FF54AC5CE93C}" dt="2025-01-14T08:39:13.106" v="627" actId="20577"/>
        <pc:sldMkLst>
          <pc:docMk/>
          <pc:sldMk cId="1654275836" sldId="435"/>
        </pc:sldMkLst>
      </pc:sldChg>
      <pc:sldChg chg="addSp modSp add replId">
        <pc:chgData name="Tabea Monz" userId="S::t.monz@tum.de::f46a5392-c507-4495-8454-0a2fbbcf0cda" providerId="AD" clId="Web-{50CA5F3D-6872-A74C-B3C1-FF54AC5CE93C}" dt="2025-01-14T08:57:01.023" v="1044"/>
        <pc:sldMkLst>
          <pc:docMk/>
          <pc:sldMk cId="2481877112" sldId="436"/>
        </pc:sldMkLst>
      </pc:sldChg>
      <pc:sldChg chg="modSp add replId">
        <pc:chgData name="Tabea Monz" userId="S::t.monz@tum.de::f46a5392-c507-4495-8454-0a2fbbcf0cda" providerId="AD" clId="Web-{50CA5F3D-6872-A74C-B3C1-FF54AC5CE93C}" dt="2025-01-14T08:53:33.593" v="987"/>
        <pc:sldMkLst>
          <pc:docMk/>
          <pc:sldMk cId="616578418" sldId="437"/>
        </pc:sldMkLst>
      </pc:sldChg>
    </pc:docChg>
  </pc:docChgLst>
  <pc:docChgLst>
    <pc:chgData name="Era Poudel" userId="S::era.poudel@tum.de::4038d143-4a25-4ddb-a450-cddf29410981" providerId="AD" clId="Web-{9A40ED2C-80C2-6972-43AC-083AD6EF8C6C}"/>
    <pc:docChg chg="modSld">
      <pc:chgData name="Era Poudel" userId="S::era.poudel@tum.de::4038d143-4a25-4ddb-a450-cddf29410981" providerId="AD" clId="Web-{9A40ED2C-80C2-6972-43AC-083AD6EF8C6C}" dt="2025-01-04T16:29:32.119" v="2" actId="20577"/>
      <pc:docMkLst>
        <pc:docMk/>
      </pc:docMkLst>
      <pc:sldChg chg="modSp">
        <pc:chgData name="Era Poudel" userId="S::era.poudel@tum.de::4038d143-4a25-4ddb-a450-cddf29410981" providerId="AD" clId="Web-{9A40ED2C-80C2-6972-43AC-083AD6EF8C6C}" dt="2025-01-04T16:29:32.119" v="2" actId="20577"/>
        <pc:sldMkLst>
          <pc:docMk/>
          <pc:sldMk cId="1601966315" sldId="285"/>
        </pc:sldMkLst>
        <pc:spChg chg="mod">
          <ac:chgData name="Era Poudel" userId="S::era.poudel@tum.de::4038d143-4a25-4ddb-a450-cddf29410981" providerId="AD" clId="Web-{9A40ED2C-80C2-6972-43AC-083AD6EF8C6C}" dt="2025-01-04T16:29:32.119" v="2" actId="20577"/>
          <ac:spMkLst>
            <pc:docMk/>
            <pc:sldMk cId="1601966315" sldId="285"/>
            <ac:spMk id="9" creationId="{8AE5B2B1-1A55-4C2C-EED1-53E025FF813D}"/>
          </ac:spMkLst>
        </pc:spChg>
      </pc:sldChg>
    </pc:docChg>
  </pc:docChgLst>
  <pc:docChgLst>
    <pc:chgData name="Era Poudel" userId="4038d143-4a25-4ddb-a450-cddf29410981" providerId="ADAL" clId="{AAB933D7-6A78-4888-8215-E15D581A059E}"/>
    <pc:docChg chg="undo custSel addSld delSld modSld sldOrd modSection">
      <pc:chgData name="Era Poudel" userId="4038d143-4a25-4ddb-a450-cddf29410981" providerId="ADAL" clId="{AAB933D7-6A78-4888-8215-E15D581A059E}" dt="2025-02-01T14:05:58.585" v="8728" actId="1076"/>
      <pc:docMkLst>
        <pc:docMk/>
      </pc:docMkLst>
      <pc:sldChg chg="modSp mod">
        <pc:chgData name="Era Poudel" userId="4038d143-4a25-4ddb-a450-cddf29410981" providerId="ADAL" clId="{AAB933D7-6A78-4888-8215-E15D581A059E}" dt="2025-01-28T16:45:28.049" v="8641" actId="790"/>
        <pc:sldMkLst>
          <pc:docMk/>
          <pc:sldMk cId="0" sldId="256"/>
        </pc:sldMkLst>
        <pc:spChg chg="mod">
          <ac:chgData name="Era Poudel" userId="4038d143-4a25-4ddb-a450-cddf29410981" providerId="ADAL" clId="{AAB933D7-6A78-4888-8215-E15D581A059E}" dt="2025-01-28T16:45:28.049" v="8641" actId="790"/>
          <ac:spMkLst>
            <pc:docMk/>
            <pc:sldMk cId="0" sldId="256"/>
            <ac:spMk id="4" creationId="{FE70CA0E-25A9-C2AD-AE39-2001A076167F}"/>
          </ac:spMkLst>
        </pc:spChg>
        <pc:spChg chg="mod">
          <ac:chgData name="Era Poudel" userId="4038d143-4a25-4ddb-a450-cddf29410981" providerId="ADAL" clId="{AAB933D7-6A78-4888-8215-E15D581A059E}" dt="2025-01-28T16:45:28.049" v="8641" actId="790"/>
          <ac:spMkLst>
            <pc:docMk/>
            <pc:sldMk cId="0" sldId="256"/>
            <ac:spMk id="7" creationId="{3BD4C45A-9326-0D67-F95B-A3B0F062B903}"/>
          </ac:spMkLst>
        </pc:spChg>
        <pc:spChg chg="mod">
          <ac:chgData name="Era Poudel" userId="4038d143-4a25-4ddb-a450-cddf29410981" providerId="ADAL" clId="{AAB933D7-6A78-4888-8215-E15D581A059E}" dt="2025-01-28T16:45:28.049" v="8641" actId="790"/>
          <ac:spMkLst>
            <pc:docMk/>
            <pc:sldMk cId="0" sldId="256"/>
            <ac:spMk id="9" creationId="{6FB8F27F-081C-2015-F78E-41DB0A62D13C}"/>
          </ac:spMkLst>
        </pc:spChg>
        <pc:spChg chg="mod">
          <ac:chgData name="Era Poudel" userId="4038d143-4a25-4ddb-a450-cddf29410981" providerId="ADAL" clId="{AAB933D7-6A78-4888-8215-E15D581A059E}" dt="2025-01-28T16:45:28.049" v="8641" actId="790"/>
          <ac:spMkLst>
            <pc:docMk/>
            <pc:sldMk cId="0" sldId="256"/>
            <ac:spMk id="304" creationId="{00000000-0000-0000-0000-000000000000}"/>
          </ac:spMkLst>
        </pc:spChg>
        <pc:spChg chg="mod">
          <ac:chgData name="Era Poudel" userId="4038d143-4a25-4ddb-a450-cddf29410981" providerId="ADAL" clId="{AAB933D7-6A78-4888-8215-E15D581A059E}" dt="2025-01-28T16:45:28.049" v="8641" actId="790"/>
          <ac:spMkLst>
            <pc:docMk/>
            <pc:sldMk cId="0" sldId="256"/>
            <ac:spMk id="326" creationId="{00000000-0000-0000-0000-000000000000}"/>
          </ac:spMkLst>
        </pc:spChg>
        <pc:spChg chg="mod">
          <ac:chgData name="Era Poudel" userId="4038d143-4a25-4ddb-a450-cddf29410981" providerId="ADAL" clId="{AAB933D7-6A78-4888-8215-E15D581A059E}" dt="2025-01-28T16:45:28.049" v="8641" actId="790"/>
          <ac:spMkLst>
            <pc:docMk/>
            <pc:sldMk cId="0" sldId="256"/>
            <ac:spMk id="327" creationId="{00000000-0000-0000-0000-000000000000}"/>
          </ac:spMkLst>
        </pc:spChg>
      </pc:sldChg>
      <pc:sldChg chg="modSp mod">
        <pc:chgData name="Era Poudel" userId="4038d143-4a25-4ddb-a450-cddf29410981" providerId="ADAL" clId="{AAB933D7-6A78-4888-8215-E15D581A059E}" dt="2025-01-28T16:45:28.049" v="8641" actId="790"/>
        <pc:sldMkLst>
          <pc:docMk/>
          <pc:sldMk cId="2457093950" sldId="281"/>
        </pc:sldMkLst>
        <pc:spChg chg="mod">
          <ac:chgData name="Era Poudel" userId="4038d143-4a25-4ddb-a450-cddf29410981" providerId="ADAL" clId="{AAB933D7-6A78-4888-8215-E15D581A059E}" dt="2025-01-28T16:45:28.049" v="8641" actId="790"/>
          <ac:spMkLst>
            <pc:docMk/>
            <pc:sldMk cId="2457093950" sldId="281"/>
            <ac:spMk id="2" creationId="{BF4A43F6-3684-F5A5-85F1-EEDC996D624E}"/>
          </ac:spMkLst>
        </pc:spChg>
        <pc:spChg chg="mod">
          <ac:chgData name="Era Poudel" userId="4038d143-4a25-4ddb-a450-cddf29410981" providerId="ADAL" clId="{AAB933D7-6A78-4888-8215-E15D581A059E}" dt="2025-01-28T16:45:28.049" v="8641" actId="790"/>
          <ac:spMkLst>
            <pc:docMk/>
            <pc:sldMk cId="2457093950" sldId="281"/>
            <ac:spMk id="3" creationId="{F6F5A270-E5B3-1C34-7F0A-AEC95FE0FDDA}"/>
          </ac:spMkLst>
        </pc:spChg>
        <pc:spChg chg="mod">
          <ac:chgData name="Era Poudel" userId="4038d143-4a25-4ddb-a450-cddf29410981" providerId="ADAL" clId="{AAB933D7-6A78-4888-8215-E15D581A059E}" dt="2025-01-28T16:45:28.049" v="8641" actId="790"/>
          <ac:spMkLst>
            <pc:docMk/>
            <pc:sldMk cId="2457093950" sldId="281"/>
            <ac:spMk id="7" creationId="{26900DB9-ED99-E2E2-04B6-E1B0CDCDAA93}"/>
          </ac:spMkLst>
        </pc:spChg>
        <pc:spChg chg="mod">
          <ac:chgData name="Era Poudel" userId="4038d143-4a25-4ddb-a450-cddf29410981" providerId="ADAL" clId="{AAB933D7-6A78-4888-8215-E15D581A059E}" dt="2025-01-28T16:45:28.049" v="8641" actId="790"/>
          <ac:spMkLst>
            <pc:docMk/>
            <pc:sldMk cId="2457093950" sldId="281"/>
            <ac:spMk id="8" creationId="{EAE65E17-24BD-9146-7605-4AD45B45C364}"/>
          </ac:spMkLst>
        </pc:spChg>
        <pc:spChg chg="mod">
          <ac:chgData name="Era Poudel" userId="4038d143-4a25-4ddb-a450-cddf29410981" providerId="ADAL" clId="{AAB933D7-6A78-4888-8215-E15D581A059E}" dt="2025-01-28T16:45:28.049" v="8641" actId="790"/>
          <ac:spMkLst>
            <pc:docMk/>
            <pc:sldMk cId="2457093950" sldId="281"/>
            <ac:spMk id="9" creationId="{B6B497AA-972B-9F4E-E175-1E7500A7D45E}"/>
          </ac:spMkLst>
        </pc:spChg>
        <pc:spChg chg="mod">
          <ac:chgData name="Era Poudel" userId="4038d143-4a25-4ddb-a450-cddf29410981" providerId="ADAL" clId="{AAB933D7-6A78-4888-8215-E15D581A059E}" dt="2025-01-28T16:45:28.049" v="8641" actId="790"/>
          <ac:spMkLst>
            <pc:docMk/>
            <pc:sldMk cId="2457093950" sldId="281"/>
            <ac:spMk id="10" creationId="{524DDB5D-2C36-2D8F-EE1D-A2D0A61EFFA9}"/>
          </ac:spMkLst>
        </pc:spChg>
      </pc:sldChg>
      <pc:sldChg chg="modSp mod">
        <pc:chgData name="Era Poudel" userId="4038d143-4a25-4ddb-a450-cddf29410981" providerId="ADAL" clId="{AAB933D7-6A78-4888-8215-E15D581A059E}" dt="2025-01-28T16:58:55.407" v="8658" actId="313"/>
        <pc:sldMkLst>
          <pc:docMk/>
          <pc:sldMk cId="1601966315" sldId="285"/>
        </pc:sldMkLst>
        <pc:spChg chg="mod">
          <ac:chgData name="Era Poudel" userId="4038d143-4a25-4ddb-a450-cddf29410981" providerId="ADAL" clId="{AAB933D7-6A78-4888-8215-E15D581A059E}" dt="2025-01-26T14:57:57.907" v="6728" actId="21"/>
          <ac:spMkLst>
            <pc:docMk/>
            <pc:sldMk cId="1601966315" sldId="285"/>
            <ac:spMk id="4" creationId="{9FED2E82-8B4E-CED3-E7CC-13BEEA6B927D}"/>
          </ac:spMkLst>
        </pc:spChg>
        <pc:spChg chg="mod">
          <ac:chgData name="Era Poudel" userId="4038d143-4a25-4ddb-a450-cddf29410981" providerId="ADAL" clId="{AAB933D7-6A78-4888-8215-E15D581A059E}" dt="2025-01-28T16:58:55.407" v="8658" actId="313"/>
          <ac:spMkLst>
            <pc:docMk/>
            <pc:sldMk cId="1601966315" sldId="285"/>
            <ac:spMk id="5" creationId="{47CB8B55-5221-8ED1-B020-5C92DCB4AE8A}"/>
          </ac:spMkLst>
        </pc:spChg>
        <pc:spChg chg="mod">
          <ac:chgData name="Era Poudel" userId="4038d143-4a25-4ddb-a450-cddf29410981" providerId="ADAL" clId="{AAB933D7-6A78-4888-8215-E15D581A059E}" dt="2025-01-28T16:45:28.049" v="8641" actId="790"/>
          <ac:spMkLst>
            <pc:docMk/>
            <pc:sldMk cId="1601966315" sldId="285"/>
            <ac:spMk id="8" creationId="{0F2527F7-CBA9-70C1-03DE-5F22B192FA30}"/>
          </ac:spMkLst>
        </pc:spChg>
        <pc:spChg chg="mod">
          <ac:chgData name="Era Poudel" userId="4038d143-4a25-4ddb-a450-cddf29410981" providerId="ADAL" clId="{AAB933D7-6A78-4888-8215-E15D581A059E}" dt="2025-01-28T16:45:28.049" v="8641" actId="790"/>
          <ac:spMkLst>
            <pc:docMk/>
            <pc:sldMk cId="1601966315" sldId="285"/>
            <ac:spMk id="9" creationId="{8AE5B2B1-1A55-4C2C-EED1-53E025FF813D}"/>
          </ac:spMkLst>
        </pc:spChg>
        <pc:spChg chg="mod">
          <ac:chgData name="Era Poudel" userId="4038d143-4a25-4ddb-a450-cddf29410981" providerId="ADAL" clId="{AAB933D7-6A78-4888-8215-E15D581A059E}" dt="2025-01-28T16:45:28.049" v="8641" actId="790"/>
          <ac:spMkLst>
            <pc:docMk/>
            <pc:sldMk cId="1601966315" sldId="285"/>
            <ac:spMk id="10" creationId="{91A3E247-EF6D-1DD4-2CEE-AD97DFB2AB84}"/>
          </ac:spMkLst>
        </pc:spChg>
        <pc:spChg chg="mod">
          <ac:chgData name="Era Poudel" userId="4038d143-4a25-4ddb-a450-cddf29410981" providerId="ADAL" clId="{AAB933D7-6A78-4888-8215-E15D581A059E}" dt="2025-01-28T16:45:28.049" v="8641" actId="790"/>
          <ac:spMkLst>
            <pc:docMk/>
            <pc:sldMk cId="1601966315" sldId="285"/>
            <ac:spMk id="11" creationId="{95BBC967-E5E7-5520-3149-E6BC2AA47613}"/>
          </ac:spMkLst>
        </pc:spChg>
        <pc:spChg chg="mod">
          <ac:chgData name="Era Poudel" userId="4038d143-4a25-4ddb-a450-cddf29410981" providerId="ADAL" clId="{AAB933D7-6A78-4888-8215-E15D581A059E}" dt="2025-01-28T16:45:28.049" v="8641" actId="790"/>
          <ac:spMkLst>
            <pc:docMk/>
            <pc:sldMk cId="1601966315" sldId="285"/>
            <ac:spMk id="12" creationId="{5EF3E304-9BD6-88F0-8F3E-ED96D307D49F}"/>
          </ac:spMkLst>
        </pc:spChg>
        <pc:spChg chg="mod">
          <ac:chgData name="Era Poudel" userId="4038d143-4a25-4ddb-a450-cddf29410981" providerId="ADAL" clId="{AAB933D7-6A78-4888-8215-E15D581A059E}" dt="2025-01-28T16:45:28.049" v="8641" actId="790"/>
          <ac:spMkLst>
            <pc:docMk/>
            <pc:sldMk cId="1601966315" sldId="285"/>
            <ac:spMk id="13" creationId="{75435C71-5BAC-6693-DC70-C04C791B459A}"/>
          </ac:spMkLst>
        </pc:spChg>
        <pc:spChg chg="mod">
          <ac:chgData name="Era Poudel" userId="4038d143-4a25-4ddb-a450-cddf29410981" providerId="ADAL" clId="{AAB933D7-6A78-4888-8215-E15D581A059E}" dt="2025-01-28T16:45:28.049" v="8641" actId="790"/>
          <ac:spMkLst>
            <pc:docMk/>
            <pc:sldMk cId="1601966315" sldId="285"/>
            <ac:spMk id="20" creationId="{2240E9CB-3E86-122C-9767-7BADBDD48767}"/>
          </ac:spMkLst>
        </pc:spChg>
        <pc:spChg chg="mod">
          <ac:chgData name="Era Poudel" userId="4038d143-4a25-4ddb-a450-cddf29410981" providerId="ADAL" clId="{AAB933D7-6A78-4888-8215-E15D581A059E}" dt="2025-01-28T16:45:28.049" v="8641" actId="790"/>
          <ac:spMkLst>
            <pc:docMk/>
            <pc:sldMk cId="1601966315" sldId="285"/>
            <ac:spMk id="21" creationId="{FA6DD4FC-E339-C276-2283-3E165E7E8F50}"/>
          </ac:spMkLst>
        </pc:spChg>
        <pc:spChg chg="mod">
          <ac:chgData name="Era Poudel" userId="4038d143-4a25-4ddb-a450-cddf29410981" providerId="ADAL" clId="{AAB933D7-6A78-4888-8215-E15D581A059E}" dt="2025-01-28T16:45:28.049" v="8641" actId="790"/>
          <ac:spMkLst>
            <pc:docMk/>
            <pc:sldMk cId="1601966315" sldId="285"/>
            <ac:spMk id="22" creationId="{FE293BEB-10AE-D6AB-EBE2-A922DCFE03C1}"/>
          </ac:spMkLst>
        </pc:spChg>
        <pc:spChg chg="mod">
          <ac:chgData name="Era Poudel" userId="4038d143-4a25-4ddb-a450-cddf29410981" providerId="ADAL" clId="{AAB933D7-6A78-4888-8215-E15D581A059E}" dt="2025-01-28T16:45:28.049" v="8641" actId="790"/>
          <ac:spMkLst>
            <pc:docMk/>
            <pc:sldMk cId="1601966315" sldId="285"/>
            <ac:spMk id="28" creationId="{1E7F3884-BACD-49E3-027F-BC4198F8C2AE}"/>
          </ac:spMkLst>
        </pc:spChg>
      </pc:sldChg>
      <pc:sldChg chg="modSp mod">
        <pc:chgData name="Era Poudel" userId="4038d143-4a25-4ddb-a450-cddf29410981" providerId="ADAL" clId="{AAB933D7-6A78-4888-8215-E15D581A059E}" dt="2025-01-28T16:45:28.049" v="8641" actId="790"/>
        <pc:sldMkLst>
          <pc:docMk/>
          <pc:sldMk cId="3573279774" sldId="286"/>
        </pc:sldMkLst>
        <pc:spChg chg="mod">
          <ac:chgData name="Era Poudel" userId="4038d143-4a25-4ddb-a450-cddf29410981" providerId="ADAL" clId="{AAB933D7-6A78-4888-8215-E15D581A059E}" dt="2025-01-28T16:45:28.049" v="8641" actId="790"/>
          <ac:spMkLst>
            <pc:docMk/>
            <pc:sldMk cId="3573279774" sldId="286"/>
            <ac:spMk id="2" creationId="{61FC4D4D-A852-3684-AEF3-B33B3F8311BC}"/>
          </ac:spMkLst>
        </pc:spChg>
        <pc:spChg chg="mod">
          <ac:chgData name="Era Poudel" userId="4038d143-4a25-4ddb-a450-cddf29410981" providerId="ADAL" clId="{AAB933D7-6A78-4888-8215-E15D581A059E}" dt="2025-01-28T16:45:28.049" v="8641" actId="790"/>
          <ac:spMkLst>
            <pc:docMk/>
            <pc:sldMk cId="3573279774" sldId="286"/>
            <ac:spMk id="3" creationId="{855A30B5-31EC-CF54-E7E3-4E2BE1B24C7A}"/>
          </ac:spMkLst>
        </pc:spChg>
        <pc:spChg chg="mod">
          <ac:chgData name="Era Poudel" userId="4038d143-4a25-4ddb-a450-cddf29410981" providerId="ADAL" clId="{AAB933D7-6A78-4888-8215-E15D581A059E}" dt="2025-01-28T16:45:28.049" v="8641" actId="790"/>
          <ac:spMkLst>
            <pc:docMk/>
            <pc:sldMk cId="3573279774" sldId="286"/>
            <ac:spMk id="4" creationId="{3B98D95B-10EA-CE22-95E0-1DBB4C1CB63B}"/>
          </ac:spMkLst>
        </pc:spChg>
        <pc:spChg chg="mod">
          <ac:chgData name="Era Poudel" userId="4038d143-4a25-4ddb-a450-cddf29410981" providerId="ADAL" clId="{AAB933D7-6A78-4888-8215-E15D581A059E}" dt="2025-01-28T16:45:28.049" v="8641" actId="790"/>
          <ac:spMkLst>
            <pc:docMk/>
            <pc:sldMk cId="3573279774" sldId="286"/>
            <ac:spMk id="5" creationId="{86D9B208-016D-11B1-A5B7-841961C1B3AD}"/>
          </ac:spMkLst>
        </pc:spChg>
        <pc:spChg chg="mod">
          <ac:chgData name="Era Poudel" userId="4038d143-4a25-4ddb-a450-cddf29410981" providerId="ADAL" clId="{AAB933D7-6A78-4888-8215-E15D581A059E}" dt="2025-01-28T16:45:28.049" v="8641" actId="790"/>
          <ac:spMkLst>
            <pc:docMk/>
            <pc:sldMk cId="3573279774" sldId="286"/>
            <ac:spMk id="6" creationId="{EECBEFEB-9C0E-5927-15A7-351A5C54385E}"/>
          </ac:spMkLst>
        </pc:spChg>
        <pc:spChg chg="mod">
          <ac:chgData name="Era Poudel" userId="4038d143-4a25-4ddb-a450-cddf29410981" providerId="ADAL" clId="{AAB933D7-6A78-4888-8215-E15D581A059E}" dt="2025-01-28T16:45:28.049" v="8641" actId="790"/>
          <ac:spMkLst>
            <pc:docMk/>
            <pc:sldMk cId="3573279774" sldId="286"/>
            <ac:spMk id="7" creationId="{9CA144AC-D3D4-E708-3AA3-62478F40EBA0}"/>
          </ac:spMkLst>
        </pc:spChg>
        <pc:spChg chg="mod">
          <ac:chgData name="Era Poudel" userId="4038d143-4a25-4ddb-a450-cddf29410981" providerId="ADAL" clId="{AAB933D7-6A78-4888-8215-E15D581A059E}" dt="2025-01-28T16:45:28.049" v="8641" actId="790"/>
          <ac:spMkLst>
            <pc:docMk/>
            <pc:sldMk cId="3573279774" sldId="286"/>
            <ac:spMk id="16" creationId="{9512D10A-8AFA-B149-A351-9F6D9825A080}"/>
          </ac:spMkLst>
        </pc:spChg>
      </pc:sldChg>
      <pc:sldChg chg="modSp mod">
        <pc:chgData name="Era Poudel" userId="4038d143-4a25-4ddb-a450-cddf29410981" providerId="ADAL" clId="{AAB933D7-6A78-4888-8215-E15D581A059E}" dt="2025-01-28T16:45:28.049" v="8641" actId="790"/>
        <pc:sldMkLst>
          <pc:docMk/>
          <pc:sldMk cId="1997358788" sldId="297"/>
        </pc:sldMkLst>
        <pc:spChg chg="mod">
          <ac:chgData name="Era Poudel" userId="4038d143-4a25-4ddb-a450-cddf29410981" providerId="ADAL" clId="{AAB933D7-6A78-4888-8215-E15D581A059E}" dt="2025-01-28T16:45:28.049" v="8641" actId="790"/>
          <ac:spMkLst>
            <pc:docMk/>
            <pc:sldMk cId="1997358788" sldId="297"/>
            <ac:spMk id="3" creationId="{0E01984D-6347-EADA-B0C5-F29F9010D71C}"/>
          </ac:spMkLst>
        </pc:spChg>
        <pc:spChg chg="mod">
          <ac:chgData name="Era Poudel" userId="4038d143-4a25-4ddb-a450-cddf29410981" providerId="ADAL" clId="{AAB933D7-6A78-4888-8215-E15D581A059E}" dt="2025-01-28T16:45:28.049" v="8641" actId="790"/>
          <ac:spMkLst>
            <pc:docMk/>
            <pc:sldMk cId="1997358788" sldId="297"/>
            <ac:spMk id="5" creationId="{1BDD5603-4A46-972A-AEFC-37AC9071558D}"/>
          </ac:spMkLst>
        </pc:spChg>
        <pc:spChg chg="mod">
          <ac:chgData name="Era Poudel" userId="4038d143-4a25-4ddb-a450-cddf29410981" providerId="ADAL" clId="{AAB933D7-6A78-4888-8215-E15D581A059E}" dt="2025-01-28T16:45:28.049" v="8641" actId="790"/>
          <ac:spMkLst>
            <pc:docMk/>
            <pc:sldMk cId="1997358788" sldId="297"/>
            <ac:spMk id="7" creationId="{A9471AC6-B495-C03E-5B97-9380D56DED5B}"/>
          </ac:spMkLst>
        </pc:spChg>
        <pc:spChg chg="mod">
          <ac:chgData name="Era Poudel" userId="4038d143-4a25-4ddb-a450-cddf29410981" providerId="ADAL" clId="{AAB933D7-6A78-4888-8215-E15D581A059E}" dt="2025-01-28T16:45:28.049" v="8641" actId="790"/>
          <ac:spMkLst>
            <pc:docMk/>
            <pc:sldMk cId="1997358788" sldId="297"/>
            <ac:spMk id="8" creationId="{CE749D75-BB64-EA3F-4A37-8B6B98B5B366}"/>
          </ac:spMkLst>
        </pc:spChg>
        <pc:spChg chg="mod">
          <ac:chgData name="Era Poudel" userId="4038d143-4a25-4ddb-a450-cddf29410981" providerId="ADAL" clId="{AAB933D7-6A78-4888-8215-E15D581A059E}" dt="2025-01-26T13:26:12.717" v="6574" actId="20577"/>
          <ac:spMkLst>
            <pc:docMk/>
            <pc:sldMk cId="1997358788" sldId="297"/>
            <ac:spMk id="9" creationId="{BC21C8CF-539D-E464-29F1-01ECBED7D0F4}"/>
          </ac:spMkLst>
        </pc:spChg>
        <pc:spChg chg="mod">
          <ac:chgData name="Era Poudel" userId="4038d143-4a25-4ddb-a450-cddf29410981" providerId="ADAL" clId="{AAB933D7-6A78-4888-8215-E15D581A059E}" dt="2025-01-28T16:45:28.049" v="8641" actId="790"/>
          <ac:spMkLst>
            <pc:docMk/>
            <pc:sldMk cId="1997358788" sldId="297"/>
            <ac:spMk id="13" creationId="{817FCBA3-EFE9-7AA6-9D84-3B990635EB2E}"/>
          </ac:spMkLst>
        </pc:spChg>
        <pc:spChg chg="mod">
          <ac:chgData name="Era Poudel" userId="4038d143-4a25-4ddb-a450-cddf29410981" providerId="ADAL" clId="{AAB933D7-6A78-4888-8215-E15D581A059E}" dt="2025-01-28T16:45:28.049" v="8641" actId="790"/>
          <ac:spMkLst>
            <pc:docMk/>
            <pc:sldMk cId="1997358788" sldId="297"/>
            <ac:spMk id="14" creationId="{2F6012F6-E8F4-A191-BC75-1398C7B93EBE}"/>
          </ac:spMkLst>
        </pc:spChg>
        <pc:spChg chg="mod">
          <ac:chgData name="Era Poudel" userId="4038d143-4a25-4ddb-a450-cddf29410981" providerId="ADAL" clId="{AAB933D7-6A78-4888-8215-E15D581A059E}" dt="2025-01-28T16:45:28.049" v="8641" actId="790"/>
          <ac:spMkLst>
            <pc:docMk/>
            <pc:sldMk cId="1997358788" sldId="297"/>
            <ac:spMk id="16" creationId="{1D6159E8-557D-FDCD-FC65-C528B4B1091C}"/>
          </ac:spMkLst>
        </pc:spChg>
        <pc:spChg chg="mod">
          <ac:chgData name="Era Poudel" userId="4038d143-4a25-4ddb-a450-cddf29410981" providerId="ADAL" clId="{AAB933D7-6A78-4888-8215-E15D581A059E}" dt="2025-01-28T16:45:28.049" v="8641" actId="790"/>
          <ac:spMkLst>
            <pc:docMk/>
            <pc:sldMk cId="1997358788" sldId="297"/>
            <ac:spMk id="18" creationId="{A6C3DFE2-1650-D046-8C5B-F8C5382E8E92}"/>
          </ac:spMkLst>
        </pc:spChg>
        <pc:spChg chg="mod">
          <ac:chgData name="Era Poudel" userId="4038d143-4a25-4ddb-a450-cddf29410981" providerId="ADAL" clId="{AAB933D7-6A78-4888-8215-E15D581A059E}" dt="2025-01-28T16:45:28.049" v="8641" actId="790"/>
          <ac:spMkLst>
            <pc:docMk/>
            <pc:sldMk cId="1997358788" sldId="297"/>
            <ac:spMk id="20" creationId="{1939F5DF-79A6-B561-B96A-2F9BE047DEAD}"/>
          </ac:spMkLst>
        </pc:spChg>
        <pc:spChg chg="mod">
          <ac:chgData name="Era Poudel" userId="4038d143-4a25-4ddb-a450-cddf29410981" providerId="ADAL" clId="{AAB933D7-6A78-4888-8215-E15D581A059E}" dt="2025-01-28T16:45:28.049" v="8641" actId="790"/>
          <ac:spMkLst>
            <pc:docMk/>
            <pc:sldMk cId="1997358788" sldId="297"/>
            <ac:spMk id="21" creationId="{B5F76BDE-C093-9107-606B-75F57D0DBD4E}"/>
          </ac:spMkLst>
        </pc:spChg>
        <pc:spChg chg="mod">
          <ac:chgData name="Era Poudel" userId="4038d143-4a25-4ddb-a450-cddf29410981" providerId="ADAL" clId="{AAB933D7-6A78-4888-8215-E15D581A059E}" dt="2025-01-19T21:21:16.546" v="2776" actId="1076"/>
          <ac:spMkLst>
            <pc:docMk/>
            <pc:sldMk cId="1997358788" sldId="297"/>
            <ac:spMk id="23" creationId="{F08161A4-A064-B798-FE66-AEA513B546C9}"/>
          </ac:spMkLst>
        </pc:spChg>
        <pc:picChg chg="mod">
          <ac:chgData name="Era Poudel" userId="4038d143-4a25-4ddb-a450-cddf29410981" providerId="ADAL" clId="{AAB933D7-6A78-4888-8215-E15D581A059E}" dt="2025-01-19T21:21:09.355" v="2773" actId="1076"/>
          <ac:picMkLst>
            <pc:docMk/>
            <pc:sldMk cId="1997358788" sldId="297"/>
            <ac:picMk id="22" creationId="{53F49540-45AB-E6E9-8588-AC066B314A52}"/>
          </ac:picMkLst>
        </pc:picChg>
      </pc:sldChg>
      <pc:sldChg chg="addSp delSp modSp mod">
        <pc:chgData name="Era Poudel" userId="4038d143-4a25-4ddb-a450-cddf29410981" providerId="ADAL" clId="{AAB933D7-6A78-4888-8215-E15D581A059E}" dt="2025-01-28T16:45:28.049" v="8641" actId="790"/>
        <pc:sldMkLst>
          <pc:docMk/>
          <pc:sldMk cId="855508414" sldId="301"/>
        </pc:sldMkLst>
        <pc:spChg chg="mod topLvl">
          <ac:chgData name="Era Poudel" userId="4038d143-4a25-4ddb-a450-cddf29410981" providerId="ADAL" clId="{AAB933D7-6A78-4888-8215-E15D581A059E}" dt="2025-01-28T16:45:28.049" v="8641" actId="790"/>
          <ac:spMkLst>
            <pc:docMk/>
            <pc:sldMk cId="855508414" sldId="301"/>
            <ac:spMk id="2" creationId="{78EF8FC4-C080-D74B-FA0A-DAA361DC6682}"/>
          </ac:spMkLst>
        </pc:spChg>
        <pc:spChg chg="mod topLvl">
          <ac:chgData name="Era Poudel" userId="4038d143-4a25-4ddb-a450-cddf29410981" providerId="ADAL" clId="{AAB933D7-6A78-4888-8215-E15D581A059E}" dt="2025-01-28T16:45:28.049" v="8641" actId="790"/>
          <ac:spMkLst>
            <pc:docMk/>
            <pc:sldMk cId="855508414" sldId="301"/>
            <ac:spMk id="5" creationId="{D4C413BD-98A7-F90F-8885-7185FB0495C4}"/>
          </ac:spMkLst>
        </pc:spChg>
        <pc:spChg chg="mod">
          <ac:chgData name="Era Poudel" userId="4038d143-4a25-4ddb-a450-cddf29410981" providerId="ADAL" clId="{AAB933D7-6A78-4888-8215-E15D581A059E}" dt="2025-01-28T16:45:28.049" v="8641" actId="790"/>
          <ac:spMkLst>
            <pc:docMk/>
            <pc:sldMk cId="855508414" sldId="301"/>
            <ac:spMk id="14" creationId="{A1668B4A-6D4A-8D7F-025E-91402E10F567}"/>
          </ac:spMkLst>
        </pc:spChg>
        <pc:spChg chg="mod topLvl">
          <ac:chgData name="Era Poudel" userId="4038d143-4a25-4ddb-a450-cddf29410981" providerId="ADAL" clId="{AAB933D7-6A78-4888-8215-E15D581A059E}" dt="2025-01-28T16:45:28.049" v="8641" actId="790"/>
          <ac:spMkLst>
            <pc:docMk/>
            <pc:sldMk cId="855508414" sldId="301"/>
            <ac:spMk id="45" creationId="{FDA57636-E66E-F394-3E03-5D03159A3A34}"/>
          </ac:spMkLst>
        </pc:spChg>
        <pc:spChg chg="mod topLvl">
          <ac:chgData name="Era Poudel" userId="4038d143-4a25-4ddb-a450-cddf29410981" providerId="ADAL" clId="{AAB933D7-6A78-4888-8215-E15D581A059E}" dt="2025-01-28T16:45:28.049" v="8641" actId="790"/>
          <ac:spMkLst>
            <pc:docMk/>
            <pc:sldMk cId="855508414" sldId="301"/>
            <ac:spMk id="47" creationId="{B4038930-0E51-1F15-F0BF-04F535E1BD00}"/>
          </ac:spMkLst>
        </pc:spChg>
        <pc:spChg chg="mod">
          <ac:chgData name="Era Poudel" userId="4038d143-4a25-4ddb-a450-cddf29410981" providerId="ADAL" clId="{AAB933D7-6A78-4888-8215-E15D581A059E}" dt="2025-01-28T16:45:28.049" v="8641" actId="790"/>
          <ac:spMkLst>
            <pc:docMk/>
            <pc:sldMk cId="855508414" sldId="301"/>
            <ac:spMk id="49" creationId="{82127627-34E5-8BD9-1F2B-D74DDC96773B}"/>
          </ac:spMkLst>
        </pc:spChg>
        <pc:spChg chg="mod">
          <ac:chgData name="Era Poudel" userId="4038d143-4a25-4ddb-a450-cddf29410981" providerId="ADAL" clId="{AAB933D7-6A78-4888-8215-E15D581A059E}" dt="2025-01-28T16:45:28.049" v="8641" actId="790"/>
          <ac:spMkLst>
            <pc:docMk/>
            <pc:sldMk cId="855508414" sldId="301"/>
            <ac:spMk id="345" creationId="{00000000-0000-0000-0000-000000000000}"/>
          </ac:spMkLst>
        </pc:spChg>
      </pc:sldChg>
      <pc:sldChg chg="modSp mod">
        <pc:chgData name="Era Poudel" userId="4038d143-4a25-4ddb-a450-cddf29410981" providerId="ADAL" clId="{AAB933D7-6A78-4888-8215-E15D581A059E}" dt="2025-01-28T16:45:28.049" v="8641" actId="790"/>
        <pc:sldMkLst>
          <pc:docMk/>
          <pc:sldMk cId="2738800295" sldId="302"/>
        </pc:sldMkLst>
        <pc:spChg chg="mod">
          <ac:chgData name="Era Poudel" userId="4038d143-4a25-4ddb-a450-cddf29410981" providerId="ADAL" clId="{AAB933D7-6A78-4888-8215-E15D581A059E}" dt="2025-01-28T16:45:28.049" v="8641" actId="790"/>
          <ac:spMkLst>
            <pc:docMk/>
            <pc:sldMk cId="2738800295" sldId="302"/>
            <ac:spMk id="5" creationId="{4B82F80D-EBE8-7B85-2225-8FFD69742ED5}"/>
          </ac:spMkLst>
        </pc:spChg>
        <pc:spChg chg="mod">
          <ac:chgData name="Era Poudel" userId="4038d143-4a25-4ddb-a450-cddf29410981" providerId="ADAL" clId="{AAB933D7-6A78-4888-8215-E15D581A059E}" dt="2025-01-28T16:45:28.049" v="8641" actId="790"/>
          <ac:spMkLst>
            <pc:docMk/>
            <pc:sldMk cId="2738800295" sldId="302"/>
            <ac:spMk id="7" creationId="{48E25BC3-2A78-5F2C-F720-366C9B167CBD}"/>
          </ac:spMkLst>
        </pc:spChg>
      </pc:sldChg>
      <pc:sldChg chg="modSp mod">
        <pc:chgData name="Era Poudel" userId="4038d143-4a25-4ddb-a450-cddf29410981" providerId="ADAL" clId="{AAB933D7-6A78-4888-8215-E15D581A059E}" dt="2025-01-28T16:45:28.049" v="8641" actId="790"/>
        <pc:sldMkLst>
          <pc:docMk/>
          <pc:sldMk cId="1608053785" sldId="303"/>
        </pc:sldMkLst>
        <pc:spChg chg="mod">
          <ac:chgData name="Era Poudel" userId="4038d143-4a25-4ddb-a450-cddf29410981" providerId="ADAL" clId="{AAB933D7-6A78-4888-8215-E15D581A059E}" dt="2025-01-28T16:45:28.049" v="8641" actId="790"/>
          <ac:spMkLst>
            <pc:docMk/>
            <pc:sldMk cId="1608053785" sldId="303"/>
            <ac:spMk id="5" creationId="{4B82F80D-EBE8-7B85-2225-8FFD69742ED5}"/>
          </ac:spMkLst>
        </pc:spChg>
        <pc:spChg chg="mod">
          <ac:chgData name="Era Poudel" userId="4038d143-4a25-4ddb-a450-cddf29410981" providerId="ADAL" clId="{AAB933D7-6A78-4888-8215-E15D581A059E}" dt="2025-01-28T16:45:28.049" v="8641" actId="790"/>
          <ac:spMkLst>
            <pc:docMk/>
            <pc:sldMk cId="1608053785" sldId="303"/>
            <ac:spMk id="6" creationId="{F7697B48-98C7-2D4D-028F-20A8A01892B8}"/>
          </ac:spMkLst>
        </pc:spChg>
        <pc:spChg chg="mod">
          <ac:chgData name="Era Poudel" userId="4038d143-4a25-4ddb-a450-cddf29410981" providerId="ADAL" clId="{AAB933D7-6A78-4888-8215-E15D581A059E}" dt="2025-01-28T16:45:28.049" v="8641" actId="790"/>
          <ac:spMkLst>
            <pc:docMk/>
            <pc:sldMk cId="1608053785" sldId="303"/>
            <ac:spMk id="7" creationId="{48E25BC3-2A78-5F2C-F720-366C9B167CBD}"/>
          </ac:spMkLst>
        </pc:spChg>
      </pc:sldChg>
      <pc:sldChg chg="modSp mod ord">
        <pc:chgData name="Era Poudel" userId="4038d143-4a25-4ddb-a450-cddf29410981" providerId="ADAL" clId="{AAB933D7-6A78-4888-8215-E15D581A059E}" dt="2025-01-28T16:45:28.049" v="8641" actId="790"/>
        <pc:sldMkLst>
          <pc:docMk/>
          <pc:sldMk cId="656948936" sldId="307"/>
        </pc:sldMkLst>
        <pc:spChg chg="mod">
          <ac:chgData name="Era Poudel" userId="4038d143-4a25-4ddb-a450-cddf29410981" providerId="ADAL" clId="{AAB933D7-6A78-4888-8215-E15D581A059E}" dt="2025-01-28T16:45:28.049" v="8641" actId="790"/>
          <ac:spMkLst>
            <pc:docMk/>
            <pc:sldMk cId="656948936" sldId="307"/>
            <ac:spMk id="2" creationId="{FE3A5165-8DD7-B00A-7B51-96C83EC80066}"/>
          </ac:spMkLst>
        </pc:spChg>
        <pc:spChg chg="mod">
          <ac:chgData name="Era Poudel" userId="4038d143-4a25-4ddb-a450-cddf29410981" providerId="ADAL" clId="{AAB933D7-6A78-4888-8215-E15D581A059E}" dt="2025-01-28T16:45:28.049" v="8641" actId="790"/>
          <ac:spMkLst>
            <pc:docMk/>
            <pc:sldMk cId="656948936" sldId="307"/>
            <ac:spMk id="7" creationId="{D2EB48A1-78C4-0F93-6100-E70083C9853E}"/>
          </ac:spMkLst>
        </pc:spChg>
        <pc:spChg chg="mod">
          <ac:chgData name="Era Poudel" userId="4038d143-4a25-4ddb-a450-cddf29410981" providerId="ADAL" clId="{AAB933D7-6A78-4888-8215-E15D581A059E}" dt="2025-01-28T16:45:28.049" v="8641" actId="790"/>
          <ac:spMkLst>
            <pc:docMk/>
            <pc:sldMk cId="656948936" sldId="307"/>
            <ac:spMk id="18" creationId="{9D402FC9-B003-6ABB-29C8-CFE131F86AFE}"/>
          </ac:spMkLst>
        </pc:spChg>
      </pc:sldChg>
      <pc:sldChg chg="modSp mod">
        <pc:chgData name="Era Poudel" userId="4038d143-4a25-4ddb-a450-cddf29410981" providerId="ADAL" clId="{AAB933D7-6A78-4888-8215-E15D581A059E}" dt="2025-01-28T16:45:28.049" v="8641" actId="790"/>
        <pc:sldMkLst>
          <pc:docMk/>
          <pc:sldMk cId="4118735400" sldId="311"/>
        </pc:sldMkLst>
        <pc:spChg chg="mod">
          <ac:chgData name="Era Poudel" userId="4038d143-4a25-4ddb-a450-cddf29410981" providerId="ADAL" clId="{AAB933D7-6A78-4888-8215-E15D581A059E}" dt="2025-01-28T16:45:28.049" v="8641" actId="790"/>
          <ac:spMkLst>
            <pc:docMk/>
            <pc:sldMk cId="4118735400" sldId="311"/>
            <ac:spMk id="5" creationId="{00BF61E3-667D-A868-F8B9-88B5DD8C5722}"/>
          </ac:spMkLst>
        </pc:spChg>
        <pc:spChg chg="mod">
          <ac:chgData name="Era Poudel" userId="4038d143-4a25-4ddb-a450-cddf29410981" providerId="ADAL" clId="{AAB933D7-6A78-4888-8215-E15D581A059E}" dt="2025-01-28T16:45:28.049" v="8641" actId="790"/>
          <ac:spMkLst>
            <pc:docMk/>
            <pc:sldMk cId="4118735400" sldId="311"/>
            <ac:spMk id="7" creationId="{9DC95FD5-9D2A-515F-E49B-A46670706E83}"/>
          </ac:spMkLst>
        </pc:spChg>
      </pc:sldChg>
      <pc:sldChg chg="modSp mod">
        <pc:chgData name="Era Poudel" userId="4038d143-4a25-4ddb-a450-cddf29410981" providerId="ADAL" clId="{AAB933D7-6A78-4888-8215-E15D581A059E}" dt="2025-01-28T16:45:28.049" v="8641" actId="790"/>
        <pc:sldMkLst>
          <pc:docMk/>
          <pc:sldMk cId="1126850562" sldId="317"/>
        </pc:sldMkLst>
        <pc:spChg chg="mod">
          <ac:chgData name="Era Poudel" userId="4038d143-4a25-4ddb-a450-cddf29410981" providerId="ADAL" clId="{AAB933D7-6A78-4888-8215-E15D581A059E}" dt="2025-01-28T16:45:28.049" v="8641" actId="790"/>
          <ac:spMkLst>
            <pc:docMk/>
            <pc:sldMk cId="1126850562" sldId="317"/>
            <ac:spMk id="7" creationId="{26900DB9-ED99-E2E2-04B6-E1B0CDCDAA93}"/>
          </ac:spMkLst>
        </pc:spChg>
        <pc:spChg chg="mod">
          <ac:chgData name="Era Poudel" userId="4038d143-4a25-4ddb-a450-cddf29410981" providerId="ADAL" clId="{AAB933D7-6A78-4888-8215-E15D581A059E}" dt="2025-01-28T16:45:28.049" v="8641" actId="790"/>
          <ac:spMkLst>
            <pc:docMk/>
            <pc:sldMk cId="1126850562" sldId="317"/>
            <ac:spMk id="8" creationId="{EAE65E17-24BD-9146-7605-4AD45B45C364}"/>
          </ac:spMkLst>
        </pc:spChg>
        <pc:spChg chg="mod">
          <ac:chgData name="Era Poudel" userId="4038d143-4a25-4ddb-a450-cddf29410981" providerId="ADAL" clId="{AAB933D7-6A78-4888-8215-E15D581A059E}" dt="2025-01-28T16:45:28.049" v="8641" actId="790"/>
          <ac:spMkLst>
            <pc:docMk/>
            <pc:sldMk cId="1126850562" sldId="317"/>
            <ac:spMk id="13" creationId="{37B1975D-5314-EF92-0D9E-E2A606B471A6}"/>
          </ac:spMkLst>
        </pc:spChg>
        <pc:spChg chg="mod">
          <ac:chgData name="Era Poudel" userId="4038d143-4a25-4ddb-a450-cddf29410981" providerId="ADAL" clId="{AAB933D7-6A78-4888-8215-E15D581A059E}" dt="2025-01-28T16:45:28.049" v="8641" actId="790"/>
          <ac:spMkLst>
            <pc:docMk/>
            <pc:sldMk cId="1126850562" sldId="317"/>
            <ac:spMk id="14" creationId="{70D8283B-838F-7304-E20E-E3F94B3F6925}"/>
          </ac:spMkLst>
        </pc:spChg>
        <pc:spChg chg="mod">
          <ac:chgData name="Era Poudel" userId="4038d143-4a25-4ddb-a450-cddf29410981" providerId="ADAL" clId="{AAB933D7-6A78-4888-8215-E15D581A059E}" dt="2025-01-28T16:45:28.049" v="8641" actId="790"/>
          <ac:spMkLst>
            <pc:docMk/>
            <pc:sldMk cId="1126850562" sldId="317"/>
            <ac:spMk id="15" creationId="{D11F5D38-E76B-2625-D4C9-29A036A7C2F9}"/>
          </ac:spMkLst>
        </pc:spChg>
      </pc:sldChg>
      <pc:sldChg chg="addSp delSp modSp mod">
        <pc:chgData name="Era Poudel" userId="4038d143-4a25-4ddb-a450-cddf29410981" providerId="ADAL" clId="{AAB933D7-6A78-4888-8215-E15D581A059E}" dt="2025-01-28T16:45:28.049" v="8641" actId="790"/>
        <pc:sldMkLst>
          <pc:docMk/>
          <pc:sldMk cId="373550321" sldId="318"/>
        </pc:sldMkLst>
        <pc:spChg chg="mod">
          <ac:chgData name="Era Poudel" userId="4038d143-4a25-4ddb-a450-cddf29410981" providerId="ADAL" clId="{AAB933D7-6A78-4888-8215-E15D581A059E}" dt="2025-01-28T16:45:28.049" v="8641" actId="790"/>
          <ac:spMkLst>
            <pc:docMk/>
            <pc:sldMk cId="373550321" sldId="318"/>
            <ac:spMk id="2" creationId="{F0B2C064-86E3-B316-5126-29978F8DC037}"/>
          </ac:spMkLst>
        </pc:spChg>
        <pc:spChg chg="mod">
          <ac:chgData name="Era Poudel" userId="4038d143-4a25-4ddb-a450-cddf29410981" providerId="ADAL" clId="{AAB933D7-6A78-4888-8215-E15D581A059E}" dt="2025-01-28T16:45:28.049" v="8641" actId="790"/>
          <ac:spMkLst>
            <pc:docMk/>
            <pc:sldMk cId="373550321" sldId="318"/>
            <ac:spMk id="3" creationId="{C2FE8ABF-7C2C-85C4-F80B-42C2FE4E59C6}"/>
          </ac:spMkLst>
        </pc:spChg>
        <pc:spChg chg="mod">
          <ac:chgData name="Era Poudel" userId="4038d143-4a25-4ddb-a450-cddf29410981" providerId="ADAL" clId="{AAB933D7-6A78-4888-8215-E15D581A059E}" dt="2025-01-28T16:45:28.049" v="8641" actId="790"/>
          <ac:spMkLst>
            <pc:docMk/>
            <pc:sldMk cId="373550321" sldId="318"/>
            <ac:spMk id="4" creationId="{9FED2E82-8B4E-CED3-E7CC-13BEEA6B927D}"/>
          </ac:spMkLst>
        </pc:spChg>
        <pc:spChg chg="mod">
          <ac:chgData name="Era Poudel" userId="4038d143-4a25-4ddb-a450-cddf29410981" providerId="ADAL" clId="{AAB933D7-6A78-4888-8215-E15D581A059E}" dt="2025-01-28T16:45:28.049" v="8641" actId="790"/>
          <ac:spMkLst>
            <pc:docMk/>
            <pc:sldMk cId="373550321" sldId="318"/>
            <ac:spMk id="5" creationId="{E6634E1F-ED4E-EBC3-8C25-332130472F39}"/>
          </ac:spMkLst>
        </pc:spChg>
        <pc:spChg chg="mod">
          <ac:chgData name="Era Poudel" userId="4038d143-4a25-4ddb-a450-cddf29410981" providerId="ADAL" clId="{AAB933D7-6A78-4888-8215-E15D581A059E}" dt="2025-01-28T16:45:28.049" v="8641" actId="790"/>
          <ac:spMkLst>
            <pc:docMk/>
            <pc:sldMk cId="373550321" sldId="318"/>
            <ac:spMk id="7" creationId="{2E9A378D-8DB5-F059-10CF-019382FA312B}"/>
          </ac:spMkLst>
        </pc:spChg>
        <pc:spChg chg="mod">
          <ac:chgData name="Era Poudel" userId="4038d143-4a25-4ddb-a450-cddf29410981" providerId="ADAL" clId="{AAB933D7-6A78-4888-8215-E15D581A059E}" dt="2025-01-28T16:45:28.049" v="8641" actId="790"/>
          <ac:spMkLst>
            <pc:docMk/>
            <pc:sldMk cId="373550321" sldId="318"/>
            <ac:spMk id="8" creationId="{F309E364-4510-6EA0-B942-89FF1547896D}"/>
          </ac:spMkLst>
        </pc:spChg>
        <pc:spChg chg="mod">
          <ac:chgData name="Era Poudel" userId="4038d143-4a25-4ddb-a450-cddf29410981" providerId="ADAL" clId="{AAB933D7-6A78-4888-8215-E15D581A059E}" dt="2025-01-28T16:45:28.049" v="8641" actId="790"/>
          <ac:spMkLst>
            <pc:docMk/>
            <pc:sldMk cId="373550321" sldId="318"/>
            <ac:spMk id="9" creationId="{4D387D8D-F8F0-B2EA-4880-22E503CFD85E}"/>
          </ac:spMkLst>
        </pc:spChg>
        <pc:spChg chg="mod">
          <ac:chgData name="Era Poudel" userId="4038d143-4a25-4ddb-a450-cddf29410981" providerId="ADAL" clId="{AAB933D7-6A78-4888-8215-E15D581A059E}" dt="2025-01-28T16:45:28.049" v="8641" actId="790"/>
          <ac:spMkLst>
            <pc:docMk/>
            <pc:sldMk cId="373550321" sldId="318"/>
            <ac:spMk id="10" creationId="{7DBB0F79-1DB5-6396-A5C4-0BBE18530FCE}"/>
          </ac:spMkLst>
        </pc:spChg>
        <pc:spChg chg="mod">
          <ac:chgData name="Era Poudel" userId="4038d143-4a25-4ddb-a450-cddf29410981" providerId="ADAL" clId="{AAB933D7-6A78-4888-8215-E15D581A059E}" dt="2025-01-28T16:45:28.049" v="8641" actId="790"/>
          <ac:spMkLst>
            <pc:docMk/>
            <pc:sldMk cId="373550321" sldId="318"/>
            <ac:spMk id="12" creationId="{84E00281-1DB3-8406-67D3-458AB6C1B5BB}"/>
          </ac:spMkLst>
        </pc:spChg>
        <pc:grpChg chg="mod">
          <ac:chgData name="Era Poudel" userId="4038d143-4a25-4ddb-a450-cddf29410981" providerId="ADAL" clId="{AAB933D7-6A78-4888-8215-E15D581A059E}" dt="2025-01-26T13:21:07.829" v="6410" actId="1076"/>
          <ac:grpSpMkLst>
            <pc:docMk/>
            <pc:sldMk cId="373550321" sldId="318"/>
            <ac:grpSpMk id="13" creationId="{7C32F558-D4D0-0AA6-34AE-3BB25B83D758}"/>
          </ac:grpSpMkLst>
        </pc:grpChg>
        <pc:picChg chg="add mod modCrop">
          <ac:chgData name="Era Poudel" userId="4038d143-4a25-4ddb-a450-cddf29410981" providerId="ADAL" clId="{AAB933D7-6A78-4888-8215-E15D581A059E}" dt="2025-01-26T13:20:50.943" v="6404" actId="1076"/>
          <ac:picMkLst>
            <pc:docMk/>
            <pc:sldMk cId="373550321" sldId="318"/>
            <ac:picMk id="16" creationId="{09425A0D-C9DC-AFB6-F17E-FC04F885DDB5}"/>
          </ac:picMkLst>
        </pc:picChg>
        <pc:picChg chg="add mod modCrop">
          <ac:chgData name="Era Poudel" userId="4038d143-4a25-4ddb-a450-cddf29410981" providerId="ADAL" clId="{AAB933D7-6A78-4888-8215-E15D581A059E}" dt="2025-01-26T13:20:59.994" v="6407" actId="1076"/>
          <ac:picMkLst>
            <pc:docMk/>
            <pc:sldMk cId="373550321" sldId="318"/>
            <ac:picMk id="19" creationId="{C1528234-127B-F4D8-BB1E-530F5388DAEE}"/>
          </ac:picMkLst>
        </pc:picChg>
        <pc:picChg chg="add mod modCrop">
          <ac:chgData name="Era Poudel" userId="4038d143-4a25-4ddb-a450-cddf29410981" providerId="ADAL" clId="{AAB933D7-6A78-4888-8215-E15D581A059E}" dt="2025-01-26T13:20:57.765" v="6406" actId="1076"/>
          <ac:picMkLst>
            <pc:docMk/>
            <pc:sldMk cId="373550321" sldId="318"/>
            <ac:picMk id="22" creationId="{E2F01378-5FDC-1566-259E-1C27FB39FCFF}"/>
          </ac:picMkLst>
        </pc:picChg>
        <pc:picChg chg="add mod">
          <ac:chgData name="Era Poudel" userId="4038d143-4a25-4ddb-a450-cddf29410981" providerId="ADAL" clId="{AAB933D7-6A78-4888-8215-E15D581A059E}" dt="2025-01-26T13:20:55.526" v="6405" actId="1076"/>
          <ac:picMkLst>
            <pc:docMk/>
            <pc:sldMk cId="373550321" sldId="318"/>
            <ac:picMk id="23" creationId="{3117D22C-717C-D581-6F65-C4D015D8C450}"/>
          </ac:picMkLst>
        </pc:picChg>
        <pc:picChg chg="mod">
          <ac:chgData name="Era Poudel" userId="4038d143-4a25-4ddb-a450-cddf29410981" providerId="ADAL" clId="{AAB933D7-6A78-4888-8215-E15D581A059E}" dt="2025-01-26T13:21:25.438" v="6415" actId="1076"/>
          <ac:picMkLst>
            <pc:docMk/>
            <pc:sldMk cId="373550321" sldId="318"/>
            <ac:picMk id="31" creationId="{26E19198-3DC9-0B46-7676-34A8E0CE74C7}"/>
          </ac:picMkLst>
        </pc:picChg>
      </pc:sldChg>
      <pc:sldChg chg="modSp mod">
        <pc:chgData name="Era Poudel" userId="4038d143-4a25-4ddb-a450-cddf29410981" providerId="ADAL" clId="{AAB933D7-6A78-4888-8215-E15D581A059E}" dt="2025-01-28T16:45:28.049" v="8641" actId="790"/>
        <pc:sldMkLst>
          <pc:docMk/>
          <pc:sldMk cId="1558425071" sldId="334"/>
        </pc:sldMkLst>
        <pc:spChg chg="mod">
          <ac:chgData name="Era Poudel" userId="4038d143-4a25-4ddb-a450-cddf29410981" providerId="ADAL" clId="{AAB933D7-6A78-4888-8215-E15D581A059E}" dt="2025-01-28T16:45:28.049" v="8641" actId="790"/>
          <ac:spMkLst>
            <pc:docMk/>
            <pc:sldMk cId="1558425071" sldId="334"/>
            <ac:spMk id="4" creationId="{FE70CA0E-25A9-C2AD-AE39-2001A076167F}"/>
          </ac:spMkLst>
        </pc:spChg>
        <pc:spChg chg="mod">
          <ac:chgData name="Era Poudel" userId="4038d143-4a25-4ddb-a450-cddf29410981" providerId="ADAL" clId="{AAB933D7-6A78-4888-8215-E15D581A059E}" dt="2025-01-28T16:45:28.049" v="8641" actId="790"/>
          <ac:spMkLst>
            <pc:docMk/>
            <pc:sldMk cId="1558425071" sldId="334"/>
            <ac:spMk id="5" creationId="{AF8A9881-9AFE-21B0-C166-37DE4B084308}"/>
          </ac:spMkLst>
        </pc:spChg>
        <pc:spChg chg="mod">
          <ac:chgData name="Era Poudel" userId="4038d143-4a25-4ddb-a450-cddf29410981" providerId="ADAL" clId="{AAB933D7-6A78-4888-8215-E15D581A059E}" dt="2025-01-28T16:45:28.049" v="8641" actId="790"/>
          <ac:spMkLst>
            <pc:docMk/>
            <pc:sldMk cId="1558425071" sldId="334"/>
            <ac:spMk id="9" creationId="{6FB8F27F-081C-2015-F78E-41DB0A62D13C}"/>
          </ac:spMkLst>
        </pc:spChg>
        <pc:spChg chg="mod">
          <ac:chgData name="Era Poudel" userId="4038d143-4a25-4ddb-a450-cddf29410981" providerId="ADAL" clId="{AAB933D7-6A78-4888-8215-E15D581A059E}" dt="2025-01-28T16:45:28.049" v="8641" actId="790"/>
          <ac:spMkLst>
            <pc:docMk/>
            <pc:sldMk cId="1558425071" sldId="334"/>
            <ac:spMk id="304" creationId="{00000000-0000-0000-0000-000000000000}"/>
          </ac:spMkLst>
        </pc:spChg>
        <pc:spChg chg="mod">
          <ac:chgData name="Era Poudel" userId="4038d143-4a25-4ddb-a450-cddf29410981" providerId="ADAL" clId="{AAB933D7-6A78-4888-8215-E15D581A059E}" dt="2025-01-28T16:45:28.049" v="8641" actId="790"/>
          <ac:spMkLst>
            <pc:docMk/>
            <pc:sldMk cId="1558425071" sldId="334"/>
            <ac:spMk id="326" creationId="{00000000-0000-0000-0000-000000000000}"/>
          </ac:spMkLst>
        </pc:spChg>
      </pc:sldChg>
      <pc:sldChg chg="modSp mod">
        <pc:chgData name="Era Poudel" userId="4038d143-4a25-4ddb-a450-cddf29410981" providerId="ADAL" clId="{AAB933D7-6A78-4888-8215-E15D581A059E}" dt="2025-01-28T16:45:28.049" v="8641" actId="790"/>
        <pc:sldMkLst>
          <pc:docMk/>
          <pc:sldMk cId="2974701433" sldId="336"/>
        </pc:sldMkLst>
        <pc:spChg chg="mod">
          <ac:chgData name="Era Poudel" userId="4038d143-4a25-4ddb-a450-cddf29410981" providerId="ADAL" clId="{AAB933D7-6A78-4888-8215-E15D581A059E}" dt="2025-01-28T16:45:28.049" v="8641" actId="790"/>
          <ac:spMkLst>
            <pc:docMk/>
            <pc:sldMk cId="2974701433" sldId="336"/>
            <ac:spMk id="3" creationId="{09B6353F-CB41-C93E-F3AB-4184CA505A42}"/>
          </ac:spMkLst>
        </pc:spChg>
        <pc:spChg chg="mod">
          <ac:chgData name="Era Poudel" userId="4038d143-4a25-4ddb-a450-cddf29410981" providerId="ADAL" clId="{AAB933D7-6A78-4888-8215-E15D581A059E}" dt="2025-01-28T16:45:28.049" v="8641" actId="790"/>
          <ac:spMkLst>
            <pc:docMk/>
            <pc:sldMk cId="2974701433" sldId="336"/>
            <ac:spMk id="9" creationId="{6FB8F27F-081C-2015-F78E-41DB0A62D13C}"/>
          </ac:spMkLst>
        </pc:spChg>
        <pc:spChg chg="mod">
          <ac:chgData name="Era Poudel" userId="4038d143-4a25-4ddb-a450-cddf29410981" providerId="ADAL" clId="{AAB933D7-6A78-4888-8215-E15D581A059E}" dt="2025-01-28T16:45:28.049" v="8641" actId="790"/>
          <ac:spMkLst>
            <pc:docMk/>
            <pc:sldMk cId="2974701433" sldId="336"/>
            <ac:spMk id="15" creationId="{C063A260-5050-6FE0-6783-D8FC8E6864DB}"/>
          </ac:spMkLst>
        </pc:spChg>
      </pc:sldChg>
      <pc:sldChg chg="modSp mod">
        <pc:chgData name="Era Poudel" userId="4038d143-4a25-4ddb-a450-cddf29410981" providerId="ADAL" clId="{AAB933D7-6A78-4888-8215-E15D581A059E}" dt="2025-01-28T16:45:28.049" v="8641" actId="790"/>
        <pc:sldMkLst>
          <pc:docMk/>
          <pc:sldMk cId="1183542163" sldId="339"/>
        </pc:sldMkLst>
        <pc:spChg chg="mod">
          <ac:chgData name="Era Poudel" userId="4038d143-4a25-4ddb-a450-cddf29410981" providerId="ADAL" clId="{AAB933D7-6A78-4888-8215-E15D581A059E}" dt="2025-01-28T16:45:28.049" v="8641" actId="790"/>
          <ac:spMkLst>
            <pc:docMk/>
            <pc:sldMk cId="1183542163" sldId="339"/>
            <ac:spMk id="2" creationId="{FE3A5165-8DD7-B00A-7B51-96C83EC80066}"/>
          </ac:spMkLst>
        </pc:spChg>
        <pc:spChg chg="mod">
          <ac:chgData name="Era Poudel" userId="4038d143-4a25-4ddb-a450-cddf29410981" providerId="ADAL" clId="{AAB933D7-6A78-4888-8215-E15D581A059E}" dt="2025-01-28T16:45:28.049" v="8641" actId="790"/>
          <ac:spMkLst>
            <pc:docMk/>
            <pc:sldMk cId="1183542163" sldId="339"/>
            <ac:spMk id="6" creationId="{0E630E31-56A7-45D2-FE61-A1F165CD464C}"/>
          </ac:spMkLst>
        </pc:spChg>
        <pc:spChg chg="mod">
          <ac:chgData name="Era Poudel" userId="4038d143-4a25-4ddb-a450-cddf29410981" providerId="ADAL" clId="{AAB933D7-6A78-4888-8215-E15D581A059E}" dt="2025-01-28T16:45:28.049" v="8641" actId="790"/>
          <ac:spMkLst>
            <pc:docMk/>
            <pc:sldMk cId="1183542163" sldId="339"/>
            <ac:spMk id="7" creationId="{D2EB48A1-78C4-0F93-6100-E70083C9853E}"/>
          </ac:spMkLst>
        </pc:spChg>
      </pc:sldChg>
      <pc:sldChg chg="modSp mod">
        <pc:chgData name="Era Poudel" userId="4038d143-4a25-4ddb-a450-cddf29410981" providerId="ADAL" clId="{AAB933D7-6A78-4888-8215-E15D581A059E}" dt="2025-01-20T15:46:25.042" v="3069" actId="20577"/>
        <pc:sldMkLst>
          <pc:docMk/>
          <pc:sldMk cId="1662382075" sldId="367"/>
        </pc:sldMkLst>
      </pc:sldChg>
      <pc:sldChg chg="modSp mod ord">
        <pc:chgData name="Era Poudel" userId="4038d143-4a25-4ddb-a450-cddf29410981" providerId="ADAL" clId="{AAB933D7-6A78-4888-8215-E15D581A059E}" dt="2025-01-28T16:45:28.049" v="8641" actId="790"/>
        <pc:sldMkLst>
          <pc:docMk/>
          <pc:sldMk cId="2307933946" sldId="383"/>
        </pc:sldMkLst>
        <pc:spChg chg="mod">
          <ac:chgData name="Era Poudel" userId="4038d143-4a25-4ddb-a450-cddf29410981" providerId="ADAL" clId="{AAB933D7-6A78-4888-8215-E15D581A059E}" dt="2025-01-28T16:45:28.049" v="8641" actId="790"/>
          <ac:spMkLst>
            <pc:docMk/>
            <pc:sldMk cId="2307933946" sldId="383"/>
            <ac:spMk id="3" creationId="{09B6353F-CB41-C93E-F3AB-4184CA505A42}"/>
          </ac:spMkLst>
        </pc:spChg>
        <pc:spChg chg="mod">
          <ac:chgData name="Era Poudel" userId="4038d143-4a25-4ddb-a450-cddf29410981" providerId="ADAL" clId="{AAB933D7-6A78-4888-8215-E15D581A059E}" dt="2025-01-28T16:45:28.049" v="8641" actId="790"/>
          <ac:spMkLst>
            <pc:docMk/>
            <pc:sldMk cId="2307933946" sldId="383"/>
            <ac:spMk id="4" creationId="{49C805EC-2EA4-FD71-C144-81A51191A0B9}"/>
          </ac:spMkLst>
        </pc:spChg>
        <pc:spChg chg="mod">
          <ac:chgData name="Era Poudel" userId="4038d143-4a25-4ddb-a450-cddf29410981" providerId="ADAL" clId="{AAB933D7-6A78-4888-8215-E15D581A059E}" dt="2025-01-28T16:45:28.049" v="8641" actId="790"/>
          <ac:spMkLst>
            <pc:docMk/>
            <pc:sldMk cId="2307933946" sldId="383"/>
            <ac:spMk id="9" creationId="{6FB8F27F-081C-2015-F78E-41DB0A62D13C}"/>
          </ac:spMkLst>
        </pc:spChg>
        <pc:spChg chg="mod">
          <ac:chgData name="Era Poudel" userId="4038d143-4a25-4ddb-a450-cddf29410981" providerId="ADAL" clId="{AAB933D7-6A78-4888-8215-E15D581A059E}" dt="2025-01-28T16:45:28.049" v="8641" actId="790"/>
          <ac:spMkLst>
            <pc:docMk/>
            <pc:sldMk cId="2307933946" sldId="383"/>
            <ac:spMk id="15" creationId="{C063A260-5050-6FE0-6783-D8FC8E6864DB}"/>
          </ac:spMkLst>
        </pc:spChg>
      </pc:sldChg>
      <pc:sldChg chg="del">
        <pc:chgData name="Era Poudel" userId="4038d143-4a25-4ddb-a450-cddf29410981" providerId="ADAL" clId="{AAB933D7-6A78-4888-8215-E15D581A059E}" dt="2025-01-19T14:30:28.883" v="0" actId="47"/>
        <pc:sldMkLst>
          <pc:docMk/>
          <pc:sldMk cId="1890939302" sldId="389"/>
        </pc:sldMkLst>
      </pc:sldChg>
      <pc:sldChg chg="delSp modSp del mod">
        <pc:chgData name="Era Poudel" userId="4038d143-4a25-4ddb-a450-cddf29410981" providerId="ADAL" clId="{AAB933D7-6A78-4888-8215-E15D581A059E}" dt="2025-01-19T21:18:50.374" v="2668" actId="47"/>
        <pc:sldMkLst>
          <pc:docMk/>
          <pc:sldMk cId="3056559578" sldId="390"/>
        </pc:sldMkLst>
      </pc:sldChg>
      <pc:sldChg chg="addSp delSp modSp del mod">
        <pc:chgData name="Era Poudel" userId="4038d143-4a25-4ddb-a450-cddf29410981" providerId="ADAL" clId="{AAB933D7-6A78-4888-8215-E15D581A059E}" dt="2025-01-28T16:12:00.358" v="8583" actId="47"/>
        <pc:sldMkLst>
          <pc:docMk/>
          <pc:sldMk cId="2861992113" sldId="394"/>
        </pc:sldMkLst>
      </pc:sldChg>
      <pc:sldChg chg="modSp mod">
        <pc:chgData name="Era Poudel" userId="4038d143-4a25-4ddb-a450-cddf29410981" providerId="ADAL" clId="{AAB933D7-6A78-4888-8215-E15D581A059E}" dt="2025-01-28T16:45:28.049" v="8641" actId="790"/>
        <pc:sldMkLst>
          <pc:docMk/>
          <pc:sldMk cId="1438861554" sldId="395"/>
        </pc:sldMkLst>
        <pc:spChg chg="mod">
          <ac:chgData name="Era Poudel" userId="4038d143-4a25-4ddb-a450-cddf29410981" providerId="ADAL" clId="{AAB933D7-6A78-4888-8215-E15D581A059E}" dt="2025-01-28T16:45:28.049" v="8641" actId="790"/>
          <ac:spMkLst>
            <pc:docMk/>
            <pc:sldMk cId="1438861554" sldId="395"/>
            <ac:spMk id="4" creationId="{FE70CA0E-25A9-C2AD-AE39-2001A076167F}"/>
          </ac:spMkLst>
        </pc:spChg>
        <pc:spChg chg="mod">
          <ac:chgData name="Era Poudel" userId="4038d143-4a25-4ddb-a450-cddf29410981" providerId="ADAL" clId="{AAB933D7-6A78-4888-8215-E15D581A059E}" dt="2025-01-28T16:45:28.049" v="8641" actId="790"/>
          <ac:spMkLst>
            <pc:docMk/>
            <pc:sldMk cId="1438861554" sldId="395"/>
            <ac:spMk id="5" creationId="{AF8A9881-9AFE-21B0-C166-37DE4B084308}"/>
          </ac:spMkLst>
        </pc:spChg>
        <pc:spChg chg="mod">
          <ac:chgData name="Era Poudel" userId="4038d143-4a25-4ddb-a450-cddf29410981" providerId="ADAL" clId="{AAB933D7-6A78-4888-8215-E15D581A059E}" dt="2025-01-28T16:45:28.049" v="8641" actId="790"/>
          <ac:spMkLst>
            <pc:docMk/>
            <pc:sldMk cId="1438861554" sldId="395"/>
            <ac:spMk id="9" creationId="{6FB8F27F-081C-2015-F78E-41DB0A62D13C}"/>
          </ac:spMkLst>
        </pc:spChg>
        <pc:spChg chg="mod">
          <ac:chgData name="Era Poudel" userId="4038d143-4a25-4ddb-a450-cddf29410981" providerId="ADAL" clId="{AAB933D7-6A78-4888-8215-E15D581A059E}" dt="2025-01-28T16:45:28.049" v="8641" actId="790"/>
          <ac:spMkLst>
            <pc:docMk/>
            <pc:sldMk cId="1438861554" sldId="395"/>
            <ac:spMk id="304" creationId="{00000000-0000-0000-0000-000000000000}"/>
          </ac:spMkLst>
        </pc:spChg>
        <pc:spChg chg="mod">
          <ac:chgData name="Era Poudel" userId="4038d143-4a25-4ddb-a450-cddf29410981" providerId="ADAL" clId="{AAB933D7-6A78-4888-8215-E15D581A059E}" dt="2025-01-28T16:45:28.049" v="8641" actId="790"/>
          <ac:spMkLst>
            <pc:docMk/>
            <pc:sldMk cId="1438861554" sldId="395"/>
            <ac:spMk id="326" creationId="{00000000-0000-0000-0000-000000000000}"/>
          </ac:spMkLst>
        </pc:spChg>
      </pc:sldChg>
      <pc:sldChg chg="modSp mod">
        <pc:chgData name="Era Poudel" userId="4038d143-4a25-4ddb-a450-cddf29410981" providerId="ADAL" clId="{AAB933D7-6A78-4888-8215-E15D581A059E}" dt="2025-01-28T17:09:24.898" v="8698"/>
        <pc:sldMkLst>
          <pc:docMk/>
          <pc:sldMk cId="835949243" sldId="396"/>
        </pc:sldMkLst>
        <pc:spChg chg="mod">
          <ac:chgData name="Era Poudel" userId="4038d143-4a25-4ddb-a450-cddf29410981" providerId="ADAL" clId="{AAB933D7-6A78-4888-8215-E15D581A059E}" dt="2025-01-28T16:45:28.049" v="8641" actId="790"/>
          <ac:spMkLst>
            <pc:docMk/>
            <pc:sldMk cId="835949243" sldId="396"/>
            <ac:spMk id="2" creationId="{17F8F83B-A0E2-F115-75F9-9A699A63298F}"/>
          </ac:spMkLst>
        </pc:spChg>
        <pc:spChg chg="mod">
          <ac:chgData name="Era Poudel" userId="4038d143-4a25-4ddb-a450-cddf29410981" providerId="ADAL" clId="{AAB933D7-6A78-4888-8215-E15D581A059E}" dt="2025-01-28T16:45:28.049" v="8641" actId="790"/>
          <ac:spMkLst>
            <pc:docMk/>
            <pc:sldMk cId="835949243" sldId="396"/>
            <ac:spMk id="3" creationId="{6558DA14-B22F-1D8D-15C6-C200D326DB5A}"/>
          </ac:spMkLst>
        </pc:spChg>
        <pc:spChg chg="mod">
          <ac:chgData name="Era Poudel" userId="4038d143-4a25-4ddb-a450-cddf29410981" providerId="ADAL" clId="{AAB933D7-6A78-4888-8215-E15D581A059E}" dt="2025-01-28T16:45:28.049" v="8641" actId="790"/>
          <ac:spMkLst>
            <pc:docMk/>
            <pc:sldMk cId="835949243" sldId="396"/>
            <ac:spMk id="15" creationId="{032BF10C-1BAA-B0F0-7AE9-D805EA8680A1}"/>
          </ac:spMkLst>
        </pc:spChg>
        <pc:spChg chg="mod">
          <ac:chgData name="Era Poudel" userId="4038d143-4a25-4ddb-a450-cddf29410981" providerId="ADAL" clId="{AAB933D7-6A78-4888-8215-E15D581A059E}" dt="2025-01-28T16:45:28.049" v="8641" actId="790"/>
          <ac:spMkLst>
            <pc:docMk/>
            <pc:sldMk cId="835949243" sldId="396"/>
            <ac:spMk id="22" creationId="{EBB702A9-486F-7A0D-CB8F-ECA64DBCD0C3}"/>
          </ac:spMkLst>
        </pc:spChg>
        <pc:spChg chg="mod">
          <ac:chgData name="Era Poudel" userId="4038d143-4a25-4ddb-a450-cddf29410981" providerId="ADAL" clId="{AAB933D7-6A78-4888-8215-E15D581A059E}" dt="2025-01-28T17:09:24.898" v="8698"/>
          <ac:spMkLst>
            <pc:docMk/>
            <pc:sldMk cId="835949243" sldId="396"/>
            <ac:spMk id="26" creationId="{D8244418-9D3F-2A0B-09A3-8C1970BDA425}"/>
          </ac:spMkLst>
        </pc:spChg>
      </pc:sldChg>
      <pc:sldChg chg="modSp mod">
        <pc:chgData name="Era Poudel" userId="4038d143-4a25-4ddb-a450-cddf29410981" providerId="ADAL" clId="{AAB933D7-6A78-4888-8215-E15D581A059E}" dt="2025-01-28T16:45:28.049" v="8641" actId="790"/>
        <pc:sldMkLst>
          <pc:docMk/>
          <pc:sldMk cId="1557925452" sldId="397"/>
        </pc:sldMkLst>
        <pc:spChg chg="mod">
          <ac:chgData name="Era Poudel" userId="4038d143-4a25-4ddb-a450-cddf29410981" providerId="ADAL" clId="{AAB933D7-6A78-4888-8215-E15D581A059E}" dt="2025-01-28T16:45:28.049" v="8641" actId="790"/>
          <ac:spMkLst>
            <pc:docMk/>
            <pc:sldMk cId="1557925452" sldId="397"/>
            <ac:spMk id="2" creationId="{2226C690-FDA5-1BF1-07D6-F8A0FE929463}"/>
          </ac:spMkLst>
        </pc:spChg>
        <pc:spChg chg="mod">
          <ac:chgData name="Era Poudel" userId="4038d143-4a25-4ddb-a450-cddf29410981" providerId="ADAL" clId="{AAB933D7-6A78-4888-8215-E15D581A059E}" dt="2025-01-28T16:45:28.049" v="8641" actId="790"/>
          <ac:spMkLst>
            <pc:docMk/>
            <pc:sldMk cId="1557925452" sldId="397"/>
            <ac:spMk id="3" creationId="{B925F1FD-B735-2323-1229-AE4F74945956}"/>
          </ac:spMkLst>
        </pc:spChg>
        <pc:spChg chg="mod">
          <ac:chgData name="Era Poudel" userId="4038d143-4a25-4ddb-a450-cddf29410981" providerId="ADAL" clId="{AAB933D7-6A78-4888-8215-E15D581A059E}" dt="2025-01-28T16:45:28.049" v="8641" actId="790"/>
          <ac:spMkLst>
            <pc:docMk/>
            <pc:sldMk cId="1557925452" sldId="397"/>
            <ac:spMk id="4" creationId="{0B100EBC-7B68-A345-92A0-145DE6EF14A7}"/>
          </ac:spMkLst>
        </pc:spChg>
        <pc:spChg chg="mod">
          <ac:chgData name="Era Poudel" userId="4038d143-4a25-4ddb-a450-cddf29410981" providerId="ADAL" clId="{AAB933D7-6A78-4888-8215-E15D581A059E}" dt="2025-01-28T16:45:28.049" v="8641" actId="790"/>
          <ac:spMkLst>
            <pc:docMk/>
            <pc:sldMk cId="1557925452" sldId="397"/>
            <ac:spMk id="9" creationId="{6E769508-9355-93D3-8A39-589575A413BA}"/>
          </ac:spMkLst>
        </pc:spChg>
        <pc:spChg chg="mod">
          <ac:chgData name="Era Poudel" userId="4038d143-4a25-4ddb-a450-cddf29410981" providerId="ADAL" clId="{AAB933D7-6A78-4888-8215-E15D581A059E}" dt="2025-01-28T16:45:28.049" v="8641" actId="790"/>
          <ac:spMkLst>
            <pc:docMk/>
            <pc:sldMk cId="1557925452" sldId="397"/>
            <ac:spMk id="12" creationId="{3CCD2D1A-1DA2-AD54-4F05-393E79DADEA7}"/>
          </ac:spMkLst>
        </pc:spChg>
        <pc:spChg chg="mod">
          <ac:chgData name="Era Poudel" userId="4038d143-4a25-4ddb-a450-cddf29410981" providerId="ADAL" clId="{AAB933D7-6A78-4888-8215-E15D581A059E}" dt="2025-01-28T16:45:28.049" v="8641" actId="790"/>
          <ac:spMkLst>
            <pc:docMk/>
            <pc:sldMk cId="1557925452" sldId="397"/>
            <ac:spMk id="14" creationId="{93C2DEA0-AA87-8B8B-24B7-45A5D337F06D}"/>
          </ac:spMkLst>
        </pc:spChg>
        <pc:spChg chg="mod">
          <ac:chgData name="Era Poudel" userId="4038d143-4a25-4ddb-a450-cddf29410981" providerId="ADAL" clId="{AAB933D7-6A78-4888-8215-E15D581A059E}" dt="2025-01-28T16:45:28.049" v="8641" actId="790"/>
          <ac:spMkLst>
            <pc:docMk/>
            <pc:sldMk cId="1557925452" sldId="397"/>
            <ac:spMk id="20" creationId="{96A7A15F-B86E-5ADE-747E-172AF09E9E00}"/>
          </ac:spMkLst>
        </pc:spChg>
      </pc:sldChg>
      <pc:sldChg chg="modSp mod">
        <pc:chgData name="Era Poudel" userId="4038d143-4a25-4ddb-a450-cddf29410981" providerId="ADAL" clId="{AAB933D7-6A78-4888-8215-E15D581A059E}" dt="2025-01-28T17:10:11.781" v="8701" actId="20577"/>
        <pc:sldMkLst>
          <pc:docMk/>
          <pc:sldMk cId="2461222098" sldId="399"/>
        </pc:sldMkLst>
        <pc:spChg chg="mod">
          <ac:chgData name="Era Poudel" userId="4038d143-4a25-4ddb-a450-cddf29410981" providerId="ADAL" clId="{AAB933D7-6A78-4888-8215-E15D581A059E}" dt="2025-01-28T16:45:28.049" v="8641" actId="790"/>
          <ac:spMkLst>
            <pc:docMk/>
            <pc:sldMk cId="2461222098" sldId="399"/>
            <ac:spMk id="15" creationId="{15733A09-4426-FD53-0A56-8753B570E0A5}"/>
          </ac:spMkLst>
        </pc:spChg>
        <pc:spChg chg="mod">
          <ac:chgData name="Era Poudel" userId="4038d143-4a25-4ddb-a450-cddf29410981" providerId="ADAL" clId="{AAB933D7-6A78-4888-8215-E15D581A059E}" dt="2025-01-28T16:45:28.049" v="8641" actId="790"/>
          <ac:spMkLst>
            <pc:docMk/>
            <pc:sldMk cId="2461222098" sldId="399"/>
            <ac:spMk id="16" creationId="{D91308DA-2110-0B45-0B26-E121F76E64CA}"/>
          </ac:spMkLst>
        </pc:spChg>
        <pc:spChg chg="mod">
          <ac:chgData name="Era Poudel" userId="4038d143-4a25-4ddb-a450-cddf29410981" providerId="ADAL" clId="{AAB933D7-6A78-4888-8215-E15D581A059E}" dt="2025-01-28T16:45:28.049" v="8641" actId="790"/>
          <ac:spMkLst>
            <pc:docMk/>
            <pc:sldMk cId="2461222098" sldId="399"/>
            <ac:spMk id="17" creationId="{B0EC394D-93A8-790D-3CE5-B42722CC07B8}"/>
          </ac:spMkLst>
        </pc:spChg>
        <pc:spChg chg="mod">
          <ac:chgData name="Era Poudel" userId="4038d143-4a25-4ddb-a450-cddf29410981" providerId="ADAL" clId="{AAB933D7-6A78-4888-8215-E15D581A059E}" dt="2025-01-28T16:45:28.049" v="8641" actId="790"/>
          <ac:spMkLst>
            <pc:docMk/>
            <pc:sldMk cId="2461222098" sldId="399"/>
            <ac:spMk id="19" creationId="{9B8AE0C5-C237-19D7-5A36-8A635C152CA2}"/>
          </ac:spMkLst>
        </pc:spChg>
        <pc:spChg chg="mod">
          <ac:chgData name="Era Poudel" userId="4038d143-4a25-4ddb-a450-cddf29410981" providerId="ADAL" clId="{AAB933D7-6A78-4888-8215-E15D581A059E}" dt="2025-01-28T16:45:28.049" v="8641" actId="790"/>
          <ac:spMkLst>
            <pc:docMk/>
            <pc:sldMk cId="2461222098" sldId="399"/>
            <ac:spMk id="20" creationId="{A3D15105-7AF3-5991-13E5-6BC1B1EBBB38}"/>
          </ac:spMkLst>
        </pc:spChg>
        <pc:spChg chg="mod">
          <ac:chgData name="Era Poudel" userId="4038d143-4a25-4ddb-a450-cddf29410981" providerId="ADAL" clId="{AAB933D7-6A78-4888-8215-E15D581A059E}" dt="2025-01-28T17:10:11.781" v="8701" actId="20577"/>
          <ac:spMkLst>
            <pc:docMk/>
            <pc:sldMk cId="2461222098" sldId="399"/>
            <ac:spMk id="22" creationId="{3217CAE4-727E-902E-01B2-390D4371FDCA}"/>
          </ac:spMkLst>
        </pc:spChg>
        <pc:picChg chg="mod">
          <ac:chgData name="Era Poudel" userId="4038d143-4a25-4ddb-a450-cddf29410981" providerId="ADAL" clId="{AAB933D7-6A78-4888-8215-E15D581A059E}" dt="2025-01-28T16:51:37.677" v="8653" actId="1076"/>
          <ac:picMkLst>
            <pc:docMk/>
            <pc:sldMk cId="2461222098" sldId="399"/>
            <ac:picMk id="18" creationId="{90F16123-5711-F1D6-E05E-DD168A005380}"/>
          </ac:picMkLst>
        </pc:picChg>
      </pc:sldChg>
      <pc:sldChg chg="modSp mod">
        <pc:chgData name="Era Poudel" userId="4038d143-4a25-4ddb-a450-cddf29410981" providerId="ADAL" clId="{AAB933D7-6A78-4888-8215-E15D581A059E}" dt="2025-01-28T16:45:28.049" v="8641" actId="790"/>
        <pc:sldMkLst>
          <pc:docMk/>
          <pc:sldMk cId="3416478574" sldId="400"/>
        </pc:sldMkLst>
      </pc:sldChg>
      <pc:sldChg chg="modSp mod">
        <pc:chgData name="Era Poudel" userId="4038d143-4a25-4ddb-a450-cddf29410981" providerId="ADAL" clId="{AAB933D7-6A78-4888-8215-E15D581A059E}" dt="2025-01-28T17:09:43.777" v="8700"/>
        <pc:sldMkLst>
          <pc:docMk/>
          <pc:sldMk cId="582580800" sldId="401"/>
        </pc:sldMkLst>
        <pc:spChg chg="mod">
          <ac:chgData name="Era Poudel" userId="4038d143-4a25-4ddb-a450-cddf29410981" providerId="ADAL" clId="{AAB933D7-6A78-4888-8215-E15D581A059E}" dt="2025-01-28T16:45:28.049" v="8641" actId="790"/>
          <ac:spMkLst>
            <pc:docMk/>
            <pc:sldMk cId="582580800" sldId="401"/>
            <ac:spMk id="15" creationId="{032BF10C-1BAA-B0F0-7AE9-D805EA8680A1}"/>
          </ac:spMkLst>
        </pc:spChg>
        <pc:spChg chg="mod">
          <ac:chgData name="Era Poudel" userId="4038d143-4a25-4ddb-a450-cddf29410981" providerId="ADAL" clId="{AAB933D7-6A78-4888-8215-E15D581A059E}" dt="2025-01-28T16:45:28.049" v="8641" actId="790"/>
          <ac:spMkLst>
            <pc:docMk/>
            <pc:sldMk cId="582580800" sldId="401"/>
            <ac:spMk id="23" creationId="{1D88F652-1A5D-2AFA-B789-14758404B0DA}"/>
          </ac:spMkLst>
        </pc:spChg>
      </pc:sldChg>
      <pc:sldChg chg="addSp delSp modSp del mod">
        <pc:chgData name="Era Poudel" userId="4038d143-4a25-4ddb-a450-cddf29410981" providerId="ADAL" clId="{AAB933D7-6A78-4888-8215-E15D581A059E}" dt="2025-01-20T16:27:00.146" v="3855" actId="47"/>
        <pc:sldMkLst>
          <pc:docMk/>
          <pc:sldMk cId="206374014" sldId="403"/>
        </pc:sldMkLst>
      </pc:sldChg>
      <pc:sldChg chg="modSp mod">
        <pc:chgData name="Era Poudel" userId="4038d143-4a25-4ddb-a450-cddf29410981" providerId="ADAL" clId="{AAB933D7-6A78-4888-8215-E15D581A059E}" dt="2025-01-28T16:50:10.328" v="8651" actId="1076"/>
        <pc:sldMkLst>
          <pc:docMk/>
          <pc:sldMk cId="1179567158" sldId="404"/>
        </pc:sldMkLst>
        <pc:spChg chg="mod">
          <ac:chgData name="Era Poudel" userId="4038d143-4a25-4ddb-a450-cddf29410981" providerId="ADAL" clId="{AAB933D7-6A78-4888-8215-E15D581A059E}" dt="2025-01-28T16:45:28.049" v="8641" actId="790"/>
          <ac:spMkLst>
            <pc:docMk/>
            <pc:sldMk cId="1179567158" sldId="404"/>
            <ac:spMk id="2" creationId="{F1A21B12-F317-F50A-FE10-72E27AB7AAB8}"/>
          </ac:spMkLst>
        </pc:spChg>
        <pc:spChg chg="mod">
          <ac:chgData name="Era Poudel" userId="4038d143-4a25-4ddb-a450-cddf29410981" providerId="ADAL" clId="{AAB933D7-6A78-4888-8215-E15D581A059E}" dt="2025-01-28T16:45:28.049" v="8641" actId="790"/>
          <ac:spMkLst>
            <pc:docMk/>
            <pc:sldMk cId="1179567158" sldId="404"/>
            <ac:spMk id="4" creationId="{06CFC185-661B-FE38-CB5E-9B8B78C1DED4}"/>
          </ac:spMkLst>
        </pc:spChg>
        <pc:spChg chg="mod">
          <ac:chgData name="Era Poudel" userId="4038d143-4a25-4ddb-a450-cddf29410981" providerId="ADAL" clId="{AAB933D7-6A78-4888-8215-E15D581A059E}" dt="2025-01-28T16:45:28.049" v="8641" actId="790"/>
          <ac:spMkLst>
            <pc:docMk/>
            <pc:sldMk cId="1179567158" sldId="404"/>
            <ac:spMk id="7" creationId="{A9471AC6-B495-C03E-5B97-9380D56DED5B}"/>
          </ac:spMkLst>
        </pc:spChg>
        <pc:spChg chg="mod">
          <ac:chgData name="Era Poudel" userId="4038d143-4a25-4ddb-a450-cddf29410981" providerId="ADAL" clId="{AAB933D7-6A78-4888-8215-E15D581A059E}" dt="2025-01-28T16:50:04.628" v="8650" actId="14100"/>
          <ac:spMkLst>
            <pc:docMk/>
            <pc:sldMk cId="1179567158" sldId="404"/>
            <ac:spMk id="8" creationId="{CE749D75-BB64-EA3F-4A37-8B6B98B5B366}"/>
          </ac:spMkLst>
        </pc:spChg>
        <pc:spChg chg="mod">
          <ac:chgData name="Era Poudel" userId="4038d143-4a25-4ddb-a450-cddf29410981" providerId="ADAL" clId="{AAB933D7-6A78-4888-8215-E15D581A059E}" dt="2025-01-28T16:50:10.328" v="8651" actId="1076"/>
          <ac:spMkLst>
            <pc:docMk/>
            <pc:sldMk cId="1179567158" sldId="404"/>
            <ac:spMk id="9" creationId="{BC21C8CF-539D-E464-29F1-01ECBED7D0F4}"/>
          </ac:spMkLst>
        </pc:spChg>
        <pc:spChg chg="mod">
          <ac:chgData name="Era Poudel" userId="4038d143-4a25-4ddb-a450-cddf29410981" providerId="ADAL" clId="{AAB933D7-6A78-4888-8215-E15D581A059E}" dt="2025-01-28T16:45:28.049" v="8641" actId="790"/>
          <ac:spMkLst>
            <pc:docMk/>
            <pc:sldMk cId="1179567158" sldId="404"/>
            <ac:spMk id="13" creationId="{817FCBA3-EFE9-7AA6-9D84-3B990635EB2E}"/>
          </ac:spMkLst>
        </pc:spChg>
        <pc:spChg chg="mod">
          <ac:chgData name="Era Poudel" userId="4038d143-4a25-4ddb-a450-cddf29410981" providerId="ADAL" clId="{AAB933D7-6A78-4888-8215-E15D581A059E}" dt="2025-01-28T16:45:28.049" v="8641" actId="790"/>
          <ac:spMkLst>
            <pc:docMk/>
            <pc:sldMk cId="1179567158" sldId="404"/>
            <ac:spMk id="16" creationId="{1D6159E8-557D-FDCD-FC65-C528B4B1091C}"/>
          </ac:spMkLst>
        </pc:spChg>
        <pc:spChg chg="mod">
          <ac:chgData name="Era Poudel" userId="4038d143-4a25-4ddb-a450-cddf29410981" providerId="ADAL" clId="{AAB933D7-6A78-4888-8215-E15D581A059E}" dt="2025-01-28T16:45:28.049" v="8641" actId="790"/>
          <ac:spMkLst>
            <pc:docMk/>
            <pc:sldMk cId="1179567158" sldId="404"/>
            <ac:spMk id="18" creationId="{A6C3DFE2-1650-D046-8C5B-F8C5382E8E92}"/>
          </ac:spMkLst>
        </pc:spChg>
      </pc:sldChg>
      <pc:sldChg chg="del">
        <pc:chgData name="Era Poudel" userId="4038d143-4a25-4ddb-a450-cddf29410981" providerId="ADAL" clId="{AAB933D7-6A78-4888-8215-E15D581A059E}" dt="2025-01-19T14:30:32.600" v="1" actId="47"/>
        <pc:sldMkLst>
          <pc:docMk/>
          <pc:sldMk cId="2812918502" sldId="405"/>
        </pc:sldMkLst>
      </pc:sldChg>
      <pc:sldChg chg="del">
        <pc:chgData name="Era Poudel" userId="4038d143-4a25-4ddb-a450-cddf29410981" providerId="ADAL" clId="{AAB933D7-6A78-4888-8215-E15D581A059E}" dt="2025-01-19T14:30:35.993" v="2" actId="47"/>
        <pc:sldMkLst>
          <pc:docMk/>
          <pc:sldMk cId="3395738072" sldId="406"/>
        </pc:sldMkLst>
      </pc:sldChg>
      <pc:sldChg chg="modSp mod">
        <pc:chgData name="Era Poudel" userId="4038d143-4a25-4ddb-a450-cddf29410981" providerId="ADAL" clId="{AAB933D7-6A78-4888-8215-E15D581A059E}" dt="2025-01-28T16:45:28.049" v="8641" actId="790"/>
        <pc:sldMkLst>
          <pc:docMk/>
          <pc:sldMk cId="1350676828" sldId="407"/>
        </pc:sldMkLst>
        <pc:spChg chg="mod">
          <ac:chgData name="Era Poudel" userId="4038d143-4a25-4ddb-a450-cddf29410981" providerId="ADAL" clId="{AAB933D7-6A78-4888-8215-E15D581A059E}" dt="2025-01-28T16:45:28.049" v="8641" actId="790"/>
          <ac:spMkLst>
            <pc:docMk/>
            <pc:sldMk cId="1350676828" sldId="407"/>
            <ac:spMk id="3" creationId="{C2FE8ABF-7C2C-85C4-F80B-42C2FE4E59C6}"/>
          </ac:spMkLst>
        </pc:spChg>
        <pc:spChg chg="mod">
          <ac:chgData name="Era Poudel" userId="4038d143-4a25-4ddb-a450-cddf29410981" providerId="ADAL" clId="{AAB933D7-6A78-4888-8215-E15D581A059E}" dt="2025-01-20T15:48:12.334" v="3086" actId="20577"/>
          <ac:spMkLst>
            <pc:docMk/>
            <pc:sldMk cId="1350676828" sldId="407"/>
            <ac:spMk id="4" creationId="{9FED2E82-8B4E-CED3-E7CC-13BEEA6B927D}"/>
          </ac:spMkLst>
        </pc:spChg>
        <pc:spChg chg="mod">
          <ac:chgData name="Era Poudel" userId="4038d143-4a25-4ddb-a450-cddf29410981" providerId="ADAL" clId="{AAB933D7-6A78-4888-8215-E15D581A059E}" dt="2025-01-28T16:45:28.049" v="8641" actId="790"/>
          <ac:spMkLst>
            <pc:docMk/>
            <pc:sldMk cId="1350676828" sldId="407"/>
            <ac:spMk id="20" creationId="{2240E9CB-3E86-122C-9767-7BADBDD48767}"/>
          </ac:spMkLst>
        </pc:spChg>
        <pc:spChg chg="mod">
          <ac:chgData name="Era Poudel" userId="4038d143-4a25-4ddb-a450-cddf29410981" providerId="ADAL" clId="{AAB933D7-6A78-4888-8215-E15D581A059E}" dt="2025-01-28T16:45:28.049" v="8641" actId="790"/>
          <ac:spMkLst>
            <pc:docMk/>
            <pc:sldMk cId="1350676828" sldId="407"/>
            <ac:spMk id="28" creationId="{1E7F3884-BACD-49E3-027F-BC4198F8C2AE}"/>
          </ac:spMkLst>
        </pc:spChg>
        <pc:spChg chg="mod">
          <ac:chgData name="Era Poudel" userId="4038d143-4a25-4ddb-a450-cddf29410981" providerId="ADAL" clId="{AAB933D7-6A78-4888-8215-E15D581A059E}" dt="2025-01-28T16:45:28.049" v="8641" actId="790"/>
          <ac:spMkLst>
            <pc:docMk/>
            <pc:sldMk cId="1350676828" sldId="407"/>
            <ac:spMk id="40" creationId="{EC65250B-25D6-EC78-1650-F0F82EA6D642}"/>
          </ac:spMkLst>
        </pc:spChg>
        <pc:spChg chg="mod">
          <ac:chgData name="Era Poudel" userId="4038d143-4a25-4ddb-a450-cddf29410981" providerId="ADAL" clId="{AAB933D7-6A78-4888-8215-E15D581A059E}" dt="2025-01-28T16:45:28.049" v="8641" actId="790"/>
          <ac:spMkLst>
            <pc:docMk/>
            <pc:sldMk cId="1350676828" sldId="407"/>
            <ac:spMk id="41" creationId="{F1293E47-9417-EAE5-E94A-0E12BBA3B773}"/>
          </ac:spMkLst>
        </pc:spChg>
        <pc:spChg chg="mod">
          <ac:chgData name="Era Poudel" userId="4038d143-4a25-4ddb-a450-cddf29410981" providerId="ADAL" clId="{AAB933D7-6A78-4888-8215-E15D581A059E}" dt="2025-01-28T16:45:28.049" v="8641" actId="790"/>
          <ac:spMkLst>
            <pc:docMk/>
            <pc:sldMk cId="1350676828" sldId="407"/>
            <ac:spMk id="42" creationId="{BA7D5FB3-6F17-8BEB-7A58-D531002CF1E9}"/>
          </ac:spMkLst>
        </pc:spChg>
        <pc:spChg chg="mod">
          <ac:chgData name="Era Poudel" userId="4038d143-4a25-4ddb-a450-cddf29410981" providerId="ADAL" clId="{AAB933D7-6A78-4888-8215-E15D581A059E}" dt="2025-01-28T16:45:28.049" v="8641" actId="790"/>
          <ac:spMkLst>
            <pc:docMk/>
            <pc:sldMk cId="1350676828" sldId="407"/>
            <ac:spMk id="44" creationId="{250A6714-446D-A6C4-9CEA-39C538FEDBFE}"/>
          </ac:spMkLst>
        </pc:spChg>
        <pc:spChg chg="mod">
          <ac:chgData name="Era Poudel" userId="4038d143-4a25-4ddb-a450-cddf29410981" providerId="ADAL" clId="{AAB933D7-6A78-4888-8215-E15D581A059E}" dt="2025-01-28T16:45:28.049" v="8641" actId="790"/>
          <ac:spMkLst>
            <pc:docMk/>
            <pc:sldMk cId="1350676828" sldId="407"/>
            <ac:spMk id="45" creationId="{5548AE0F-152F-B4D0-004F-FB7AA2EF8B04}"/>
          </ac:spMkLst>
        </pc:spChg>
        <pc:spChg chg="mod">
          <ac:chgData name="Era Poudel" userId="4038d143-4a25-4ddb-a450-cddf29410981" providerId="ADAL" clId="{AAB933D7-6A78-4888-8215-E15D581A059E}" dt="2025-01-28T16:45:28.049" v="8641" actId="790"/>
          <ac:spMkLst>
            <pc:docMk/>
            <pc:sldMk cId="1350676828" sldId="407"/>
            <ac:spMk id="48" creationId="{910ED7F8-D575-8500-B409-5E5892436F2B}"/>
          </ac:spMkLst>
        </pc:spChg>
        <pc:spChg chg="mod">
          <ac:chgData name="Era Poudel" userId="4038d143-4a25-4ddb-a450-cddf29410981" providerId="ADAL" clId="{AAB933D7-6A78-4888-8215-E15D581A059E}" dt="2025-01-28T16:45:28.049" v="8641" actId="790"/>
          <ac:spMkLst>
            <pc:docMk/>
            <pc:sldMk cId="1350676828" sldId="407"/>
            <ac:spMk id="49" creationId="{511BEF2C-A58F-231E-999D-04A5EE7853B7}"/>
          </ac:spMkLst>
        </pc:spChg>
      </pc:sldChg>
      <pc:sldChg chg="addSp modSp mod">
        <pc:chgData name="Era Poudel" userId="4038d143-4a25-4ddb-a450-cddf29410981" providerId="ADAL" clId="{AAB933D7-6A78-4888-8215-E15D581A059E}" dt="2025-01-28T16:46:24.938" v="8645" actId="1076"/>
        <pc:sldMkLst>
          <pc:docMk/>
          <pc:sldMk cId="2146858438" sldId="408"/>
        </pc:sldMkLst>
      </pc:sldChg>
      <pc:sldChg chg="modSp mod">
        <pc:chgData name="Era Poudel" userId="4038d143-4a25-4ddb-a450-cddf29410981" providerId="ADAL" clId="{AAB933D7-6A78-4888-8215-E15D581A059E}" dt="2025-01-28T16:45:28.049" v="8641" actId="790"/>
        <pc:sldMkLst>
          <pc:docMk/>
          <pc:sldMk cId="4165276256" sldId="409"/>
        </pc:sldMkLst>
        <pc:spChg chg="mod">
          <ac:chgData name="Era Poudel" userId="4038d143-4a25-4ddb-a450-cddf29410981" providerId="ADAL" clId="{AAB933D7-6A78-4888-8215-E15D581A059E}" dt="2025-01-28T16:45:28.049" v="8641" actId="790"/>
          <ac:spMkLst>
            <pc:docMk/>
            <pc:sldMk cId="4165276256" sldId="409"/>
            <ac:spMk id="3" creationId="{C2FE8ABF-7C2C-85C4-F80B-42C2FE4E59C6}"/>
          </ac:spMkLst>
        </pc:spChg>
        <pc:spChg chg="mod">
          <ac:chgData name="Era Poudel" userId="4038d143-4a25-4ddb-a450-cddf29410981" providerId="ADAL" clId="{AAB933D7-6A78-4888-8215-E15D581A059E}" dt="2025-01-28T16:45:28.049" v="8641" actId="790"/>
          <ac:spMkLst>
            <pc:docMk/>
            <pc:sldMk cId="4165276256" sldId="409"/>
            <ac:spMk id="14" creationId="{1DC39A33-AFC3-BAFB-BCFC-815AF85F41A3}"/>
          </ac:spMkLst>
        </pc:spChg>
        <pc:spChg chg="mod">
          <ac:chgData name="Era Poudel" userId="4038d143-4a25-4ddb-a450-cddf29410981" providerId="ADAL" clId="{AAB933D7-6A78-4888-8215-E15D581A059E}" dt="2025-01-28T16:45:28.049" v="8641" actId="790"/>
          <ac:spMkLst>
            <pc:docMk/>
            <pc:sldMk cId="4165276256" sldId="409"/>
            <ac:spMk id="16" creationId="{8559A7D3-2E5E-B910-272A-32EA29C804A2}"/>
          </ac:spMkLst>
        </pc:spChg>
        <pc:spChg chg="mod">
          <ac:chgData name="Era Poudel" userId="4038d143-4a25-4ddb-a450-cddf29410981" providerId="ADAL" clId="{AAB933D7-6A78-4888-8215-E15D581A059E}" dt="2025-01-28T16:45:28.049" v="8641" actId="790"/>
          <ac:spMkLst>
            <pc:docMk/>
            <pc:sldMk cId="4165276256" sldId="409"/>
            <ac:spMk id="17" creationId="{93DF21F3-B62A-CE9C-BDB3-1F4AB943CCC4}"/>
          </ac:spMkLst>
        </pc:spChg>
        <pc:spChg chg="mod">
          <ac:chgData name="Era Poudel" userId="4038d143-4a25-4ddb-a450-cddf29410981" providerId="ADAL" clId="{AAB933D7-6A78-4888-8215-E15D581A059E}" dt="2025-01-28T16:45:28.049" v="8641" actId="790"/>
          <ac:spMkLst>
            <pc:docMk/>
            <pc:sldMk cId="4165276256" sldId="409"/>
            <ac:spMk id="19" creationId="{73A61211-80BF-B1A8-FC36-E9ED11B6DC85}"/>
          </ac:spMkLst>
        </pc:spChg>
        <pc:spChg chg="mod">
          <ac:chgData name="Era Poudel" userId="4038d143-4a25-4ddb-a450-cddf29410981" providerId="ADAL" clId="{AAB933D7-6A78-4888-8215-E15D581A059E}" dt="2025-01-28T16:45:28.049" v="8641" actId="790"/>
          <ac:spMkLst>
            <pc:docMk/>
            <pc:sldMk cId="4165276256" sldId="409"/>
            <ac:spMk id="21" creationId="{9C779F89-23F1-8273-09EF-134F10F9DD9C}"/>
          </ac:spMkLst>
        </pc:spChg>
        <pc:spChg chg="mod">
          <ac:chgData name="Era Poudel" userId="4038d143-4a25-4ddb-a450-cddf29410981" providerId="ADAL" clId="{AAB933D7-6A78-4888-8215-E15D581A059E}" dt="2025-01-28T16:45:28.049" v="8641" actId="790"/>
          <ac:spMkLst>
            <pc:docMk/>
            <pc:sldMk cId="4165276256" sldId="409"/>
            <ac:spMk id="23" creationId="{AD661E3A-5B0F-01A4-3643-66BF593B9B61}"/>
          </ac:spMkLst>
        </pc:spChg>
        <pc:spChg chg="mod">
          <ac:chgData name="Era Poudel" userId="4038d143-4a25-4ddb-a450-cddf29410981" providerId="ADAL" clId="{AAB933D7-6A78-4888-8215-E15D581A059E}" dt="2025-01-28T16:45:28.049" v="8641" actId="790"/>
          <ac:spMkLst>
            <pc:docMk/>
            <pc:sldMk cId="4165276256" sldId="409"/>
            <ac:spMk id="25" creationId="{EBBDADC1-07FE-F8E2-49CD-4C68E9023C03}"/>
          </ac:spMkLst>
        </pc:spChg>
        <pc:spChg chg="mod">
          <ac:chgData name="Era Poudel" userId="4038d143-4a25-4ddb-a450-cddf29410981" providerId="ADAL" clId="{AAB933D7-6A78-4888-8215-E15D581A059E}" dt="2025-01-28T16:45:28.049" v="8641" actId="790"/>
          <ac:spMkLst>
            <pc:docMk/>
            <pc:sldMk cId="4165276256" sldId="409"/>
            <ac:spMk id="26" creationId="{09890D54-A53D-4CA6-508B-2A1A76DBB6A7}"/>
          </ac:spMkLst>
        </pc:spChg>
      </pc:sldChg>
      <pc:sldChg chg="modSp mod">
        <pc:chgData name="Era Poudel" userId="4038d143-4a25-4ddb-a450-cddf29410981" providerId="ADAL" clId="{AAB933D7-6A78-4888-8215-E15D581A059E}" dt="2025-01-28T17:00:17.373" v="8690" actId="20577"/>
        <pc:sldMkLst>
          <pc:docMk/>
          <pc:sldMk cId="3374372959" sldId="410"/>
        </pc:sldMkLst>
        <pc:spChg chg="mod">
          <ac:chgData name="Era Poudel" userId="4038d143-4a25-4ddb-a450-cddf29410981" providerId="ADAL" clId="{AAB933D7-6A78-4888-8215-E15D581A059E}" dt="2025-01-28T16:45:28.049" v="8641" actId="790"/>
          <ac:spMkLst>
            <pc:docMk/>
            <pc:sldMk cId="3374372959" sldId="410"/>
            <ac:spMk id="2" creationId="{61FC4D4D-A852-3684-AEF3-B33B3F8311BC}"/>
          </ac:spMkLst>
        </pc:spChg>
        <pc:spChg chg="mod">
          <ac:chgData name="Era Poudel" userId="4038d143-4a25-4ddb-a450-cddf29410981" providerId="ADAL" clId="{AAB933D7-6A78-4888-8215-E15D581A059E}" dt="2025-01-28T16:45:28.049" v="8641" actId="790"/>
          <ac:spMkLst>
            <pc:docMk/>
            <pc:sldMk cId="3374372959" sldId="410"/>
            <ac:spMk id="3" creationId="{855A30B5-31EC-CF54-E7E3-4E2BE1B24C7A}"/>
          </ac:spMkLst>
        </pc:spChg>
        <pc:spChg chg="mod">
          <ac:chgData name="Era Poudel" userId="4038d143-4a25-4ddb-a450-cddf29410981" providerId="ADAL" clId="{AAB933D7-6A78-4888-8215-E15D581A059E}" dt="2025-01-28T16:46:01.449" v="8643" actId="20577"/>
          <ac:spMkLst>
            <pc:docMk/>
            <pc:sldMk cId="3374372959" sldId="410"/>
            <ac:spMk id="5" creationId="{86D9B208-016D-11B1-A5B7-841961C1B3AD}"/>
          </ac:spMkLst>
        </pc:spChg>
        <pc:spChg chg="mod">
          <ac:chgData name="Era Poudel" userId="4038d143-4a25-4ddb-a450-cddf29410981" providerId="ADAL" clId="{AAB933D7-6A78-4888-8215-E15D581A059E}" dt="2025-01-28T17:00:17.373" v="8690" actId="20577"/>
          <ac:spMkLst>
            <pc:docMk/>
            <pc:sldMk cId="3374372959" sldId="410"/>
            <ac:spMk id="6" creationId="{EECBEFEB-9C0E-5927-15A7-351A5C54385E}"/>
          </ac:spMkLst>
        </pc:spChg>
        <pc:spChg chg="mod">
          <ac:chgData name="Era Poudel" userId="4038d143-4a25-4ddb-a450-cddf29410981" providerId="ADAL" clId="{AAB933D7-6A78-4888-8215-E15D581A059E}" dt="2025-01-28T16:45:28.049" v="8641" actId="790"/>
          <ac:spMkLst>
            <pc:docMk/>
            <pc:sldMk cId="3374372959" sldId="410"/>
            <ac:spMk id="7" creationId="{9CA144AC-D3D4-E708-3AA3-62478F40EBA0}"/>
          </ac:spMkLst>
        </pc:spChg>
      </pc:sldChg>
      <pc:sldChg chg="modSp mod">
        <pc:chgData name="Era Poudel" userId="4038d143-4a25-4ddb-a450-cddf29410981" providerId="ADAL" clId="{AAB933D7-6A78-4888-8215-E15D581A059E}" dt="2025-01-28T16:45:28.049" v="8641" actId="790"/>
        <pc:sldMkLst>
          <pc:docMk/>
          <pc:sldMk cId="3117399487" sldId="411"/>
        </pc:sldMkLst>
        <pc:spChg chg="mod">
          <ac:chgData name="Era Poudel" userId="4038d143-4a25-4ddb-a450-cddf29410981" providerId="ADAL" clId="{AAB933D7-6A78-4888-8215-E15D581A059E}" dt="2025-01-28T16:45:28.049" v="8641" actId="790"/>
          <ac:spMkLst>
            <pc:docMk/>
            <pc:sldMk cId="3117399487" sldId="411"/>
            <ac:spMk id="3" creationId="{C2FE8ABF-7C2C-85C4-F80B-42C2FE4E59C6}"/>
          </ac:spMkLst>
        </pc:spChg>
        <pc:spChg chg="mod">
          <ac:chgData name="Era Poudel" userId="4038d143-4a25-4ddb-a450-cddf29410981" providerId="ADAL" clId="{AAB933D7-6A78-4888-8215-E15D581A059E}" dt="2025-01-28T16:45:28.049" v="8641" actId="790"/>
          <ac:spMkLst>
            <pc:docMk/>
            <pc:sldMk cId="3117399487" sldId="411"/>
            <ac:spMk id="5" creationId="{47CB8B55-5221-8ED1-B020-5C92DCB4AE8A}"/>
          </ac:spMkLst>
        </pc:spChg>
      </pc:sldChg>
      <pc:sldChg chg="modSp mod">
        <pc:chgData name="Era Poudel" userId="4038d143-4a25-4ddb-a450-cddf29410981" providerId="ADAL" clId="{AAB933D7-6A78-4888-8215-E15D581A059E}" dt="2025-01-28T16:45:28.049" v="8641" actId="790"/>
        <pc:sldMkLst>
          <pc:docMk/>
          <pc:sldMk cId="374364369" sldId="413"/>
        </pc:sldMkLst>
        <pc:spChg chg="mod">
          <ac:chgData name="Era Poudel" userId="4038d143-4a25-4ddb-a450-cddf29410981" providerId="ADAL" clId="{AAB933D7-6A78-4888-8215-E15D581A059E}" dt="2025-01-28T16:45:28.049" v="8641" actId="790"/>
          <ac:spMkLst>
            <pc:docMk/>
            <pc:sldMk cId="374364369" sldId="413"/>
            <ac:spMk id="3" creationId="{81C61E71-754B-E79D-FAEF-B7D9E0483FDF}"/>
          </ac:spMkLst>
        </pc:spChg>
        <pc:spChg chg="mod">
          <ac:chgData name="Era Poudel" userId="4038d143-4a25-4ddb-a450-cddf29410981" providerId="ADAL" clId="{AAB933D7-6A78-4888-8215-E15D581A059E}" dt="2025-01-28T16:45:28.049" v="8641" actId="790"/>
          <ac:spMkLst>
            <pc:docMk/>
            <pc:sldMk cId="374364369" sldId="413"/>
            <ac:spMk id="5" creationId="{3A4927C7-6F99-6A99-A6D9-2ABF34AB5092}"/>
          </ac:spMkLst>
        </pc:spChg>
        <pc:spChg chg="mod">
          <ac:chgData name="Era Poudel" userId="4038d143-4a25-4ddb-a450-cddf29410981" providerId="ADAL" clId="{AAB933D7-6A78-4888-8215-E15D581A059E}" dt="2025-01-28T16:45:28.049" v="8641" actId="790"/>
          <ac:spMkLst>
            <pc:docMk/>
            <pc:sldMk cId="374364369" sldId="413"/>
            <ac:spMk id="6" creationId="{941436FD-BCC1-69E9-3B63-65CED40F0E05}"/>
          </ac:spMkLst>
        </pc:spChg>
        <pc:spChg chg="mod">
          <ac:chgData name="Era Poudel" userId="4038d143-4a25-4ddb-a450-cddf29410981" providerId="ADAL" clId="{AAB933D7-6A78-4888-8215-E15D581A059E}" dt="2025-01-28T16:45:28.049" v="8641" actId="790"/>
          <ac:spMkLst>
            <pc:docMk/>
            <pc:sldMk cId="374364369" sldId="413"/>
            <ac:spMk id="8" creationId="{9E7759B4-AB88-1B15-8D80-4AE81F5B3F53}"/>
          </ac:spMkLst>
        </pc:spChg>
        <pc:spChg chg="mod">
          <ac:chgData name="Era Poudel" userId="4038d143-4a25-4ddb-a450-cddf29410981" providerId="ADAL" clId="{AAB933D7-6A78-4888-8215-E15D581A059E}" dt="2025-01-28T16:45:28.049" v="8641" actId="790"/>
          <ac:spMkLst>
            <pc:docMk/>
            <pc:sldMk cId="374364369" sldId="413"/>
            <ac:spMk id="11" creationId="{C5107335-C559-E6D1-CF82-CCF7C8E26BC5}"/>
          </ac:spMkLst>
        </pc:spChg>
        <pc:spChg chg="mod">
          <ac:chgData name="Era Poudel" userId="4038d143-4a25-4ddb-a450-cddf29410981" providerId="ADAL" clId="{AAB933D7-6A78-4888-8215-E15D581A059E}" dt="2025-01-28T16:45:28.049" v="8641" actId="790"/>
          <ac:spMkLst>
            <pc:docMk/>
            <pc:sldMk cId="374364369" sldId="413"/>
            <ac:spMk id="23" creationId="{398755E3-11DE-4DE7-84A9-771248D82E97}"/>
          </ac:spMkLst>
        </pc:spChg>
        <pc:spChg chg="mod">
          <ac:chgData name="Era Poudel" userId="4038d143-4a25-4ddb-a450-cddf29410981" providerId="ADAL" clId="{AAB933D7-6A78-4888-8215-E15D581A059E}" dt="2025-01-28T16:45:28.049" v="8641" actId="790"/>
          <ac:spMkLst>
            <pc:docMk/>
            <pc:sldMk cId="374364369" sldId="413"/>
            <ac:spMk id="24" creationId="{9EE61C21-2AA6-419B-A73E-1A606DEA4621}"/>
          </ac:spMkLst>
        </pc:spChg>
      </pc:sldChg>
      <pc:sldChg chg="modSp mod">
        <pc:chgData name="Era Poudel" userId="4038d143-4a25-4ddb-a450-cddf29410981" providerId="ADAL" clId="{AAB933D7-6A78-4888-8215-E15D581A059E}" dt="2025-01-28T16:45:28.049" v="8641" actId="790"/>
        <pc:sldMkLst>
          <pc:docMk/>
          <pc:sldMk cId="3390966927" sldId="414"/>
        </pc:sldMkLst>
        <pc:spChg chg="mod">
          <ac:chgData name="Era Poudel" userId="4038d143-4a25-4ddb-a450-cddf29410981" providerId="ADAL" clId="{AAB933D7-6A78-4888-8215-E15D581A059E}" dt="2025-01-28T16:45:28.049" v="8641" actId="790"/>
          <ac:spMkLst>
            <pc:docMk/>
            <pc:sldMk cId="3390966927" sldId="414"/>
            <ac:spMk id="3" creationId="{81C61E71-754B-E79D-FAEF-B7D9E0483FDF}"/>
          </ac:spMkLst>
        </pc:spChg>
        <pc:spChg chg="mod">
          <ac:chgData name="Era Poudel" userId="4038d143-4a25-4ddb-a450-cddf29410981" providerId="ADAL" clId="{AAB933D7-6A78-4888-8215-E15D581A059E}" dt="2025-01-28T16:45:28.049" v="8641" actId="790"/>
          <ac:spMkLst>
            <pc:docMk/>
            <pc:sldMk cId="3390966927" sldId="414"/>
            <ac:spMk id="11" creationId="{C5107335-C559-E6D1-CF82-CCF7C8E26BC5}"/>
          </ac:spMkLst>
        </pc:spChg>
      </pc:sldChg>
      <pc:sldChg chg="modSp mod">
        <pc:chgData name="Era Poudel" userId="4038d143-4a25-4ddb-a450-cddf29410981" providerId="ADAL" clId="{AAB933D7-6A78-4888-8215-E15D581A059E}" dt="2025-01-28T16:45:28.049" v="8641" actId="790"/>
        <pc:sldMkLst>
          <pc:docMk/>
          <pc:sldMk cId="4042999223" sldId="415"/>
        </pc:sldMkLst>
        <pc:spChg chg="mod">
          <ac:chgData name="Era Poudel" userId="4038d143-4a25-4ddb-a450-cddf29410981" providerId="ADAL" clId="{AAB933D7-6A78-4888-8215-E15D581A059E}" dt="2025-01-28T16:45:28.049" v="8641" actId="790"/>
          <ac:spMkLst>
            <pc:docMk/>
            <pc:sldMk cId="4042999223" sldId="415"/>
            <ac:spMk id="3" creationId="{81C61E71-754B-E79D-FAEF-B7D9E0483FDF}"/>
          </ac:spMkLst>
        </pc:spChg>
        <pc:spChg chg="mod">
          <ac:chgData name="Era Poudel" userId="4038d143-4a25-4ddb-a450-cddf29410981" providerId="ADAL" clId="{AAB933D7-6A78-4888-8215-E15D581A059E}" dt="2025-01-28T16:45:28.049" v="8641" actId="790"/>
          <ac:spMkLst>
            <pc:docMk/>
            <pc:sldMk cId="4042999223" sldId="415"/>
            <ac:spMk id="11" creationId="{C5107335-C559-E6D1-CF82-CCF7C8E26BC5}"/>
          </ac:spMkLst>
        </pc:spChg>
      </pc:sldChg>
      <pc:sldChg chg="modSp mod">
        <pc:chgData name="Era Poudel" userId="4038d143-4a25-4ddb-a450-cddf29410981" providerId="ADAL" clId="{AAB933D7-6A78-4888-8215-E15D581A059E}" dt="2025-01-28T16:45:28.049" v="8641" actId="790"/>
        <pc:sldMkLst>
          <pc:docMk/>
          <pc:sldMk cId="1748707832" sldId="418"/>
        </pc:sldMkLst>
        <pc:spChg chg="mod">
          <ac:chgData name="Era Poudel" userId="4038d143-4a25-4ddb-a450-cddf29410981" providerId="ADAL" clId="{AAB933D7-6A78-4888-8215-E15D581A059E}" dt="2025-01-28T16:45:28.049" v="8641" actId="790"/>
          <ac:spMkLst>
            <pc:docMk/>
            <pc:sldMk cId="1748707832" sldId="418"/>
            <ac:spMk id="4" creationId="{FE70CA0E-25A9-C2AD-AE39-2001A076167F}"/>
          </ac:spMkLst>
        </pc:spChg>
        <pc:spChg chg="mod">
          <ac:chgData name="Era Poudel" userId="4038d143-4a25-4ddb-a450-cddf29410981" providerId="ADAL" clId="{AAB933D7-6A78-4888-8215-E15D581A059E}" dt="2025-01-28T16:45:28.049" v="8641" actId="790"/>
          <ac:spMkLst>
            <pc:docMk/>
            <pc:sldMk cId="1748707832" sldId="418"/>
            <ac:spMk id="7" creationId="{3BD4C45A-9326-0D67-F95B-A3B0F062B903}"/>
          </ac:spMkLst>
        </pc:spChg>
        <pc:spChg chg="mod">
          <ac:chgData name="Era Poudel" userId="4038d143-4a25-4ddb-a450-cddf29410981" providerId="ADAL" clId="{AAB933D7-6A78-4888-8215-E15D581A059E}" dt="2025-01-28T16:45:28.049" v="8641" actId="790"/>
          <ac:spMkLst>
            <pc:docMk/>
            <pc:sldMk cId="1748707832" sldId="418"/>
            <ac:spMk id="9" creationId="{6FB8F27F-081C-2015-F78E-41DB0A62D13C}"/>
          </ac:spMkLst>
        </pc:spChg>
        <pc:spChg chg="mod">
          <ac:chgData name="Era Poudel" userId="4038d143-4a25-4ddb-a450-cddf29410981" providerId="ADAL" clId="{AAB933D7-6A78-4888-8215-E15D581A059E}" dt="2025-01-28T16:45:28.049" v="8641" actId="790"/>
          <ac:spMkLst>
            <pc:docMk/>
            <pc:sldMk cId="1748707832" sldId="418"/>
            <ac:spMk id="304" creationId="{00000000-0000-0000-0000-000000000000}"/>
          </ac:spMkLst>
        </pc:spChg>
        <pc:spChg chg="mod">
          <ac:chgData name="Era Poudel" userId="4038d143-4a25-4ddb-a450-cddf29410981" providerId="ADAL" clId="{AAB933D7-6A78-4888-8215-E15D581A059E}" dt="2025-01-28T16:45:28.049" v="8641" actId="790"/>
          <ac:spMkLst>
            <pc:docMk/>
            <pc:sldMk cId="1748707832" sldId="418"/>
            <ac:spMk id="326" creationId="{00000000-0000-0000-0000-000000000000}"/>
          </ac:spMkLst>
        </pc:spChg>
        <pc:spChg chg="mod">
          <ac:chgData name="Era Poudel" userId="4038d143-4a25-4ddb-a450-cddf29410981" providerId="ADAL" clId="{AAB933D7-6A78-4888-8215-E15D581A059E}" dt="2025-01-28T16:45:28.049" v="8641" actId="790"/>
          <ac:spMkLst>
            <pc:docMk/>
            <pc:sldMk cId="1748707832" sldId="418"/>
            <ac:spMk id="327" creationId="{00000000-0000-0000-0000-000000000000}"/>
          </ac:spMkLst>
        </pc:spChg>
      </pc:sldChg>
      <pc:sldChg chg="modSp mod">
        <pc:chgData name="Era Poudel" userId="4038d143-4a25-4ddb-a450-cddf29410981" providerId="ADAL" clId="{AAB933D7-6A78-4888-8215-E15D581A059E}" dt="2025-01-28T16:45:28.049" v="8641" actId="790"/>
        <pc:sldMkLst>
          <pc:docMk/>
          <pc:sldMk cId="380781371" sldId="419"/>
        </pc:sldMkLst>
        <pc:spChg chg="mod">
          <ac:chgData name="Era Poudel" userId="4038d143-4a25-4ddb-a450-cddf29410981" providerId="ADAL" clId="{AAB933D7-6A78-4888-8215-E15D581A059E}" dt="2025-01-28T16:45:28.049" v="8641" actId="790"/>
          <ac:spMkLst>
            <pc:docMk/>
            <pc:sldMk cId="380781371" sldId="419"/>
            <ac:spMk id="3" creationId="{CE08FECA-0BAF-9D0E-C810-D24DA73619EB}"/>
          </ac:spMkLst>
        </pc:spChg>
      </pc:sldChg>
      <pc:sldChg chg="modSp mod">
        <pc:chgData name="Era Poudel" userId="4038d143-4a25-4ddb-a450-cddf29410981" providerId="ADAL" clId="{AAB933D7-6A78-4888-8215-E15D581A059E}" dt="2025-01-28T17:10:45.632" v="8704" actId="20577"/>
        <pc:sldMkLst>
          <pc:docMk/>
          <pc:sldMk cId="1722066996" sldId="420"/>
        </pc:sldMkLst>
        <pc:spChg chg="mod">
          <ac:chgData name="Era Poudel" userId="4038d143-4a25-4ddb-a450-cddf29410981" providerId="ADAL" clId="{AAB933D7-6A78-4888-8215-E15D581A059E}" dt="2025-01-28T16:45:28.049" v="8641" actId="790"/>
          <ac:spMkLst>
            <pc:docMk/>
            <pc:sldMk cId="1722066996" sldId="420"/>
            <ac:spMk id="7" creationId="{26900DB9-ED99-E2E2-04B6-E1B0CDCDAA93}"/>
          </ac:spMkLst>
        </pc:spChg>
        <pc:spChg chg="mod">
          <ac:chgData name="Era Poudel" userId="4038d143-4a25-4ddb-a450-cddf29410981" providerId="ADAL" clId="{AAB933D7-6A78-4888-8215-E15D581A059E}" dt="2025-01-28T16:45:28.049" v="8641" actId="790"/>
          <ac:spMkLst>
            <pc:docMk/>
            <pc:sldMk cId="1722066996" sldId="420"/>
            <ac:spMk id="8" creationId="{EAE65E17-24BD-9146-7605-4AD45B45C364}"/>
          </ac:spMkLst>
        </pc:spChg>
        <pc:spChg chg="mod">
          <ac:chgData name="Era Poudel" userId="4038d143-4a25-4ddb-a450-cddf29410981" providerId="ADAL" clId="{AAB933D7-6A78-4888-8215-E15D581A059E}" dt="2025-01-28T17:10:45.632" v="8704" actId="20577"/>
          <ac:spMkLst>
            <pc:docMk/>
            <pc:sldMk cId="1722066996" sldId="420"/>
            <ac:spMk id="13" creationId="{37B1975D-5314-EF92-0D9E-E2A606B471A6}"/>
          </ac:spMkLst>
        </pc:spChg>
        <pc:spChg chg="mod">
          <ac:chgData name="Era Poudel" userId="4038d143-4a25-4ddb-a450-cddf29410981" providerId="ADAL" clId="{AAB933D7-6A78-4888-8215-E15D581A059E}" dt="2025-01-28T16:45:28.049" v="8641" actId="790"/>
          <ac:spMkLst>
            <pc:docMk/>
            <pc:sldMk cId="1722066996" sldId="420"/>
            <ac:spMk id="14" creationId="{70D8283B-838F-7304-E20E-E3F94B3F6925}"/>
          </ac:spMkLst>
        </pc:spChg>
        <pc:spChg chg="mod">
          <ac:chgData name="Era Poudel" userId="4038d143-4a25-4ddb-a450-cddf29410981" providerId="ADAL" clId="{AAB933D7-6A78-4888-8215-E15D581A059E}" dt="2025-01-28T16:45:28.049" v="8641" actId="790"/>
          <ac:spMkLst>
            <pc:docMk/>
            <pc:sldMk cId="1722066996" sldId="420"/>
            <ac:spMk id="15" creationId="{D11F5D38-E76B-2625-D4C9-29A036A7C2F9}"/>
          </ac:spMkLst>
        </pc:spChg>
      </pc:sldChg>
      <pc:sldChg chg="modSp mod">
        <pc:chgData name="Era Poudel" userId="4038d143-4a25-4ddb-a450-cddf29410981" providerId="ADAL" clId="{AAB933D7-6A78-4888-8215-E15D581A059E}" dt="2025-01-28T16:45:28.049" v="8641" actId="790"/>
        <pc:sldMkLst>
          <pc:docMk/>
          <pc:sldMk cId="4205909830" sldId="421"/>
        </pc:sldMkLst>
        <pc:spChg chg="mod">
          <ac:chgData name="Era Poudel" userId="4038d143-4a25-4ddb-a450-cddf29410981" providerId="ADAL" clId="{AAB933D7-6A78-4888-8215-E15D581A059E}" dt="2025-01-28T16:45:28.049" v="8641" actId="790"/>
          <ac:spMkLst>
            <pc:docMk/>
            <pc:sldMk cId="4205909830" sldId="421"/>
            <ac:spMk id="3" creationId="{CE08FECA-0BAF-9D0E-C810-D24DA73619EB}"/>
          </ac:spMkLst>
        </pc:spChg>
        <pc:spChg chg="mod">
          <ac:chgData name="Era Poudel" userId="4038d143-4a25-4ddb-a450-cddf29410981" providerId="ADAL" clId="{AAB933D7-6A78-4888-8215-E15D581A059E}" dt="2025-01-28T16:45:28.049" v="8641" actId="790"/>
          <ac:spMkLst>
            <pc:docMk/>
            <pc:sldMk cId="4205909830" sldId="421"/>
            <ac:spMk id="11" creationId="{23CC8457-06D3-D223-AEA0-721518433E75}"/>
          </ac:spMkLst>
        </pc:spChg>
        <pc:spChg chg="mod">
          <ac:chgData name="Era Poudel" userId="4038d143-4a25-4ddb-a450-cddf29410981" providerId="ADAL" clId="{AAB933D7-6A78-4888-8215-E15D581A059E}" dt="2025-01-28T16:45:28.049" v="8641" actId="790"/>
          <ac:spMkLst>
            <pc:docMk/>
            <pc:sldMk cId="4205909830" sldId="421"/>
            <ac:spMk id="13" creationId="{C4327A5A-CA25-443E-3790-CA71A4612C94}"/>
          </ac:spMkLst>
        </pc:spChg>
      </pc:sldChg>
      <pc:sldChg chg="modSp mod">
        <pc:chgData name="Era Poudel" userId="4038d143-4a25-4ddb-a450-cddf29410981" providerId="ADAL" clId="{AAB933D7-6A78-4888-8215-E15D581A059E}" dt="2025-01-28T16:45:28.049" v="8641" actId="790"/>
        <pc:sldMkLst>
          <pc:docMk/>
          <pc:sldMk cId="2184080923" sldId="422"/>
        </pc:sldMkLst>
        <pc:spChg chg="mod">
          <ac:chgData name="Era Poudel" userId="4038d143-4a25-4ddb-a450-cddf29410981" providerId="ADAL" clId="{AAB933D7-6A78-4888-8215-E15D581A059E}" dt="2025-01-28T16:45:28.049" v="8641" actId="790"/>
          <ac:spMkLst>
            <pc:docMk/>
            <pc:sldMk cId="2184080923" sldId="422"/>
            <ac:spMk id="3" creationId="{CE08FECA-0BAF-9D0E-C810-D24DA73619EB}"/>
          </ac:spMkLst>
        </pc:spChg>
        <pc:spChg chg="mod">
          <ac:chgData name="Era Poudel" userId="4038d143-4a25-4ddb-a450-cddf29410981" providerId="ADAL" clId="{AAB933D7-6A78-4888-8215-E15D581A059E}" dt="2025-01-28T16:45:28.049" v="8641" actId="790"/>
          <ac:spMkLst>
            <pc:docMk/>
            <pc:sldMk cId="2184080923" sldId="422"/>
            <ac:spMk id="7" creationId="{15F9DA44-5138-2324-896A-CE1AC4EECEB5}"/>
          </ac:spMkLst>
        </pc:spChg>
        <pc:spChg chg="mod">
          <ac:chgData name="Era Poudel" userId="4038d143-4a25-4ddb-a450-cddf29410981" providerId="ADAL" clId="{AAB933D7-6A78-4888-8215-E15D581A059E}" dt="2025-01-28T16:45:28.049" v="8641" actId="790"/>
          <ac:spMkLst>
            <pc:docMk/>
            <pc:sldMk cId="2184080923" sldId="422"/>
            <ac:spMk id="13" creationId="{D9A213EC-57EB-9A97-7374-0FA658EC8A87}"/>
          </ac:spMkLst>
        </pc:spChg>
        <pc:spChg chg="mod">
          <ac:chgData name="Era Poudel" userId="4038d143-4a25-4ddb-a450-cddf29410981" providerId="ADAL" clId="{AAB933D7-6A78-4888-8215-E15D581A059E}" dt="2025-01-28T16:45:28.049" v="8641" actId="790"/>
          <ac:spMkLst>
            <pc:docMk/>
            <pc:sldMk cId="2184080923" sldId="422"/>
            <ac:spMk id="14" creationId="{1A9595D0-0EDE-AE8C-CDD6-7183393EC758}"/>
          </ac:spMkLst>
        </pc:spChg>
        <pc:spChg chg="mod">
          <ac:chgData name="Era Poudel" userId="4038d143-4a25-4ddb-a450-cddf29410981" providerId="ADAL" clId="{AAB933D7-6A78-4888-8215-E15D581A059E}" dt="2025-01-28T16:45:28.049" v="8641" actId="790"/>
          <ac:spMkLst>
            <pc:docMk/>
            <pc:sldMk cId="2184080923" sldId="422"/>
            <ac:spMk id="16" creationId="{9B7E8834-E0F0-0B8C-14E8-4024EECA1F8C}"/>
          </ac:spMkLst>
        </pc:spChg>
      </pc:sldChg>
      <pc:sldChg chg="addSp delSp modSp del mod modCm">
        <pc:chgData name="Era Poudel" userId="4038d143-4a25-4ddb-a450-cddf29410981" providerId="ADAL" clId="{AAB933D7-6A78-4888-8215-E15D581A059E}" dt="2025-01-26T14:46:06.312" v="6632" actId="47"/>
        <pc:sldMkLst>
          <pc:docMk/>
          <pc:sldMk cId="3998095132" sldId="426"/>
        </pc:sldMkLst>
        <pc:extLst>
          <p:ext xmlns:p="http://schemas.openxmlformats.org/presentationml/2006/main" uri="{D6D511B9-2390-475A-947B-AFAB55BFBCF1}">
            <pc226:cmChg xmlns:pc226="http://schemas.microsoft.com/office/powerpoint/2022/06/main/command" chg="mod">
              <pc226:chgData name="Era Poudel" userId="4038d143-4a25-4ddb-a450-cddf29410981" providerId="ADAL" clId="{AAB933D7-6A78-4888-8215-E15D581A059E}" dt="2025-01-19T20:14:57.424" v="636" actId="20577"/>
              <pc2:cmMkLst xmlns:pc2="http://schemas.microsoft.com/office/powerpoint/2019/9/main/command">
                <pc:docMk/>
                <pc:sldMk cId="3998095132" sldId="426"/>
                <pc2:cmMk id="{82EF1C8B-4A38-4CFF-B0BF-1BF3F44AD8B2}"/>
              </pc2:cmMkLst>
            </pc226:cmChg>
            <pc226:cmChg xmlns:pc226="http://schemas.microsoft.com/office/powerpoint/2022/06/main/command" chg="mod">
              <pc226:chgData name="Era Poudel" userId="4038d143-4a25-4ddb-a450-cddf29410981" providerId="ADAL" clId="{AAB933D7-6A78-4888-8215-E15D581A059E}" dt="2025-01-20T16:47:47.218" v="4300"/>
              <pc2:cmMkLst xmlns:pc2="http://schemas.microsoft.com/office/powerpoint/2019/9/main/command">
                <pc:docMk/>
                <pc:sldMk cId="3998095132" sldId="426"/>
                <pc2:cmMk id="{912C67E9-943B-4FE4-82BE-9410B40C3B3F}"/>
              </pc2:cmMkLst>
            </pc226:cmChg>
          </p:ext>
        </pc:extLst>
      </pc:sldChg>
      <pc:sldChg chg="addSp delSp modSp del mod">
        <pc:chgData name="Era Poudel" userId="4038d143-4a25-4ddb-a450-cddf29410981" providerId="ADAL" clId="{AAB933D7-6A78-4888-8215-E15D581A059E}" dt="2025-01-19T20:16:03.601" v="647" actId="47"/>
        <pc:sldMkLst>
          <pc:docMk/>
          <pc:sldMk cId="2464115165" sldId="427"/>
        </pc:sldMkLst>
      </pc:sldChg>
      <pc:sldChg chg="modSp del mod">
        <pc:chgData name="Era Poudel" userId="4038d143-4a25-4ddb-a450-cddf29410981" providerId="ADAL" clId="{AAB933D7-6A78-4888-8215-E15D581A059E}" dt="2025-01-26T14:46:16.351" v="6634" actId="47"/>
        <pc:sldMkLst>
          <pc:docMk/>
          <pc:sldMk cId="1509426377" sldId="428"/>
        </pc:sldMkLst>
      </pc:sldChg>
      <pc:sldChg chg="modSp del mod">
        <pc:chgData name="Era Poudel" userId="4038d143-4a25-4ddb-a450-cddf29410981" providerId="ADAL" clId="{AAB933D7-6A78-4888-8215-E15D581A059E}" dt="2025-01-19T22:58:45.324" v="3014" actId="47"/>
        <pc:sldMkLst>
          <pc:docMk/>
          <pc:sldMk cId="193242376" sldId="429"/>
        </pc:sldMkLst>
      </pc:sldChg>
      <pc:sldChg chg="modSp del mod">
        <pc:chgData name="Era Poudel" userId="4038d143-4a25-4ddb-a450-cddf29410981" providerId="ADAL" clId="{AAB933D7-6A78-4888-8215-E15D581A059E}" dt="2025-01-19T22:58:47.973" v="3015" actId="47"/>
        <pc:sldMkLst>
          <pc:docMk/>
          <pc:sldMk cId="359154565" sldId="430"/>
        </pc:sldMkLst>
      </pc:sldChg>
      <pc:sldChg chg="modSp mod">
        <pc:chgData name="Era Poudel" userId="4038d143-4a25-4ddb-a450-cddf29410981" providerId="ADAL" clId="{AAB933D7-6A78-4888-8215-E15D581A059E}" dt="2025-01-28T16:45:28.049" v="8641" actId="790"/>
        <pc:sldMkLst>
          <pc:docMk/>
          <pc:sldMk cId="2492418948" sldId="431"/>
        </pc:sldMkLst>
        <pc:spChg chg="mod">
          <ac:chgData name="Era Poudel" userId="4038d143-4a25-4ddb-a450-cddf29410981" providerId="ADAL" clId="{AAB933D7-6A78-4888-8215-E15D581A059E}" dt="2025-01-28T16:45:28.049" v="8641" actId="790"/>
          <ac:spMkLst>
            <pc:docMk/>
            <pc:sldMk cId="2492418948" sldId="431"/>
            <ac:spMk id="8" creationId="{CE749D75-BB64-EA3F-4A37-8B6B98B5B366}"/>
          </ac:spMkLst>
        </pc:spChg>
        <pc:spChg chg="mod">
          <ac:chgData name="Era Poudel" userId="4038d143-4a25-4ddb-a450-cddf29410981" providerId="ADAL" clId="{AAB933D7-6A78-4888-8215-E15D581A059E}" dt="2025-01-28T16:45:28.049" v="8641" actId="790"/>
          <ac:spMkLst>
            <pc:docMk/>
            <pc:sldMk cId="2492418948" sldId="431"/>
            <ac:spMk id="9" creationId="{BC21C8CF-539D-E464-29F1-01ECBED7D0F4}"/>
          </ac:spMkLst>
        </pc:spChg>
        <pc:spChg chg="mod">
          <ac:chgData name="Era Poudel" userId="4038d143-4a25-4ddb-a450-cddf29410981" providerId="ADAL" clId="{AAB933D7-6A78-4888-8215-E15D581A059E}" dt="2025-01-28T16:45:28.049" v="8641" actId="790"/>
          <ac:spMkLst>
            <pc:docMk/>
            <pc:sldMk cId="2492418948" sldId="431"/>
            <ac:spMk id="18" creationId="{A6C3DFE2-1650-D046-8C5B-F8C5382E8E92}"/>
          </ac:spMkLst>
        </pc:spChg>
      </pc:sldChg>
      <pc:sldChg chg="modSp mod">
        <pc:chgData name="Era Poudel" userId="4038d143-4a25-4ddb-a450-cddf29410981" providerId="ADAL" clId="{AAB933D7-6A78-4888-8215-E15D581A059E}" dt="2025-01-28T16:45:28.049" v="8641" actId="790"/>
        <pc:sldMkLst>
          <pc:docMk/>
          <pc:sldMk cId="1100900693" sldId="432"/>
        </pc:sldMkLst>
        <pc:spChg chg="mod">
          <ac:chgData name="Era Poudel" userId="4038d143-4a25-4ddb-a450-cddf29410981" providerId="ADAL" clId="{AAB933D7-6A78-4888-8215-E15D581A059E}" dt="2025-01-28T16:45:28.049" v="8641" actId="790"/>
          <ac:spMkLst>
            <pc:docMk/>
            <pc:sldMk cId="1100900693" sldId="432"/>
            <ac:spMk id="3" creationId="{C2FE8ABF-7C2C-85C4-F80B-42C2FE4E59C6}"/>
          </ac:spMkLst>
        </pc:spChg>
      </pc:sldChg>
      <pc:sldChg chg="modSp mod">
        <pc:chgData name="Era Poudel" userId="4038d143-4a25-4ddb-a450-cddf29410981" providerId="ADAL" clId="{AAB933D7-6A78-4888-8215-E15D581A059E}" dt="2025-01-28T16:45:28.049" v="8641" actId="790"/>
        <pc:sldMkLst>
          <pc:docMk/>
          <pc:sldMk cId="3629467396" sldId="433"/>
        </pc:sldMkLst>
        <pc:spChg chg="mod">
          <ac:chgData name="Era Poudel" userId="4038d143-4a25-4ddb-a450-cddf29410981" providerId="ADAL" clId="{AAB933D7-6A78-4888-8215-E15D581A059E}" dt="2025-01-28T16:45:28.049" v="8641" actId="790"/>
          <ac:spMkLst>
            <pc:docMk/>
            <pc:sldMk cId="3629467396" sldId="433"/>
            <ac:spMk id="3" creationId="{C2FE8ABF-7C2C-85C4-F80B-42C2FE4E59C6}"/>
          </ac:spMkLst>
        </pc:spChg>
      </pc:sldChg>
      <pc:sldChg chg="addSp delSp modSp mod">
        <pc:chgData name="Era Poudel" userId="4038d143-4a25-4ddb-a450-cddf29410981" providerId="ADAL" clId="{AAB933D7-6A78-4888-8215-E15D581A059E}" dt="2025-01-28T17:03:41.496" v="8693" actId="1076"/>
        <pc:sldMkLst>
          <pc:docMk/>
          <pc:sldMk cId="2283035292" sldId="439"/>
        </pc:sldMkLst>
        <pc:spChg chg="mod">
          <ac:chgData name="Era Poudel" userId="4038d143-4a25-4ddb-a450-cddf29410981" providerId="ADAL" clId="{AAB933D7-6A78-4888-8215-E15D581A059E}" dt="2025-01-28T16:45:28.049" v="8641" actId="790"/>
          <ac:spMkLst>
            <pc:docMk/>
            <pc:sldMk cId="2283035292" sldId="439"/>
            <ac:spMk id="3" creationId="{81C61E71-754B-E79D-FAEF-B7D9E0483FDF}"/>
          </ac:spMkLst>
        </pc:spChg>
        <pc:spChg chg="mod">
          <ac:chgData name="Era Poudel" userId="4038d143-4a25-4ddb-a450-cddf29410981" providerId="ADAL" clId="{AAB933D7-6A78-4888-8215-E15D581A059E}" dt="2025-01-28T16:45:28.049" v="8641" actId="790"/>
          <ac:spMkLst>
            <pc:docMk/>
            <pc:sldMk cId="2283035292" sldId="439"/>
            <ac:spMk id="10" creationId="{9550A66F-F2E4-1942-A8B1-E2E67986ED34}"/>
          </ac:spMkLst>
        </pc:spChg>
      </pc:sldChg>
      <pc:sldChg chg="modSp mod">
        <pc:chgData name="Era Poudel" userId="4038d143-4a25-4ddb-a450-cddf29410981" providerId="ADAL" clId="{AAB933D7-6A78-4888-8215-E15D581A059E}" dt="2025-01-28T16:45:28.049" v="8641" actId="790"/>
        <pc:sldMkLst>
          <pc:docMk/>
          <pc:sldMk cId="1009469891" sldId="440"/>
        </pc:sldMkLst>
        <pc:spChg chg="mod">
          <ac:chgData name="Era Poudel" userId="4038d143-4a25-4ddb-a450-cddf29410981" providerId="ADAL" clId="{AAB933D7-6A78-4888-8215-E15D581A059E}" dt="2025-01-28T16:45:28.049" v="8641" actId="790"/>
          <ac:spMkLst>
            <pc:docMk/>
            <pc:sldMk cId="1009469891" sldId="440"/>
            <ac:spMk id="2" creationId="{BF4A43F6-3684-F5A5-85F1-EEDC996D624E}"/>
          </ac:spMkLst>
        </pc:spChg>
        <pc:spChg chg="mod">
          <ac:chgData name="Era Poudel" userId="4038d143-4a25-4ddb-a450-cddf29410981" providerId="ADAL" clId="{AAB933D7-6A78-4888-8215-E15D581A059E}" dt="2025-01-28T16:45:28.049" v="8641" actId="790"/>
          <ac:spMkLst>
            <pc:docMk/>
            <pc:sldMk cId="1009469891" sldId="440"/>
            <ac:spMk id="3" creationId="{F6F5A270-E5B3-1C34-7F0A-AEC95FE0FDDA}"/>
          </ac:spMkLst>
        </pc:spChg>
        <pc:spChg chg="mod">
          <ac:chgData name="Era Poudel" userId="4038d143-4a25-4ddb-a450-cddf29410981" providerId="ADAL" clId="{AAB933D7-6A78-4888-8215-E15D581A059E}" dt="2025-01-28T16:45:28.049" v="8641" actId="790"/>
          <ac:spMkLst>
            <pc:docMk/>
            <pc:sldMk cId="1009469891" sldId="440"/>
            <ac:spMk id="7" creationId="{26900DB9-ED99-E2E2-04B6-E1B0CDCDAA93}"/>
          </ac:spMkLst>
        </pc:spChg>
        <pc:spChg chg="mod">
          <ac:chgData name="Era Poudel" userId="4038d143-4a25-4ddb-a450-cddf29410981" providerId="ADAL" clId="{AAB933D7-6A78-4888-8215-E15D581A059E}" dt="2025-01-28T16:45:28.049" v="8641" actId="790"/>
          <ac:spMkLst>
            <pc:docMk/>
            <pc:sldMk cId="1009469891" sldId="440"/>
            <ac:spMk id="8" creationId="{EAE65E17-24BD-9146-7605-4AD45B45C364}"/>
          </ac:spMkLst>
        </pc:spChg>
        <pc:spChg chg="mod">
          <ac:chgData name="Era Poudel" userId="4038d143-4a25-4ddb-a450-cddf29410981" providerId="ADAL" clId="{AAB933D7-6A78-4888-8215-E15D581A059E}" dt="2025-01-28T16:45:28.049" v="8641" actId="790"/>
          <ac:spMkLst>
            <pc:docMk/>
            <pc:sldMk cId="1009469891" sldId="440"/>
            <ac:spMk id="9" creationId="{B6B497AA-972B-9F4E-E175-1E7500A7D45E}"/>
          </ac:spMkLst>
        </pc:spChg>
        <pc:spChg chg="mod">
          <ac:chgData name="Era Poudel" userId="4038d143-4a25-4ddb-a450-cddf29410981" providerId="ADAL" clId="{AAB933D7-6A78-4888-8215-E15D581A059E}" dt="2025-01-28T16:45:28.049" v="8641" actId="790"/>
          <ac:spMkLst>
            <pc:docMk/>
            <pc:sldMk cId="1009469891" sldId="440"/>
            <ac:spMk id="10" creationId="{524DDB5D-2C36-2D8F-EE1D-A2D0A61EFFA9}"/>
          </ac:spMkLst>
        </pc:spChg>
      </pc:sldChg>
      <pc:sldChg chg="addSp delSp modSp add mod">
        <pc:chgData name="Era Poudel" userId="4038d143-4a25-4ddb-a450-cddf29410981" providerId="ADAL" clId="{AAB933D7-6A78-4888-8215-E15D581A059E}" dt="2025-01-28T16:45:28.049" v="8641" actId="790"/>
        <pc:sldMkLst>
          <pc:docMk/>
          <pc:sldMk cId="3703175277" sldId="441"/>
        </pc:sldMkLst>
        <pc:spChg chg="mod">
          <ac:chgData name="Era Poudel" userId="4038d143-4a25-4ddb-a450-cddf29410981" providerId="ADAL" clId="{AAB933D7-6A78-4888-8215-E15D581A059E}" dt="2025-01-28T16:45:28.049" v="8641" actId="790"/>
          <ac:spMkLst>
            <pc:docMk/>
            <pc:sldMk cId="3703175277" sldId="441"/>
            <ac:spMk id="3" creationId="{2E720F74-6C21-BE3B-855D-75E2441BE21D}"/>
          </ac:spMkLst>
        </pc:spChg>
        <pc:spChg chg="mod">
          <ac:chgData name="Era Poudel" userId="4038d143-4a25-4ddb-a450-cddf29410981" providerId="ADAL" clId="{AAB933D7-6A78-4888-8215-E15D581A059E}" dt="2025-01-28T16:45:28.049" v="8641" actId="790"/>
          <ac:spMkLst>
            <pc:docMk/>
            <pc:sldMk cId="3703175277" sldId="441"/>
            <ac:spMk id="4" creationId="{69B63D2F-BFD4-A1F4-6400-2D37EFA79895}"/>
          </ac:spMkLst>
        </pc:spChg>
        <pc:spChg chg="mod">
          <ac:chgData name="Era Poudel" userId="4038d143-4a25-4ddb-a450-cddf29410981" providerId="ADAL" clId="{AAB933D7-6A78-4888-8215-E15D581A059E}" dt="2025-01-28T16:45:28.049" v="8641" actId="790"/>
          <ac:spMkLst>
            <pc:docMk/>
            <pc:sldMk cId="3703175277" sldId="441"/>
            <ac:spMk id="7" creationId="{07040397-228E-6D70-AECA-AD5770BA7339}"/>
          </ac:spMkLst>
        </pc:spChg>
      </pc:sldChg>
      <pc:sldChg chg="addSp delSp modSp add mod ord">
        <pc:chgData name="Era Poudel" userId="4038d143-4a25-4ddb-a450-cddf29410981" providerId="ADAL" clId="{AAB933D7-6A78-4888-8215-E15D581A059E}" dt="2025-01-20T16:57:59.001" v="4865" actId="20577"/>
        <pc:sldMkLst>
          <pc:docMk/>
          <pc:sldMk cId="788011974" sldId="442"/>
        </pc:sldMkLst>
      </pc:sldChg>
      <pc:sldChg chg="modSp mod">
        <pc:chgData name="Era Poudel" userId="4038d143-4a25-4ddb-a450-cddf29410981" providerId="ADAL" clId="{AAB933D7-6A78-4888-8215-E15D581A059E}" dt="2025-01-28T16:45:28.049" v="8641" actId="790"/>
        <pc:sldMkLst>
          <pc:docMk/>
          <pc:sldMk cId="2161542675" sldId="443"/>
        </pc:sldMkLst>
        <pc:spChg chg="mod">
          <ac:chgData name="Era Poudel" userId="4038d143-4a25-4ddb-a450-cddf29410981" providerId="ADAL" clId="{AAB933D7-6A78-4888-8215-E15D581A059E}" dt="2025-01-28T16:45:28.049" v="8641" actId="790"/>
          <ac:spMkLst>
            <pc:docMk/>
            <pc:sldMk cId="2161542675" sldId="443"/>
            <ac:spMk id="7" creationId="{34DDB025-CF77-8FB2-D983-95379F7E3DA2}"/>
          </ac:spMkLst>
        </pc:spChg>
        <pc:spChg chg="mod">
          <ac:chgData name="Era Poudel" userId="4038d143-4a25-4ddb-a450-cddf29410981" providerId="ADAL" clId="{AAB933D7-6A78-4888-8215-E15D581A059E}" dt="2025-01-28T16:45:28.049" v="8641" actId="790"/>
          <ac:spMkLst>
            <pc:docMk/>
            <pc:sldMk cId="2161542675" sldId="443"/>
            <ac:spMk id="8" creationId="{05F98F18-E122-0D7D-F115-4F947744DAF8}"/>
          </ac:spMkLst>
        </pc:spChg>
        <pc:spChg chg="mod">
          <ac:chgData name="Era Poudel" userId="4038d143-4a25-4ddb-a450-cddf29410981" providerId="ADAL" clId="{AAB933D7-6A78-4888-8215-E15D581A059E}" dt="2025-01-28T16:45:28.049" v="8641" actId="790"/>
          <ac:spMkLst>
            <pc:docMk/>
            <pc:sldMk cId="2161542675" sldId="443"/>
            <ac:spMk id="10" creationId="{D3DCE5C9-309C-EB72-77C5-9F9F7226E956}"/>
          </ac:spMkLst>
        </pc:spChg>
        <pc:spChg chg="mod">
          <ac:chgData name="Era Poudel" userId="4038d143-4a25-4ddb-a450-cddf29410981" providerId="ADAL" clId="{AAB933D7-6A78-4888-8215-E15D581A059E}" dt="2025-01-28T16:45:28.049" v="8641" actId="790"/>
          <ac:spMkLst>
            <pc:docMk/>
            <pc:sldMk cId="2161542675" sldId="443"/>
            <ac:spMk id="11" creationId="{15105156-EA42-4204-7CEA-2C34DDC9F965}"/>
          </ac:spMkLst>
        </pc:spChg>
        <pc:spChg chg="mod">
          <ac:chgData name="Era Poudel" userId="4038d143-4a25-4ddb-a450-cddf29410981" providerId="ADAL" clId="{AAB933D7-6A78-4888-8215-E15D581A059E}" dt="2025-01-28T16:45:28.049" v="8641" actId="790"/>
          <ac:spMkLst>
            <pc:docMk/>
            <pc:sldMk cId="2161542675" sldId="443"/>
            <ac:spMk id="12" creationId="{4365DAFF-7F0A-59DA-3DB5-ACA5E40F77D3}"/>
          </ac:spMkLst>
        </pc:spChg>
        <pc:spChg chg="mod">
          <ac:chgData name="Era Poudel" userId="4038d143-4a25-4ddb-a450-cddf29410981" providerId="ADAL" clId="{AAB933D7-6A78-4888-8215-E15D581A059E}" dt="2025-01-28T16:45:28.049" v="8641" actId="790"/>
          <ac:spMkLst>
            <pc:docMk/>
            <pc:sldMk cId="2161542675" sldId="443"/>
            <ac:spMk id="16" creationId="{35575719-D2CF-61D5-E851-E011B87C7DE9}"/>
          </ac:spMkLst>
        </pc:spChg>
        <pc:spChg chg="mod">
          <ac:chgData name="Era Poudel" userId="4038d143-4a25-4ddb-a450-cddf29410981" providerId="ADAL" clId="{AAB933D7-6A78-4888-8215-E15D581A059E}" dt="2025-01-28T16:45:28.049" v="8641" actId="790"/>
          <ac:spMkLst>
            <pc:docMk/>
            <pc:sldMk cId="2161542675" sldId="443"/>
            <ac:spMk id="17" creationId="{06BCB1F9-9216-DDAA-B85B-080B098309C0}"/>
          </ac:spMkLst>
        </pc:spChg>
        <pc:spChg chg="mod">
          <ac:chgData name="Era Poudel" userId="4038d143-4a25-4ddb-a450-cddf29410981" providerId="ADAL" clId="{AAB933D7-6A78-4888-8215-E15D581A059E}" dt="2025-01-28T16:45:28.049" v="8641" actId="790"/>
          <ac:spMkLst>
            <pc:docMk/>
            <pc:sldMk cId="2161542675" sldId="443"/>
            <ac:spMk id="19" creationId="{E5323FBE-D6B8-546D-A78E-764727B6D58A}"/>
          </ac:spMkLst>
        </pc:spChg>
      </pc:sldChg>
      <pc:sldChg chg="modSp mod">
        <pc:chgData name="Era Poudel" userId="4038d143-4a25-4ddb-a450-cddf29410981" providerId="ADAL" clId="{AAB933D7-6A78-4888-8215-E15D581A059E}" dt="2025-01-28T16:45:28.049" v="8641" actId="790"/>
        <pc:sldMkLst>
          <pc:docMk/>
          <pc:sldMk cId="1116173053" sldId="444"/>
        </pc:sldMkLst>
        <pc:spChg chg="mod">
          <ac:chgData name="Era Poudel" userId="4038d143-4a25-4ddb-a450-cddf29410981" providerId="ADAL" clId="{AAB933D7-6A78-4888-8215-E15D581A059E}" dt="2025-01-28T16:45:28.049" v="8641" actId="790"/>
          <ac:spMkLst>
            <pc:docMk/>
            <pc:sldMk cId="1116173053" sldId="444"/>
            <ac:spMk id="2" creationId="{FE3A5165-8DD7-B00A-7B51-96C83EC80066}"/>
          </ac:spMkLst>
        </pc:spChg>
        <pc:spChg chg="mod">
          <ac:chgData name="Era Poudel" userId="4038d143-4a25-4ddb-a450-cddf29410981" providerId="ADAL" clId="{AAB933D7-6A78-4888-8215-E15D581A059E}" dt="2025-01-28T16:45:28.049" v="8641" actId="790"/>
          <ac:spMkLst>
            <pc:docMk/>
            <pc:sldMk cId="1116173053" sldId="444"/>
            <ac:spMk id="8" creationId="{3A987905-292E-A4F9-2E07-B4E9F0025B5D}"/>
          </ac:spMkLst>
        </pc:spChg>
        <pc:spChg chg="mod">
          <ac:chgData name="Era Poudel" userId="4038d143-4a25-4ddb-a450-cddf29410981" providerId="ADAL" clId="{AAB933D7-6A78-4888-8215-E15D581A059E}" dt="2025-01-28T16:45:28.049" v="8641" actId="790"/>
          <ac:spMkLst>
            <pc:docMk/>
            <pc:sldMk cId="1116173053" sldId="444"/>
            <ac:spMk id="9" creationId="{D89EDD80-F857-6FEB-FBF2-91AA507EF78B}"/>
          </ac:spMkLst>
        </pc:spChg>
        <pc:spChg chg="mod">
          <ac:chgData name="Era Poudel" userId="4038d143-4a25-4ddb-a450-cddf29410981" providerId="ADAL" clId="{AAB933D7-6A78-4888-8215-E15D581A059E}" dt="2025-01-28T16:45:28.049" v="8641" actId="790"/>
          <ac:spMkLst>
            <pc:docMk/>
            <pc:sldMk cId="1116173053" sldId="444"/>
            <ac:spMk id="11" creationId="{30B04ABB-B78A-D7D6-01DA-075101690E90}"/>
          </ac:spMkLst>
        </pc:spChg>
        <pc:spChg chg="mod">
          <ac:chgData name="Era Poudel" userId="4038d143-4a25-4ddb-a450-cddf29410981" providerId="ADAL" clId="{AAB933D7-6A78-4888-8215-E15D581A059E}" dt="2025-01-28T16:45:28.049" v="8641" actId="790"/>
          <ac:spMkLst>
            <pc:docMk/>
            <pc:sldMk cId="1116173053" sldId="444"/>
            <ac:spMk id="12" creationId="{11FB9F20-E237-063A-5F99-AE758BBF744D}"/>
          </ac:spMkLst>
        </pc:spChg>
        <pc:spChg chg="mod">
          <ac:chgData name="Era Poudel" userId="4038d143-4a25-4ddb-a450-cddf29410981" providerId="ADAL" clId="{AAB933D7-6A78-4888-8215-E15D581A059E}" dt="2025-01-28T16:45:28.049" v="8641" actId="790"/>
          <ac:spMkLst>
            <pc:docMk/>
            <pc:sldMk cId="1116173053" sldId="444"/>
            <ac:spMk id="14" creationId="{67FEBB0D-D345-75CE-2467-90862F8CD441}"/>
          </ac:spMkLst>
        </pc:spChg>
        <pc:spChg chg="mod">
          <ac:chgData name="Era Poudel" userId="4038d143-4a25-4ddb-a450-cddf29410981" providerId="ADAL" clId="{AAB933D7-6A78-4888-8215-E15D581A059E}" dt="2025-01-28T16:45:28.049" v="8641" actId="790"/>
          <ac:spMkLst>
            <pc:docMk/>
            <pc:sldMk cId="1116173053" sldId="444"/>
            <ac:spMk id="15" creationId="{F784B3E2-E9EE-4D58-BC57-429016C640F6}"/>
          </ac:spMkLst>
        </pc:spChg>
        <pc:spChg chg="mod">
          <ac:chgData name="Era Poudel" userId="4038d143-4a25-4ddb-a450-cddf29410981" providerId="ADAL" clId="{AAB933D7-6A78-4888-8215-E15D581A059E}" dt="2025-01-28T16:45:28.049" v="8641" actId="790"/>
          <ac:spMkLst>
            <pc:docMk/>
            <pc:sldMk cId="1116173053" sldId="444"/>
            <ac:spMk id="16" creationId="{553BB643-8389-7718-52EA-0A379637AF0A}"/>
          </ac:spMkLst>
        </pc:spChg>
        <pc:spChg chg="mod">
          <ac:chgData name="Era Poudel" userId="4038d143-4a25-4ddb-a450-cddf29410981" providerId="ADAL" clId="{AAB933D7-6A78-4888-8215-E15D581A059E}" dt="2025-01-28T16:45:28.049" v="8641" actId="790"/>
          <ac:spMkLst>
            <pc:docMk/>
            <pc:sldMk cId="1116173053" sldId="444"/>
            <ac:spMk id="20" creationId="{ADB275A6-C53A-7E16-0F8B-E7526A30BE8E}"/>
          </ac:spMkLst>
        </pc:spChg>
        <pc:spChg chg="mod">
          <ac:chgData name="Era Poudel" userId="4038d143-4a25-4ddb-a450-cddf29410981" providerId="ADAL" clId="{AAB933D7-6A78-4888-8215-E15D581A059E}" dt="2025-01-28T16:45:28.049" v="8641" actId="790"/>
          <ac:spMkLst>
            <pc:docMk/>
            <pc:sldMk cId="1116173053" sldId="444"/>
            <ac:spMk id="23" creationId="{2785BB2D-B0B1-8459-16E4-9FAEC5F1B39C}"/>
          </ac:spMkLst>
        </pc:spChg>
      </pc:sldChg>
      <pc:sldChg chg="modSp mod">
        <pc:chgData name="Era Poudel" userId="4038d143-4a25-4ddb-a450-cddf29410981" providerId="ADAL" clId="{AAB933D7-6A78-4888-8215-E15D581A059E}" dt="2025-01-28T16:45:28.049" v="8641" actId="790"/>
        <pc:sldMkLst>
          <pc:docMk/>
          <pc:sldMk cId="1246978811" sldId="445"/>
        </pc:sldMkLst>
        <pc:spChg chg="mod">
          <ac:chgData name="Era Poudel" userId="4038d143-4a25-4ddb-a450-cddf29410981" providerId="ADAL" clId="{AAB933D7-6A78-4888-8215-E15D581A059E}" dt="2025-01-28T16:45:28.049" v="8641" actId="790"/>
          <ac:spMkLst>
            <pc:docMk/>
            <pc:sldMk cId="1246978811" sldId="445"/>
            <ac:spMk id="7" creationId="{07040397-228E-6D70-AECA-AD5770BA7339}"/>
          </ac:spMkLst>
        </pc:spChg>
        <pc:spChg chg="mod">
          <ac:chgData name="Era Poudel" userId="4038d143-4a25-4ddb-a450-cddf29410981" providerId="ADAL" clId="{AAB933D7-6A78-4888-8215-E15D581A059E}" dt="2025-01-28T16:45:28.049" v="8641" actId="790"/>
          <ac:spMkLst>
            <pc:docMk/>
            <pc:sldMk cId="1246978811" sldId="445"/>
            <ac:spMk id="17" creationId="{95B4223F-CAFF-D66C-4B7C-D1F3986CE40C}"/>
          </ac:spMkLst>
        </pc:spChg>
      </pc:sldChg>
      <pc:sldChg chg="modSp mod">
        <pc:chgData name="Era Poudel" userId="4038d143-4a25-4ddb-a450-cddf29410981" providerId="ADAL" clId="{AAB933D7-6A78-4888-8215-E15D581A059E}" dt="2025-01-28T16:52:57.664" v="8657" actId="20577"/>
        <pc:sldMkLst>
          <pc:docMk/>
          <pc:sldMk cId="2173768082" sldId="446"/>
        </pc:sldMkLst>
        <pc:spChg chg="mod">
          <ac:chgData name="Era Poudel" userId="4038d143-4a25-4ddb-a450-cddf29410981" providerId="ADAL" clId="{AAB933D7-6A78-4888-8215-E15D581A059E}" dt="2025-01-28T16:45:28.049" v="8641" actId="790"/>
          <ac:spMkLst>
            <pc:docMk/>
            <pc:sldMk cId="2173768082" sldId="446"/>
            <ac:spMk id="3" creationId="{2E720F74-6C21-BE3B-855D-75E2441BE21D}"/>
          </ac:spMkLst>
        </pc:spChg>
        <pc:spChg chg="mod">
          <ac:chgData name="Era Poudel" userId="4038d143-4a25-4ddb-a450-cddf29410981" providerId="ADAL" clId="{AAB933D7-6A78-4888-8215-E15D581A059E}" dt="2025-01-28T16:45:28.049" v="8641" actId="790"/>
          <ac:spMkLst>
            <pc:docMk/>
            <pc:sldMk cId="2173768082" sldId="446"/>
            <ac:spMk id="16" creationId="{73BC4713-A009-DDD6-7159-AB65EAED2BE8}"/>
          </ac:spMkLst>
        </pc:spChg>
      </pc:sldChg>
      <pc:sldChg chg="modSp mod">
        <pc:chgData name="Era Poudel" userId="4038d143-4a25-4ddb-a450-cddf29410981" providerId="ADAL" clId="{AAB933D7-6A78-4888-8215-E15D581A059E}" dt="2025-01-28T16:45:28.049" v="8641" actId="790"/>
        <pc:sldMkLst>
          <pc:docMk/>
          <pc:sldMk cId="1795976439" sldId="447"/>
        </pc:sldMkLst>
        <pc:spChg chg="mod">
          <ac:chgData name="Era Poudel" userId="4038d143-4a25-4ddb-a450-cddf29410981" providerId="ADAL" clId="{AAB933D7-6A78-4888-8215-E15D581A059E}" dt="2025-01-28T16:45:28.049" v="8641" actId="790"/>
          <ac:spMkLst>
            <pc:docMk/>
            <pc:sldMk cId="1795976439" sldId="447"/>
            <ac:spMk id="3" creationId="{2E720F74-6C21-BE3B-855D-75E2441BE21D}"/>
          </ac:spMkLst>
        </pc:spChg>
        <pc:spChg chg="mod">
          <ac:chgData name="Era Poudel" userId="4038d143-4a25-4ddb-a450-cddf29410981" providerId="ADAL" clId="{AAB933D7-6A78-4888-8215-E15D581A059E}" dt="2025-01-28T16:45:28.049" v="8641" actId="790"/>
          <ac:spMkLst>
            <pc:docMk/>
            <pc:sldMk cId="1795976439" sldId="447"/>
            <ac:spMk id="7" creationId="{07040397-228E-6D70-AECA-AD5770BA7339}"/>
          </ac:spMkLst>
        </pc:spChg>
      </pc:sldChg>
      <pc:sldChg chg="modSp mod">
        <pc:chgData name="Era Poudel" userId="4038d143-4a25-4ddb-a450-cddf29410981" providerId="ADAL" clId="{AAB933D7-6A78-4888-8215-E15D581A059E}" dt="2025-01-28T17:14:40.410" v="8715" actId="1076"/>
        <pc:sldMkLst>
          <pc:docMk/>
          <pc:sldMk cId="40871408" sldId="449"/>
        </pc:sldMkLst>
        <pc:spChg chg="mod">
          <ac:chgData name="Era Poudel" userId="4038d143-4a25-4ddb-a450-cddf29410981" providerId="ADAL" clId="{AAB933D7-6A78-4888-8215-E15D581A059E}" dt="2025-01-28T16:45:28.049" v="8641" actId="790"/>
          <ac:spMkLst>
            <pc:docMk/>
            <pc:sldMk cId="40871408" sldId="449"/>
            <ac:spMk id="15" creationId="{F558FF3A-D0CA-2618-B118-4510201FB3D0}"/>
          </ac:spMkLst>
        </pc:spChg>
      </pc:sldChg>
      <pc:sldChg chg="modSp mod">
        <pc:chgData name="Era Poudel" userId="4038d143-4a25-4ddb-a450-cddf29410981" providerId="ADAL" clId="{AAB933D7-6A78-4888-8215-E15D581A059E}" dt="2025-01-20T16:40:44.256" v="3975" actId="20577"/>
        <pc:sldMkLst>
          <pc:docMk/>
          <pc:sldMk cId="2869791631" sldId="451"/>
        </pc:sldMkLst>
      </pc:sldChg>
      <pc:sldChg chg="modSp mod">
        <pc:chgData name="Era Poudel" userId="4038d143-4a25-4ddb-a450-cddf29410981" providerId="ADAL" clId="{AAB933D7-6A78-4888-8215-E15D581A059E}" dt="2025-01-28T17:17:26.596" v="8717" actId="2711"/>
        <pc:sldMkLst>
          <pc:docMk/>
          <pc:sldMk cId="1212062671" sldId="452"/>
        </pc:sldMkLst>
        <pc:spChg chg="mod">
          <ac:chgData name="Era Poudel" userId="4038d143-4a25-4ddb-a450-cddf29410981" providerId="ADAL" clId="{AAB933D7-6A78-4888-8215-E15D581A059E}" dt="2025-01-28T16:45:28.049" v="8641" actId="790"/>
          <ac:spMkLst>
            <pc:docMk/>
            <pc:sldMk cId="1212062671" sldId="452"/>
            <ac:spMk id="3" creationId="{2E720F74-6C21-BE3B-855D-75E2441BE21D}"/>
          </ac:spMkLst>
        </pc:spChg>
        <pc:spChg chg="mod">
          <ac:chgData name="Era Poudel" userId="4038d143-4a25-4ddb-a450-cddf29410981" providerId="ADAL" clId="{AAB933D7-6A78-4888-8215-E15D581A059E}" dt="2025-01-28T16:45:28.049" v="8641" actId="790"/>
          <ac:spMkLst>
            <pc:docMk/>
            <pc:sldMk cId="1212062671" sldId="452"/>
            <ac:spMk id="16" creationId="{73BC4713-A009-DDD6-7159-AB65EAED2BE8}"/>
          </ac:spMkLst>
        </pc:spChg>
      </pc:sldChg>
      <pc:sldChg chg="addSp delSp modSp mod">
        <pc:chgData name="Era Poudel" userId="4038d143-4a25-4ddb-a450-cddf29410981" providerId="ADAL" clId="{AAB933D7-6A78-4888-8215-E15D581A059E}" dt="2025-01-28T16:45:28.049" v="8641" actId="790"/>
        <pc:sldMkLst>
          <pc:docMk/>
          <pc:sldMk cId="2230229810" sldId="453"/>
        </pc:sldMkLst>
        <pc:spChg chg="mod">
          <ac:chgData name="Era Poudel" userId="4038d143-4a25-4ddb-a450-cddf29410981" providerId="ADAL" clId="{AAB933D7-6A78-4888-8215-E15D581A059E}" dt="2025-01-28T16:45:28.049" v="8641" actId="790"/>
          <ac:spMkLst>
            <pc:docMk/>
            <pc:sldMk cId="2230229810" sldId="453"/>
            <ac:spMk id="3" creationId="{CE08FECA-0BAF-9D0E-C810-D24DA73619EB}"/>
          </ac:spMkLst>
        </pc:spChg>
      </pc:sldChg>
      <pc:sldChg chg="modSp mod">
        <pc:chgData name="Era Poudel" userId="4038d143-4a25-4ddb-a450-cddf29410981" providerId="ADAL" clId="{AAB933D7-6A78-4888-8215-E15D581A059E}" dt="2025-01-28T16:45:28.049" v="8641" actId="790"/>
        <pc:sldMkLst>
          <pc:docMk/>
          <pc:sldMk cId="2609831934" sldId="454"/>
        </pc:sldMkLst>
        <pc:spChg chg="mod">
          <ac:chgData name="Era Poudel" userId="4038d143-4a25-4ddb-a450-cddf29410981" providerId="ADAL" clId="{AAB933D7-6A78-4888-8215-E15D581A059E}" dt="2025-01-28T16:45:28.049" v="8641" actId="790"/>
          <ac:spMkLst>
            <pc:docMk/>
            <pc:sldMk cId="2609831934" sldId="454"/>
            <ac:spMk id="3" creationId="{800BBC24-67F8-648B-0BD7-C54DC3854CF9}"/>
          </ac:spMkLst>
        </pc:spChg>
        <pc:spChg chg="mod">
          <ac:chgData name="Era Poudel" userId="4038d143-4a25-4ddb-a450-cddf29410981" providerId="ADAL" clId="{AAB933D7-6A78-4888-8215-E15D581A059E}" dt="2025-01-28T16:45:28.049" v="8641" actId="790"/>
          <ac:spMkLst>
            <pc:docMk/>
            <pc:sldMk cId="2609831934" sldId="454"/>
            <ac:spMk id="6" creationId="{E79A5510-10BF-8D26-8B3F-39BC0A01A66D}"/>
          </ac:spMkLst>
        </pc:spChg>
        <pc:spChg chg="mod">
          <ac:chgData name="Era Poudel" userId="4038d143-4a25-4ddb-a450-cddf29410981" providerId="ADAL" clId="{AAB933D7-6A78-4888-8215-E15D581A059E}" dt="2025-01-28T16:45:28.049" v="8641" actId="790"/>
          <ac:spMkLst>
            <pc:docMk/>
            <pc:sldMk cId="2609831934" sldId="454"/>
            <ac:spMk id="16" creationId="{791D2476-F3EA-C90A-88C6-BBECDCB9EA6F}"/>
          </ac:spMkLst>
        </pc:spChg>
      </pc:sldChg>
      <pc:sldChg chg="addSp delSp modSp add del mod">
        <pc:chgData name="Era Poudel" userId="4038d143-4a25-4ddb-a450-cddf29410981" providerId="ADAL" clId="{AAB933D7-6A78-4888-8215-E15D581A059E}" dt="2025-01-26T14:46:09.200" v="6633" actId="47"/>
        <pc:sldMkLst>
          <pc:docMk/>
          <pc:sldMk cId="3180481810" sldId="455"/>
        </pc:sldMkLst>
      </pc:sldChg>
      <pc:sldChg chg="addSp delSp modSp add mod">
        <pc:chgData name="Era Poudel" userId="4038d143-4a25-4ddb-a450-cddf29410981" providerId="ADAL" clId="{AAB933D7-6A78-4888-8215-E15D581A059E}" dt="2025-01-28T16:45:28.049" v="8641" actId="790"/>
        <pc:sldMkLst>
          <pc:docMk/>
          <pc:sldMk cId="100426047" sldId="456"/>
        </pc:sldMkLst>
        <pc:spChg chg="mod">
          <ac:chgData name="Era Poudel" userId="4038d143-4a25-4ddb-a450-cddf29410981" providerId="ADAL" clId="{AAB933D7-6A78-4888-8215-E15D581A059E}" dt="2025-01-28T16:45:28.049" v="8641" actId="790"/>
          <ac:spMkLst>
            <pc:docMk/>
            <pc:sldMk cId="100426047" sldId="456"/>
            <ac:spMk id="3" creationId="{FD602980-CA1A-93D6-BD92-4D2E41E723D6}"/>
          </ac:spMkLst>
        </pc:spChg>
      </pc:sldChg>
      <pc:sldChg chg="addSp delSp modSp add mod ord">
        <pc:chgData name="Era Poudel" userId="4038d143-4a25-4ddb-a450-cddf29410981" providerId="ADAL" clId="{AAB933D7-6A78-4888-8215-E15D581A059E}" dt="2025-01-28T17:08:14.708" v="8696" actId="1076"/>
        <pc:sldMkLst>
          <pc:docMk/>
          <pc:sldMk cId="467972862" sldId="457"/>
        </pc:sldMkLst>
        <pc:spChg chg="mod">
          <ac:chgData name="Era Poudel" userId="4038d143-4a25-4ddb-a450-cddf29410981" providerId="ADAL" clId="{AAB933D7-6A78-4888-8215-E15D581A059E}" dt="2025-01-28T16:45:28.049" v="8641" actId="790"/>
          <ac:spMkLst>
            <pc:docMk/>
            <pc:sldMk cId="467972862" sldId="457"/>
            <ac:spMk id="3" creationId="{815F2D5E-D428-52A9-625D-94E5224D4002}"/>
          </ac:spMkLst>
        </pc:spChg>
        <pc:spChg chg="mod">
          <ac:chgData name="Era Poudel" userId="4038d143-4a25-4ddb-a450-cddf29410981" providerId="ADAL" clId="{AAB933D7-6A78-4888-8215-E15D581A059E}" dt="2025-01-28T16:45:28.049" v="8641" actId="790"/>
          <ac:spMkLst>
            <pc:docMk/>
            <pc:sldMk cId="467972862" sldId="457"/>
            <ac:spMk id="8" creationId="{0B6E2BC9-E8D4-F14A-057D-4A8BDBB2D897}"/>
          </ac:spMkLst>
        </pc:spChg>
        <pc:spChg chg="mod">
          <ac:chgData name="Era Poudel" userId="4038d143-4a25-4ddb-a450-cddf29410981" providerId="ADAL" clId="{AAB933D7-6A78-4888-8215-E15D581A059E}" dt="2025-01-28T16:45:28.049" v="8641" actId="790"/>
          <ac:spMkLst>
            <pc:docMk/>
            <pc:sldMk cId="467972862" sldId="457"/>
            <ac:spMk id="9" creationId="{A5298FEB-B714-1134-C7EE-B029AA85CF69}"/>
          </ac:spMkLst>
        </pc:spChg>
        <pc:spChg chg="add mod">
          <ac:chgData name="Era Poudel" userId="4038d143-4a25-4ddb-a450-cddf29410981" providerId="ADAL" clId="{AAB933D7-6A78-4888-8215-E15D581A059E}" dt="2025-01-28T17:08:14.708" v="8696" actId="1076"/>
          <ac:spMkLst>
            <pc:docMk/>
            <pc:sldMk cId="467972862" sldId="457"/>
            <ac:spMk id="10" creationId="{B3FA41C9-F5DC-FAC6-EFB6-33CB0BA1BB53}"/>
          </ac:spMkLst>
        </pc:spChg>
        <pc:picChg chg="mod">
          <ac:chgData name="Era Poudel" userId="4038d143-4a25-4ddb-a450-cddf29410981" providerId="ADAL" clId="{AAB933D7-6A78-4888-8215-E15D581A059E}" dt="2025-01-26T13:50:12.558" v="6626" actId="1076"/>
          <ac:picMkLst>
            <pc:docMk/>
            <pc:sldMk cId="467972862" sldId="457"/>
            <ac:picMk id="2" creationId="{BF8802D0-7D09-5BCA-7037-DA88CEFB88FD}"/>
          </ac:picMkLst>
        </pc:picChg>
      </pc:sldChg>
      <pc:sldChg chg="addSp modSp mod">
        <pc:chgData name="Era Poudel" userId="4038d143-4a25-4ddb-a450-cddf29410981" providerId="ADAL" clId="{AAB933D7-6A78-4888-8215-E15D581A059E}" dt="2025-01-28T16:45:28.049" v="8641" actId="790"/>
        <pc:sldMkLst>
          <pc:docMk/>
          <pc:sldMk cId="4294162477" sldId="458"/>
        </pc:sldMkLst>
        <pc:spChg chg="mod">
          <ac:chgData name="Era Poudel" userId="4038d143-4a25-4ddb-a450-cddf29410981" providerId="ADAL" clId="{AAB933D7-6A78-4888-8215-E15D581A059E}" dt="2025-01-28T16:45:28.049" v="8641" actId="790"/>
          <ac:spMkLst>
            <pc:docMk/>
            <pc:sldMk cId="4294162477" sldId="458"/>
            <ac:spMk id="3" creationId="{DD550A14-CFD2-0001-7E72-48D0B8AB7724}"/>
          </ac:spMkLst>
        </pc:spChg>
      </pc:sldChg>
      <pc:sldChg chg="modSp mod">
        <pc:chgData name="Era Poudel" userId="4038d143-4a25-4ddb-a450-cddf29410981" providerId="ADAL" clId="{AAB933D7-6A78-4888-8215-E15D581A059E}" dt="2025-01-28T16:45:28.049" v="8641" actId="790"/>
        <pc:sldMkLst>
          <pc:docMk/>
          <pc:sldMk cId="2438891682" sldId="459"/>
        </pc:sldMkLst>
        <pc:spChg chg="mod">
          <ac:chgData name="Era Poudel" userId="4038d143-4a25-4ddb-a450-cddf29410981" providerId="ADAL" clId="{AAB933D7-6A78-4888-8215-E15D581A059E}" dt="2025-01-28T16:45:28.049" v="8641" actId="790"/>
          <ac:spMkLst>
            <pc:docMk/>
            <pc:sldMk cId="2438891682" sldId="459"/>
            <ac:spMk id="7" creationId="{5683671F-B709-2722-C2D5-01D0DC15F77A}"/>
          </ac:spMkLst>
        </pc:spChg>
        <pc:spChg chg="mod">
          <ac:chgData name="Era Poudel" userId="4038d143-4a25-4ddb-a450-cddf29410981" providerId="ADAL" clId="{AAB933D7-6A78-4888-8215-E15D581A059E}" dt="2025-01-28T16:45:28.049" v="8641" actId="790"/>
          <ac:spMkLst>
            <pc:docMk/>
            <pc:sldMk cId="2438891682" sldId="459"/>
            <ac:spMk id="28" creationId="{E1A1C372-BFC7-A2DD-3B31-1DD6BBDA5EEF}"/>
          </ac:spMkLst>
        </pc:spChg>
        <pc:spChg chg="mod">
          <ac:chgData name="Era Poudel" userId="4038d143-4a25-4ddb-a450-cddf29410981" providerId="ADAL" clId="{AAB933D7-6A78-4888-8215-E15D581A059E}" dt="2025-01-28T16:45:28.049" v="8641" actId="790"/>
          <ac:spMkLst>
            <pc:docMk/>
            <pc:sldMk cId="2438891682" sldId="459"/>
            <ac:spMk id="32" creationId="{231C7506-DC96-5BA1-9803-0673B8B4F9B7}"/>
          </ac:spMkLst>
        </pc:spChg>
      </pc:sldChg>
      <pc:sldChg chg="modSp mod">
        <pc:chgData name="Era Poudel" userId="4038d143-4a25-4ddb-a450-cddf29410981" providerId="ADAL" clId="{AAB933D7-6A78-4888-8215-E15D581A059E}" dt="2025-01-28T16:45:28.049" v="8641" actId="790"/>
        <pc:sldMkLst>
          <pc:docMk/>
          <pc:sldMk cId="781101471" sldId="460"/>
        </pc:sldMkLst>
      </pc:sldChg>
      <pc:sldChg chg="modSp mod">
        <pc:chgData name="Era Poudel" userId="4038d143-4a25-4ddb-a450-cddf29410981" providerId="ADAL" clId="{AAB933D7-6A78-4888-8215-E15D581A059E}" dt="2025-01-28T16:45:28.049" v="8641" actId="790"/>
        <pc:sldMkLst>
          <pc:docMk/>
          <pc:sldMk cId="4245375291" sldId="461"/>
        </pc:sldMkLst>
        <pc:spChg chg="mod">
          <ac:chgData name="Era Poudel" userId="4038d143-4a25-4ddb-a450-cddf29410981" providerId="ADAL" clId="{AAB933D7-6A78-4888-8215-E15D581A059E}" dt="2025-01-28T16:45:28.049" v="8641" actId="790"/>
          <ac:spMkLst>
            <pc:docMk/>
            <pc:sldMk cId="4245375291" sldId="461"/>
            <ac:spMk id="3" creationId="{1F1929B6-EDD8-D763-5C76-B4B2EA32FA4A}"/>
          </ac:spMkLst>
        </pc:spChg>
        <pc:spChg chg="mod">
          <ac:chgData name="Era Poudel" userId="4038d143-4a25-4ddb-a450-cddf29410981" providerId="ADAL" clId="{AAB933D7-6A78-4888-8215-E15D581A059E}" dt="2025-01-28T16:45:28.049" v="8641" actId="790"/>
          <ac:spMkLst>
            <pc:docMk/>
            <pc:sldMk cId="4245375291" sldId="461"/>
            <ac:spMk id="11" creationId="{9FD96AF6-9C28-0307-4D9C-14AC1D3EBEAE}"/>
          </ac:spMkLst>
        </pc:spChg>
        <pc:spChg chg="mod">
          <ac:chgData name="Era Poudel" userId="4038d143-4a25-4ddb-a450-cddf29410981" providerId="ADAL" clId="{AAB933D7-6A78-4888-8215-E15D581A059E}" dt="2025-01-28T16:45:28.049" v="8641" actId="790"/>
          <ac:spMkLst>
            <pc:docMk/>
            <pc:sldMk cId="4245375291" sldId="461"/>
            <ac:spMk id="16" creationId="{6726D0D0-5B8E-F8B0-0329-5C211C4F0241}"/>
          </ac:spMkLst>
        </pc:spChg>
      </pc:sldChg>
      <pc:sldChg chg="modSp mod">
        <pc:chgData name="Era Poudel" userId="4038d143-4a25-4ddb-a450-cddf29410981" providerId="ADAL" clId="{AAB933D7-6A78-4888-8215-E15D581A059E}" dt="2025-01-28T17:15:26.046" v="8716" actId="313"/>
        <pc:sldMkLst>
          <pc:docMk/>
          <pc:sldMk cId="3515044065" sldId="462"/>
        </pc:sldMkLst>
        <pc:spChg chg="mod">
          <ac:chgData name="Era Poudel" userId="4038d143-4a25-4ddb-a450-cddf29410981" providerId="ADAL" clId="{AAB933D7-6A78-4888-8215-E15D581A059E}" dt="2025-01-28T16:45:28.049" v="8641" actId="790"/>
          <ac:spMkLst>
            <pc:docMk/>
            <pc:sldMk cId="3515044065" sldId="462"/>
            <ac:spMk id="3" creationId="{6658E7E5-FD78-83EB-4AAA-269473D2AB86}"/>
          </ac:spMkLst>
        </pc:spChg>
        <pc:spChg chg="mod">
          <ac:chgData name="Era Poudel" userId="4038d143-4a25-4ddb-a450-cddf29410981" providerId="ADAL" clId="{AAB933D7-6A78-4888-8215-E15D581A059E}" dt="2025-01-28T17:15:26.046" v="8716" actId="313"/>
          <ac:spMkLst>
            <pc:docMk/>
            <pc:sldMk cId="3515044065" sldId="462"/>
            <ac:spMk id="7" creationId="{B0D6E95B-706B-1A76-F93F-A6276D641BE9}"/>
          </ac:spMkLst>
        </pc:spChg>
      </pc:sldChg>
      <pc:sldChg chg="modSp mod">
        <pc:chgData name="Era Poudel" userId="4038d143-4a25-4ddb-a450-cddf29410981" providerId="ADAL" clId="{AAB933D7-6A78-4888-8215-E15D581A059E}" dt="2025-01-28T16:45:28.049" v="8641" actId="790"/>
        <pc:sldMkLst>
          <pc:docMk/>
          <pc:sldMk cId="2958026813" sldId="463"/>
        </pc:sldMkLst>
      </pc:sldChg>
      <pc:sldChg chg="modSp mod">
        <pc:chgData name="Era Poudel" userId="4038d143-4a25-4ddb-a450-cddf29410981" providerId="ADAL" clId="{AAB933D7-6A78-4888-8215-E15D581A059E}" dt="2025-01-28T16:45:28.049" v="8641" actId="790"/>
        <pc:sldMkLst>
          <pc:docMk/>
          <pc:sldMk cId="3162843186" sldId="464"/>
        </pc:sldMkLst>
      </pc:sldChg>
      <pc:sldChg chg="modSp mod">
        <pc:chgData name="Era Poudel" userId="4038d143-4a25-4ddb-a450-cddf29410981" providerId="ADAL" clId="{AAB933D7-6A78-4888-8215-E15D581A059E}" dt="2025-01-28T16:45:28.049" v="8641" actId="790"/>
        <pc:sldMkLst>
          <pc:docMk/>
          <pc:sldMk cId="1069253942" sldId="465"/>
        </pc:sldMkLst>
        <pc:spChg chg="mod">
          <ac:chgData name="Era Poudel" userId="4038d143-4a25-4ddb-a450-cddf29410981" providerId="ADAL" clId="{AAB933D7-6A78-4888-8215-E15D581A059E}" dt="2025-01-28T16:45:28.049" v="8641" actId="790"/>
          <ac:spMkLst>
            <pc:docMk/>
            <pc:sldMk cId="1069253942" sldId="465"/>
            <ac:spMk id="3" creationId="{43DA4DB8-FE9F-68C7-49F4-0D7298D9D9F4}"/>
          </ac:spMkLst>
        </pc:spChg>
      </pc:sldChg>
      <pc:sldChg chg="addSp delSp modSp add mod">
        <pc:chgData name="Era Poudel" userId="4038d143-4a25-4ddb-a450-cddf29410981" providerId="ADAL" clId="{AAB933D7-6A78-4888-8215-E15D581A059E}" dt="2025-01-28T16:45:28.049" v="8641" actId="790"/>
        <pc:sldMkLst>
          <pc:docMk/>
          <pc:sldMk cId="1909981967" sldId="466"/>
        </pc:sldMkLst>
        <pc:spChg chg="mod">
          <ac:chgData name="Era Poudel" userId="4038d143-4a25-4ddb-a450-cddf29410981" providerId="ADAL" clId="{AAB933D7-6A78-4888-8215-E15D581A059E}" dt="2025-01-28T16:45:28.049" v="8641" actId="790"/>
          <ac:spMkLst>
            <pc:docMk/>
            <pc:sldMk cId="1909981967" sldId="466"/>
            <ac:spMk id="3" creationId="{F4CC3D3C-BC53-0C08-8F14-CFA7F5DF7739}"/>
          </ac:spMkLst>
        </pc:spChg>
        <pc:spChg chg="add mod">
          <ac:chgData name="Era Poudel" userId="4038d143-4a25-4ddb-a450-cddf29410981" providerId="ADAL" clId="{AAB933D7-6A78-4888-8215-E15D581A059E}" dt="2025-01-28T16:45:28.049" v="8641" actId="790"/>
          <ac:spMkLst>
            <pc:docMk/>
            <pc:sldMk cId="1909981967" sldId="466"/>
            <ac:spMk id="18" creationId="{4D44563A-F965-8518-89BF-D6DA12495C05}"/>
          </ac:spMkLst>
        </pc:spChg>
        <pc:spChg chg="add mod">
          <ac:chgData name="Era Poudel" userId="4038d143-4a25-4ddb-a450-cddf29410981" providerId="ADAL" clId="{AAB933D7-6A78-4888-8215-E15D581A059E}" dt="2025-01-28T16:45:28.049" v="8641" actId="790"/>
          <ac:spMkLst>
            <pc:docMk/>
            <pc:sldMk cId="1909981967" sldId="466"/>
            <ac:spMk id="20" creationId="{F1A5091A-065D-278F-004A-35097A89DD1F}"/>
          </ac:spMkLst>
        </pc:spChg>
        <pc:spChg chg="add mod">
          <ac:chgData name="Era Poudel" userId="4038d143-4a25-4ddb-a450-cddf29410981" providerId="ADAL" clId="{AAB933D7-6A78-4888-8215-E15D581A059E}" dt="2025-01-28T16:45:28.049" v="8641" actId="790"/>
          <ac:spMkLst>
            <pc:docMk/>
            <pc:sldMk cId="1909981967" sldId="466"/>
            <ac:spMk id="21" creationId="{8F56997B-D80D-BE47-35EE-6E5BE331EAAB}"/>
          </ac:spMkLst>
        </pc:spChg>
        <pc:spChg chg="add mod">
          <ac:chgData name="Era Poudel" userId="4038d143-4a25-4ddb-a450-cddf29410981" providerId="ADAL" clId="{AAB933D7-6A78-4888-8215-E15D581A059E}" dt="2025-01-28T16:45:28.049" v="8641" actId="790"/>
          <ac:spMkLst>
            <pc:docMk/>
            <pc:sldMk cId="1909981967" sldId="466"/>
            <ac:spMk id="24" creationId="{94504D70-C42B-5B48-1738-14D2483BE290}"/>
          </ac:spMkLst>
        </pc:spChg>
        <pc:picChg chg="add mod">
          <ac:chgData name="Era Poudel" userId="4038d143-4a25-4ddb-a450-cddf29410981" providerId="ADAL" clId="{AAB933D7-6A78-4888-8215-E15D581A059E}" dt="2025-01-26T13:24:46.632" v="6462" actId="1076"/>
          <ac:picMkLst>
            <pc:docMk/>
            <pc:sldMk cId="1909981967" sldId="466"/>
            <ac:picMk id="1026" creationId="{42DA63A3-6DBD-597B-DCBF-9B2F09B0BD22}"/>
          </ac:picMkLst>
        </pc:picChg>
      </pc:sldChg>
      <pc:sldChg chg="modSp add mod">
        <pc:chgData name="Era Poudel" userId="4038d143-4a25-4ddb-a450-cddf29410981" providerId="ADAL" clId="{AAB933D7-6A78-4888-8215-E15D581A059E}" dt="2025-02-01T14:05:58.585" v="8728" actId="1076"/>
        <pc:sldMkLst>
          <pc:docMk/>
          <pc:sldMk cId="567736257" sldId="467"/>
        </pc:sldMkLst>
        <pc:spChg chg="mod">
          <ac:chgData name="Era Poudel" userId="4038d143-4a25-4ddb-a450-cddf29410981" providerId="ADAL" clId="{AAB933D7-6A78-4888-8215-E15D581A059E}" dt="2025-01-28T16:45:28.049" v="8641" actId="790"/>
          <ac:spMkLst>
            <pc:docMk/>
            <pc:sldMk cId="567736257" sldId="467"/>
            <ac:spMk id="3" creationId="{3F97E395-9274-0A77-C7BA-E0D055995F9C}"/>
          </ac:spMkLst>
        </pc:spChg>
        <pc:spChg chg="mod">
          <ac:chgData name="Era Poudel" userId="4038d143-4a25-4ddb-a450-cddf29410981" providerId="ADAL" clId="{AAB933D7-6A78-4888-8215-E15D581A059E}" dt="2025-02-01T14:05:58.585" v="8728" actId="1076"/>
          <ac:spMkLst>
            <pc:docMk/>
            <pc:sldMk cId="567736257" sldId="467"/>
            <ac:spMk id="28" creationId="{E6D37276-12FF-3343-C611-F811600CB44D}"/>
          </ac:spMkLst>
        </pc:spChg>
      </pc:sldChg>
      <pc:sldChg chg="addSp delSp modSp add mod ord">
        <pc:chgData name="Era Poudel" userId="4038d143-4a25-4ddb-a450-cddf29410981" providerId="ADAL" clId="{AAB933D7-6A78-4888-8215-E15D581A059E}" dt="2025-01-28T17:20:46.176" v="8723"/>
        <pc:sldMkLst>
          <pc:docMk/>
          <pc:sldMk cId="1640100988" sldId="468"/>
        </pc:sldMkLst>
        <pc:spChg chg="mod">
          <ac:chgData name="Era Poudel" userId="4038d143-4a25-4ddb-a450-cddf29410981" providerId="ADAL" clId="{AAB933D7-6A78-4888-8215-E15D581A059E}" dt="2025-01-28T16:45:28.049" v="8641" actId="790"/>
          <ac:spMkLst>
            <pc:docMk/>
            <pc:sldMk cId="1640100988" sldId="468"/>
            <ac:spMk id="3" creationId="{62867605-9DC4-9148-9CCF-BF918AF1A214}"/>
          </ac:spMkLst>
        </pc:spChg>
        <pc:spChg chg="add mod">
          <ac:chgData name="Era Poudel" userId="4038d143-4a25-4ddb-a450-cddf29410981" providerId="ADAL" clId="{AAB933D7-6A78-4888-8215-E15D581A059E}" dt="2025-01-28T17:20:46.176" v="8723"/>
          <ac:spMkLst>
            <pc:docMk/>
            <pc:sldMk cId="1640100988" sldId="468"/>
            <ac:spMk id="8" creationId="{BE932269-E02A-013D-BED0-7B76175DE60F}"/>
          </ac:spMkLst>
        </pc:spChg>
        <pc:spChg chg="add mod">
          <ac:chgData name="Era Poudel" userId="4038d143-4a25-4ddb-a450-cddf29410981" providerId="ADAL" clId="{AAB933D7-6A78-4888-8215-E15D581A059E}" dt="2025-01-28T17:20:46.176" v="8723"/>
          <ac:spMkLst>
            <pc:docMk/>
            <pc:sldMk cId="1640100988" sldId="468"/>
            <ac:spMk id="9" creationId="{EE6DC59A-A7DC-C36F-AAA4-D8D688486A10}"/>
          </ac:spMkLst>
        </pc:spChg>
        <pc:picChg chg="add mod">
          <ac:chgData name="Era Poudel" userId="4038d143-4a25-4ddb-a450-cddf29410981" providerId="ADAL" clId="{AAB933D7-6A78-4888-8215-E15D581A059E}" dt="2025-01-28T16:34:56.977" v="8633" actId="1076"/>
          <ac:picMkLst>
            <pc:docMk/>
            <pc:sldMk cId="1640100988" sldId="468"/>
            <ac:picMk id="5" creationId="{B94E41A7-3A98-70EA-E4A5-00CE5D636411}"/>
          </ac:picMkLst>
        </pc:picChg>
      </pc:sldChg>
      <pc:sldChg chg="delSp modSp add del mod">
        <pc:chgData name="Era Poudel" userId="4038d143-4a25-4ddb-a450-cddf29410981" providerId="ADAL" clId="{AAB933D7-6A78-4888-8215-E15D581A059E}" dt="2025-01-28T16:34:07.450" v="8622" actId="47"/>
        <pc:sldMkLst>
          <pc:docMk/>
          <pc:sldMk cId="3017094096" sldId="468"/>
        </pc:sldMkLst>
      </pc:sldChg>
      <pc:sldChg chg="new del">
        <pc:chgData name="Era Poudel" userId="4038d143-4a25-4ddb-a450-cddf29410981" providerId="ADAL" clId="{AAB933D7-6A78-4888-8215-E15D581A059E}" dt="2025-01-28T15:56:37.783" v="8527" actId="47"/>
        <pc:sldMkLst>
          <pc:docMk/>
          <pc:sldMk cId="3094181459" sldId="468"/>
        </pc:sldMkLst>
      </pc:sldChg>
      <pc:sldChg chg="modSp add mod">
        <pc:chgData name="Era Poudel" userId="4038d143-4a25-4ddb-a450-cddf29410981" providerId="ADAL" clId="{AAB933D7-6A78-4888-8215-E15D581A059E}" dt="2025-01-28T16:49:24.631" v="8646" actId="20577"/>
        <pc:sldMkLst>
          <pc:docMk/>
          <pc:sldMk cId="822356106" sldId="469"/>
        </pc:sldMkLst>
        <pc:spChg chg="mod">
          <ac:chgData name="Era Poudel" userId="4038d143-4a25-4ddb-a450-cddf29410981" providerId="ADAL" clId="{AAB933D7-6A78-4888-8215-E15D581A059E}" dt="2025-01-28T16:45:28.049" v="8641" actId="790"/>
          <ac:spMkLst>
            <pc:docMk/>
            <pc:sldMk cId="822356106" sldId="469"/>
            <ac:spMk id="4" creationId="{9FED2E82-8B4E-CED3-E7CC-13BEEA6B927D}"/>
          </ac:spMkLst>
        </pc:spChg>
        <pc:spChg chg="mod">
          <ac:chgData name="Era Poudel" userId="4038d143-4a25-4ddb-a450-cddf29410981" providerId="ADAL" clId="{AAB933D7-6A78-4888-8215-E15D581A059E}" dt="2025-01-28T16:45:28.049" v="8641" actId="790"/>
          <ac:spMkLst>
            <pc:docMk/>
            <pc:sldMk cId="822356106" sldId="469"/>
            <ac:spMk id="7" creationId="{2E9A378D-8DB5-F059-10CF-019382FA312B}"/>
          </ac:spMkLst>
        </pc:spChg>
      </pc:sldChg>
      <pc:sldChg chg="delSp add del mod">
        <pc:chgData name="Era Poudel" userId="4038d143-4a25-4ddb-a450-cddf29410981" providerId="ADAL" clId="{AAB933D7-6A78-4888-8215-E15D581A059E}" dt="2025-02-01T14:05:06.309" v="8726" actId="47"/>
        <pc:sldMkLst>
          <pc:docMk/>
          <pc:sldMk cId="2781755498" sldId="473"/>
        </pc:sldMkLst>
        <pc:spChg chg="del">
          <ac:chgData name="Era Poudel" userId="4038d143-4a25-4ddb-a450-cddf29410981" providerId="ADAL" clId="{AAB933D7-6A78-4888-8215-E15D581A059E}" dt="2025-02-01T14:04:40.458" v="8725" actId="478"/>
          <ac:spMkLst>
            <pc:docMk/>
            <pc:sldMk cId="2781755498" sldId="473"/>
            <ac:spMk id="33" creationId="{9CF7CC7C-FBB6-8E91-2BE7-84F1EE6E194B}"/>
          </ac:spMkLst>
        </pc:spChg>
      </pc:sldChg>
    </pc:docChg>
  </pc:docChgLst>
  <pc:docChgLst>
    <pc:chgData name="Era Poudel" userId="S::era.poudel@tum.de::4038d143-4a25-4ddb-a450-cddf29410981" providerId="AD" clId="Web-{096E81C3-B48C-12A3-5C1F-CD7ED3DC4776}"/>
    <pc:docChg chg="addSld delSld modSld sldOrd modSection">
      <pc:chgData name="Era Poudel" userId="S::era.poudel@tum.de::4038d143-4a25-4ddb-a450-cddf29410981" providerId="AD" clId="Web-{096E81C3-B48C-12A3-5C1F-CD7ED3DC4776}" dt="2024-12-17T00:13:45.725" v="1497" actId="14100"/>
      <pc:docMkLst>
        <pc:docMk/>
      </pc:docMkLst>
      <pc:sldChg chg="add ord replId">
        <pc:chgData name="Era Poudel" userId="S::era.poudel@tum.de::4038d143-4a25-4ddb-a450-cddf29410981" providerId="AD" clId="Web-{096E81C3-B48C-12A3-5C1F-CD7ED3DC4776}" dt="2024-12-16T23:41:40.527" v="1"/>
        <pc:sldMkLst>
          <pc:docMk/>
          <pc:sldMk cId="2133334594" sldId="425"/>
        </pc:sldMkLst>
      </pc:sldChg>
      <pc:sldChg chg="modSp add del ord replId">
        <pc:chgData name="Era Poudel" userId="S::era.poudel@tum.de::4038d143-4a25-4ddb-a450-cddf29410981" providerId="AD" clId="Web-{096E81C3-B48C-12A3-5C1F-CD7ED3DC4776}" dt="2024-12-16T23:44:09.548" v="28"/>
        <pc:sldMkLst>
          <pc:docMk/>
          <pc:sldMk cId="1846196945" sldId="426"/>
        </pc:sldMkLst>
      </pc:sldChg>
      <pc:sldChg chg="delSp modSp add ord replId">
        <pc:chgData name="Era Poudel" userId="S::era.poudel@tum.de::4038d143-4a25-4ddb-a450-cddf29410981" providerId="AD" clId="Web-{096E81C3-B48C-12A3-5C1F-CD7ED3DC4776}" dt="2024-12-16T23:49:43.903" v="346" actId="20577"/>
        <pc:sldMkLst>
          <pc:docMk/>
          <pc:sldMk cId="3998095132" sldId="426"/>
        </pc:sldMkLst>
      </pc:sldChg>
      <pc:sldChg chg="addSp delSp modSp add ord replId">
        <pc:chgData name="Era Poudel" userId="S::era.poudel@tum.de::4038d143-4a25-4ddb-a450-cddf29410981" providerId="AD" clId="Web-{096E81C3-B48C-12A3-5C1F-CD7ED3DC4776}" dt="2024-12-16T23:58:58.204" v="679"/>
        <pc:sldMkLst>
          <pc:docMk/>
          <pc:sldMk cId="2464115165" sldId="427"/>
        </pc:sldMkLst>
      </pc:sldChg>
      <pc:sldChg chg="modSp add ord replId">
        <pc:chgData name="Era Poudel" userId="S::era.poudel@tum.de::4038d143-4a25-4ddb-a450-cddf29410981" providerId="AD" clId="Web-{096E81C3-B48C-12A3-5C1F-CD7ED3DC4776}" dt="2024-12-17T00:12:49.082" v="1488" actId="14100"/>
        <pc:sldMkLst>
          <pc:docMk/>
          <pc:sldMk cId="1509426377" sldId="428"/>
        </pc:sldMkLst>
      </pc:sldChg>
      <pc:sldChg chg="modSp add ord replId">
        <pc:chgData name="Era Poudel" userId="S::era.poudel@tum.de::4038d143-4a25-4ddb-a450-cddf29410981" providerId="AD" clId="Web-{096E81C3-B48C-12A3-5C1F-CD7ED3DC4776}" dt="2024-12-17T00:06:33.866" v="1126" actId="20577"/>
        <pc:sldMkLst>
          <pc:docMk/>
          <pc:sldMk cId="193242376" sldId="429"/>
        </pc:sldMkLst>
      </pc:sldChg>
      <pc:sldChg chg="delSp modSp add ord replId">
        <pc:chgData name="Era Poudel" userId="S::era.poudel@tum.de::4038d143-4a25-4ddb-a450-cddf29410981" providerId="AD" clId="Web-{096E81C3-B48C-12A3-5C1F-CD7ED3DC4776}" dt="2024-12-17T00:08:18.885" v="1302"/>
        <pc:sldMkLst>
          <pc:docMk/>
          <pc:sldMk cId="359154565" sldId="430"/>
        </pc:sldMkLst>
      </pc:sldChg>
      <pc:sldChg chg="addSp delSp modSp add ord replId">
        <pc:chgData name="Era Poudel" userId="S::era.poudel@tum.de::4038d143-4a25-4ddb-a450-cddf29410981" providerId="AD" clId="Web-{096E81C3-B48C-12A3-5C1F-CD7ED3DC4776}" dt="2024-12-17T00:13:45.725" v="1497" actId="14100"/>
        <pc:sldMkLst>
          <pc:docMk/>
          <pc:sldMk cId="2492418948" sldId="431"/>
        </pc:sldMkLst>
        <pc:spChg chg="mod">
          <ac:chgData name="Era Poudel" userId="S::era.poudel@tum.de::4038d143-4a25-4ddb-a450-cddf29410981" providerId="AD" clId="Web-{096E81C3-B48C-12A3-5C1F-CD7ED3DC4776}" dt="2024-12-17T00:10:49.078" v="1467" actId="20577"/>
          <ac:spMkLst>
            <pc:docMk/>
            <pc:sldMk cId="2492418948" sldId="431"/>
            <ac:spMk id="8" creationId="{CE749D75-BB64-EA3F-4A37-8B6B98B5B366}"/>
          </ac:spMkLst>
        </pc:spChg>
        <pc:spChg chg="mod">
          <ac:chgData name="Era Poudel" userId="S::era.poudel@tum.de::4038d143-4a25-4ddb-a450-cddf29410981" providerId="AD" clId="Web-{096E81C3-B48C-12A3-5C1F-CD7ED3DC4776}" dt="2024-12-17T00:13:38.068" v="1495" actId="14100"/>
          <ac:spMkLst>
            <pc:docMk/>
            <pc:sldMk cId="2492418948" sldId="431"/>
            <ac:spMk id="9" creationId="{BC21C8CF-539D-E464-29F1-01ECBED7D0F4}"/>
          </ac:spMkLst>
        </pc:spChg>
      </pc:sldChg>
    </pc:docChg>
  </pc:docChgLst>
  <pc:docChgLst>
    <pc:chgData name="Tabea Monz" userId="S::t.monz@tum.de::f46a5392-c507-4495-8454-0a2fbbcf0cda" providerId="AD" clId="Web-{2523B7F1-FC97-E3EA-9554-B39A05F0A295}"/>
    <pc:docChg chg="delSld modSld modSection">
      <pc:chgData name="Tabea Monz" userId="S::t.monz@tum.de::f46a5392-c507-4495-8454-0a2fbbcf0cda" providerId="AD" clId="Web-{2523B7F1-FC97-E3EA-9554-B39A05F0A295}" dt="2024-11-14T10:22:56.327" v="495" actId="20577"/>
      <pc:docMkLst>
        <pc:docMk/>
      </pc:docMkLst>
      <pc:sldChg chg="modSp">
        <pc:chgData name="Tabea Monz" userId="S::t.monz@tum.de::f46a5392-c507-4495-8454-0a2fbbcf0cda" providerId="AD" clId="Web-{2523B7F1-FC97-E3EA-9554-B39A05F0A295}" dt="2024-11-14T10:22:41.014" v="494" actId="20577"/>
        <pc:sldMkLst>
          <pc:docMk/>
          <pc:sldMk cId="2457093950" sldId="281"/>
        </pc:sldMkLst>
        <pc:spChg chg="mod">
          <ac:chgData name="Tabea Monz" userId="S::t.monz@tum.de::f46a5392-c507-4495-8454-0a2fbbcf0cda" providerId="AD" clId="Web-{2523B7F1-FC97-E3EA-9554-B39A05F0A295}" dt="2024-11-14T10:22:41.014" v="494" actId="20577"/>
          <ac:spMkLst>
            <pc:docMk/>
            <pc:sldMk cId="2457093950" sldId="281"/>
            <ac:spMk id="2" creationId="{BF4A43F6-3684-F5A5-85F1-EEDC996D624E}"/>
          </ac:spMkLst>
        </pc:spChg>
        <pc:spChg chg="mod">
          <ac:chgData name="Tabea Monz" userId="S::t.monz@tum.de::f46a5392-c507-4495-8454-0a2fbbcf0cda" providerId="AD" clId="Web-{2523B7F1-FC97-E3EA-9554-B39A05F0A295}" dt="2024-11-14T10:21:39.089" v="483" actId="20577"/>
          <ac:spMkLst>
            <pc:docMk/>
            <pc:sldMk cId="2457093950" sldId="281"/>
            <ac:spMk id="8" creationId="{EAE65E17-24BD-9146-7605-4AD45B45C364}"/>
          </ac:spMkLst>
        </pc:spChg>
        <pc:spChg chg="mod">
          <ac:chgData name="Tabea Monz" userId="S::t.monz@tum.de::f46a5392-c507-4495-8454-0a2fbbcf0cda" providerId="AD" clId="Web-{2523B7F1-FC97-E3EA-9554-B39A05F0A295}" dt="2024-11-14T10:22:36.341" v="493" actId="20577"/>
          <ac:spMkLst>
            <pc:docMk/>
            <pc:sldMk cId="2457093950" sldId="281"/>
            <ac:spMk id="9" creationId="{B6B497AA-972B-9F4E-E175-1E7500A7D45E}"/>
          </ac:spMkLst>
        </pc:spChg>
        <pc:spChg chg="mod">
          <ac:chgData name="Tabea Monz" userId="S::t.monz@tum.de::f46a5392-c507-4495-8454-0a2fbbcf0cda" providerId="AD" clId="Web-{2523B7F1-FC97-E3EA-9554-B39A05F0A295}" dt="2024-11-14T10:21:56.574" v="490" actId="14100"/>
          <ac:spMkLst>
            <pc:docMk/>
            <pc:sldMk cId="2457093950" sldId="281"/>
            <ac:spMk id="10" creationId="{524DDB5D-2C36-2D8F-EE1D-A2D0A61EFFA9}"/>
          </ac:spMkLst>
        </pc:spChg>
      </pc:sldChg>
      <pc:sldChg chg="modSp">
        <pc:chgData name="Tabea Monz" userId="S::t.monz@tum.de::f46a5392-c507-4495-8454-0a2fbbcf0cda" providerId="AD" clId="Web-{2523B7F1-FC97-E3EA-9554-B39A05F0A295}" dt="2024-11-14T10:17:40.549" v="453" actId="20577"/>
        <pc:sldMkLst>
          <pc:docMk/>
          <pc:sldMk cId="855508414" sldId="301"/>
        </pc:sldMkLst>
        <pc:spChg chg="mod">
          <ac:chgData name="Tabea Monz" userId="S::t.monz@tum.de::f46a5392-c507-4495-8454-0a2fbbcf0cda" providerId="AD" clId="Web-{2523B7F1-FC97-E3EA-9554-B39A05F0A295}" dt="2024-11-14T10:17:40.549" v="453" actId="20577"/>
          <ac:spMkLst>
            <pc:docMk/>
            <pc:sldMk cId="855508414" sldId="301"/>
            <ac:spMk id="345" creationId="{00000000-0000-0000-0000-000000000000}"/>
          </ac:spMkLst>
        </pc:spChg>
      </pc:sldChg>
      <pc:sldChg chg="modSp">
        <pc:chgData name="Tabea Monz" userId="S::t.monz@tum.de::f46a5392-c507-4495-8454-0a2fbbcf0cda" providerId="AD" clId="Web-{2523B7F1-FC97-E3EA-9554-B39A05F0A295}" dt="2024-11-14T10:17:20.907" v="452" actId="20577"/>
        <pc:sldMkLst>
          <pc:docMk/>
          <pc:sldMk cId="2738800295" sldId="302"/>
        </pc:sldMkLst>
        <pc:spChg chg="mod">
          <ac:chgData name="Tabea Monz" userId="S::t.monz@tum.de::f46a5392-c507-4495-8454-0a2fbbcf0cda" providerId="AD" clId="Web-{2523B7F1-FC97-E3EA-9554-B39A05F0A295}" dt="2024-11-14T10:17:20.907" v="452" actId="20577"/>
          <ac:spMkLst>
            <pc:docMk/>
            <pc:sldMk cId="2738800295" sldId="302"/>
            <ac:spMk id="7" creationId="{48E25BC3-2A78-5F2C-F720-366C9B167CBD}"/>
          </ac:spMkLst>
        </pc:spChg>
      </pc:sldChg>
      <pc:sldChg chg="modSp">
        <pc:chgData name="Tabea Monz" userId="S::t.monz@tum.de::f46a5392-c507-4495-8454-0a2fbbcf0cda" providerId="AD" clId="Web-{2523B7F1-FC97-E3EA-9554-B39A05F0A295}" dt="2024-11-14T10:13:56.743" v="386" actId="20577"/>
        <pc:sldMkLst>
          <pc:docMk/>
          <pc:sldMk cId="1608053785" sldId="303"/>
        </pc:sldMkLst>
        <pc:spChg chg="mod">
          <ac:chgData name="Tabea Monz" userId="S::t.monz@tum.de::f46a5392-c507-4495-8454-0a2fbbcf0cda" providerId="AD" clId="Web-{2523B7F1-FC97-E3EA-9554-B39A05F0A295}" dt="2024-11-14T10:06:15.850" v="31" actId="20577"/>
          <ac:spMkLst>
            <pc:docMk/>
            <pc:sldMk cId="1608053785" sldId="303"/>
            <ac:spMk id="6" creationId="{F7697B48-98C7-2D4D-028F-20A8A01892B8}"/>
          </ac:spMkLst>
        </pc:spChg>
        <pc:spChg chg="mod">
          <ac:chgData name="Tabea Monz" userId="S::t.monz@tum.de::f46a5392-c507-4495-8454-0a2fbbcf0cda" providerId="AD" clId="Web-{2523B7F1-FC97-E3EA-9554-B39A05F0A295}" dt="2024-11-14T10:13:56.743" v="386" actId="20577"/>
          <ac:spMkLst>
            <pc:docMk/>
            <pc:sldMk cId="1608053785" sldId="303"/>
            <ac:spMk id="7" creationId="{48E25BC3-2A78-5F2C-F720-366C9B167CBD}"/>
          </ac:spMkLst>
        </pc:spChg>
      </pc:sldChg>
      <pc:sldChg chg="modSp">
        <pc:chgData name="Tabea Monz" userId="S::t.monz@tum.de::f46a5392-c507-4495-8454-0a2fbbcf0cda" providerId="AD" clId="Web-{2523B7F1-FC97-E3EA-9554-B39A05F0A295}" dt="2024-11-14T10:19:18.990" v="462" actId="20577"/>
        <pc:sldMkLst>
          <pc:docMk/>
          <pc:sldMk cId="656948936" sldId="307"/>
        </pc:sldMkLst>
        <pc:spChg chg="mod">
          <ac:chgData name="Tabea Monz" userId="S::t.monz@tum.de::f46a5392-c507-4495-8454-0a2fbbcf0cda" providerId="AD" clId="Web-{2523B7F1-FC97-E3EA-9554-B39A05F0A295}" dt="2024-11-14T10:19:18.990" v="462" actId="20577"/>
          <ac:spMkLst>
            <pc:docMk/>
            <pc:sldMk cId="656948936" sldId="307"/>
            <ac:spMk id="2" creationId="{FE3A5165-8DD7-B00A-7B51-96C83EC80066}"/>
          </ac:spMkLst>
        </pc:spChg>
      </pc:sldChg>
      <pc:sldChg chg="modSp">
        <pc:chgData name="Tabea Monz" userId="S::t.monz@tum.de::f46a5392-c507-4495-8454-0a2fbbcf0cda" providerId="AD" clId="Web-{2523B7F1-FC97-E3EA-9554-B39A05F0A295}" dt="2024-11-14T10:19:10.130" v="460" actId="20577"/>
        <pc:sldMkLst>
          <pc:docMk/>
          <pc:sldMk cId="4118735400" sldId="311"/>
        </pc:sldMkLst>
        <pc:spChg chg="mod">
          <ac:chgData name="Tabea Monz" userId="S::t.monz@tum.de::f46a5392-c507-4495-8454-0a2fbbcf0cda" providerId="AD" clId="Web-{2523B7F1-FC97-E3EA-9554-B39A05F0A295}" dt="2024-11-14T10:19:10.130" v="460" actId="20577"/>
          <ac:spMkLst>
            <pc:docMk/>
            <pc:sldMk cId="4118735400" sldId="311"/>
            <ac:spMk id="5" creationId="{00BF61E3-667D-A868-F8B9-88B5DD8C5722}"/>
          </ac:spMkLst>
        </pc:spChg>
      </pc:sldChg>
      <pc:sldChg chg="addSp delSp modSp">
        <pc:chgData name="Tabea Monz" userId="S::t.monz@tum.de::f46a5392-c507-4495-8454-0a2fbbcf0cda" providerId="AD" clId="Web-{2523B7F1-FC97-E3EA-9554-B39A05F0A295}" dt="2024-11-14T10:20:34.196" v="472" actId="20577"/>
        <pc:sldMkLst>
          <pc:docMk/>
          <pc:sldMk cId="2974701433" sldId="336"/>
        </pc:sldMkLst>
        <pc:spChg chg="mod">
          <ac:chgData name="Tabea Monz" userId="S::t.monz@tum.de::f46a5392-c507-4495-8454-0a2fbbcf0cda" providerId="AD" clId="Web-{2523B7F1-FC97-E3EA-9554-B39A05F0A295}" dt="2024-11-14T10:20:34.196" v="472" actId="20577"/>
          <ac:spMkLst>
            <pc:docMk/>
            <pc:sldMk cId="2974701433" sldId="336"/>
            <ac:spMk id="3" creationId="{09B6353F-CB41-C93E-F3AB-4184CA505A42}"/>
          </ac:spMkLst>
        </pc:spChg>
        <pc:picChg chg="add mod">
          <ac:chgData name="Tabea Monz" userId="S::t.monz@tum.de::f46a5392-c507-4495-8454-0a2fbbcf0cda" providerId="AD" clId="Web-{2523B7F1-FC97-E3EA-9554-B39A05F0A295}" dt="2024-11-14T10:14:06.150" v="387" actId="1076"/>
          <ac:picMkLst>
            <pc:docMk/>
            <pc:sldMk cId="2974701433" sldId="336"/>
            <ac:picMk id="2" creationId="{5A5A1D29-BCC0-045A-8BA0-0981B3C4BCBE}"/>
          </ac:picMkLst>
        </pc:picChg>
      </pc:sldChg>
      <pc:sldChg chg="modSp">
        <pc:chgData name="Tabea Monz" userId="S::t.monz@tum.de::f46a5392-c507-4495-8454-0a2fbbcf0cda" providerId="AD" clId="Web-{2523B7F1-FC97-E3EA-9554-B39A05F0A295}" dt="2024-11-14T10:18:53.380" v="458" actId="20577"/>
        <pc:sldMkLst>
          <pc:docMk/>
          <pc:sldMk cId="1183542163" sldId="339"/>
        </pc:sldMkLst>
        <pc:spChg chg="mod">
          <ac:chgData name="Tabea Monz" userId="S::t.monz@tum.de::f46a5392-c507-4495-8454-0a2fbbcf0cda" providerId="AD" clId="Web-{2523B7F1-FC97-E3EA-9554-B39A05F0A295}" dt="2024-11-14T10:18:53.380" v="458" actId="20577"/>
          <ac:spMkLst>
            <pc:docMk/>
            <pc:sldMk cId="1183542163" sldId="339"/>
            <ac:spMk id="2" creationId="{FE3A5165-8DD7-B00A-7B51-96C83EC80066}"/>
          </ac:spMkLst>
        </pc:spChg>
      </pc:sldChg>
      <pc:sldChg chg="del">
        <pc:chgData name="Tabea Monz" userId="S::t.monz@tum.de::f46a5392-c507-4495-8454-0a2fbbcf0cda" providerId="AD" clId="Web-{2523B7F1-FC97-E3EA-9554-B39A05F0A295}" dt="2024-11-14T10:19:37.975" v="465"/>
        <pc:sldMkLst>
          <pc:docMk/>
          <pc:sldMk cId="1871282574" sldId="340"/>
        </pc:sldMkLst>
      </pc:sldChg>
      <pc:sldChg chg="modSp">
        <pc:chgData name="Tabea Monz" userId="S::t.monz@tum.de::f46a5392-c507-4495-8454-0a2fbbcf0cda" providerId="AD" clId="Web-{2523B7F1-FC97-E3EA-9554-B39A05F0A295}" dt="2024-11-14T10:17:56.143" v="455" actId="20577"/>
        <pc:sldMkLst>
          <pc:docMk/>
          <pc:sldMk cId="1662382075" sldId="367"/>
        </pc:sldMkLst>
      </pc:sldChg>
      <pc:sldChg chg="modSp">
        <pc:chgData name="Tabea Monz" userId="S::t.monz@tum.de::f46a5392-c507-4495-8454-0a2fbbcf0cda" providerId="AD" clId="Web-{2523B7F1-FC97-E3EA-9554-B39A05F0A295}" dt="2024-11-14T10:22:56.327" v="495" actId="20577"/>
        <pc:sldMkLst>
          <pc:docMk/>
          <pc:sldMk cId="4061445094" sldId="370"/>
        </pc:sldMkLst>
      </pc:sldChg>
      <pc:sldChg chg="del">
        <pc:chgData name="Tabea Monz" userId="S::t.monz@tum.de::f46a5392-c507-4495-8454-0a2fbbcf0cda" providerId="AD" clId="Web-{2523B7F1-FC97-E3EA-9554-B39A05F0A295}" dt="2024-11-14T10:19:30.115" v="464"/>
        <pc:sldMkLst>
          <pc:docMk/>
          <pc:sldMk cId="2577462896" sldId="380"/>
        </pc:sldMkLst>
      </pc:sldChg>
      <pc:sldChg chg="del">
        <pc:chgData name="Tabea Monz" userId="S::t.monz@tum.de::f46a5392-c507-4495-8454-0a2fbbcf0cda" providerId="AD" clId="Web-{2523B7F1-FC97-E3EA-9554-B39A05F0A295}" dt="2024-11-14T10:19:26.803" v="463"/>
        <pc:sldMkLst>
          <pc:docMk/>
          <pc:sldMk cId="1028456503" sldId="382"/>
        </pc:sldMkLst>
      </pc:sldChg>
    </pc:docChg>
  </pc:docChgLst>
  <pc:docChgLst>
    <pc:chgData name="Ömer Taha Sevimli" userId="S::omer.sevimli@tum.de::d68fb2f4-76b1-4cfc-96e6-800a7d956fcb" providerId="AD" clId="Web-{642A1C47-C1D1-37AB-DC30-35B68670DFD0}"/>
    <pc:docChg chg="addSld modSld sldOrd modSection">
      <pc:chgData name="Ömer Taha Sevimli" userId="S::omer.sevimli@tum.de::d68fb2f4-76b1-4cfc-96e6-800a7d956fcb" providerId="AD" clId="Web-{642A1C47-C1D1-37AB-DC30-35B68670DFD0}" dt="2024-11-25T14:03:27.111" v="211" actId="14100"/>
      <pc:docMkLst>
        <pc:docMk/>
      </pc:docMkLst>
      <pc:sldChg chg="ord">
        <pc:chgData name="Ömer Taha Sevimli" userId="S::omer.sevimli@tum.de::d68fb2f4-76b1-4cfc-96e6-800a7d956fcb" providerId="AD" clId="Web-{642A1C47-C1D1-37AB-DC30-35B68670DFD0}" dt="2024-11-25T13:43:52.918" v="4"/>
        <pc:sldMkLst>
          <pc:docMk/>
          <pc:sldMk cId="2461222098" sldId="399"/>
        </pc:sldMkLst>
      </pc:sldChg>
      <pc:sldChg chg="addSp delSp modSp add ord replId">
        <pc:chgData name="Ömer Taha Sevimli" userId="S::omer.sevimli@tum.de::d68fb2f4-76b1-4cfc-96e6-800a7d956fcb" providerId="AD" clId="Web-{642A1C47-C1D1-37AB-DC30-35B68670DFD0}" dt="2024-11-25T14:03:27.111" v="211" actId="14100"/>
        <pc:sldMkLst>
          <pc:docMk/>
          <pc:sldMk cId="3010641126" sldId="402"/>
        </pc:sldMkLst>
      </pc:sldChg>
    </pc:docChg>
  </pc:docChgLst>
  <pc:docChgLst>
    <pc:chgData name="Era Poudel" userId="S::era.poudel@tum.de::4038d143-4a25-4ddb-a450-cddf29410981" providerId="AD" clId="Web-{81696B8F-D545-D445-9D6C-9734022CB926}"/>
    <pc:docChg chg="addSld delSld modSld sldOrd modSection">
      <pc:chgData name="Era Poudel" userId="S::era.poudel@tum.de::4038d143-4a25-4ddb-a450-cddf29410981" providerId="AD" clId="Web-{81696B8F-D545-D445-9D6C-9734022CB926}" dt="2024-11-18T23:41:04.231" v="440" actId="20577"/>
      <pc:docMkLst>
        <pc:docMk/>
      </pc:docMkLst>
      <pc:sldChg chg="addSp delSp modSp">
        <pc:chgData name="Era Poudel" userId="S::era.poudel@tum.de::4038d143-4a25-4ddb-a450-cddf29410981" providerId="AD" clId="Web-{81696B8F-D545-D445-9D6C-9734022CB926}" dt="2024-11-18T23:33:36.589" v="220"/>
        <pc:sldMkLst>
          <pc:docMk/>
          <pc:sldMk cId="1997358788" sldId="297"/>
        </pc:sldMkLst>
        <pc:spChg chg="add mod">
          <ac:chgData name="Era Poudel" userId="S::era.poudel@tum.de::4038d143-4a25-4ddb-a450-cddf29410981" providerId="AD" clId="Web-{81696B8F-D545-D445-9D6C-9734022CB926}" dt="2024-11-18T22:51:06.543" v="198" actId="20577"/>
          <ac:spMkLst>
            <pc:docMk/>
            <pc:sldMk cId="1997358788" sldId="297"/>
            <ac:spMk id="7" creationId="{A9471AC6-B495-C03E-5B97-9380D56DED5B}"/>
          </ac:spMkLst>
        </pc:spChg>
        <pc:spChg chg="add mod">
          <ac:chgData name="Era Poudel" userId="S::era.poudel@tum.de::4038d143-4a25-4ddb-a450-cddf29410981" providerId="AD" clId="Web-{81696B8F-D545-D445-9D6C-9734022CB926}" dt="2024-11-18T22:51:41.560" v="206" actId="20577"/>
          <ac:spMkLst>
            <pc:docMk/>
            <pc:sldMk cId="1997358788" sldId="297"/>
            <ac:spMk id="8" creationId="{CE749D75-BB64-EA3F-4A37-8B6B98B5B366}"/>
          </ac:spMkLst>
        </pc:spChg>
        <pc:spChg chg="add mod">
          <ac:chgData name="Era Poudel" userId="S::era.poudel@tum.de::4038d143-4a25-4ddb-a450-cddf29410981" providerId="AD" clId="Web-{81696B8F-D545-D445-9D6C-9734022CB926}" dt="2024-11-18T22:51:26.825" v="204" actId="1076"/>
          <ac:spMkLst>
            <pc:docMk/>
            <pc:sldMk cId="1997358788" sldId="297"/>
            <ac:spMk id="9" creationId="{BC21C8CF-539D-E464-29F1-01ECBED7D0F4}"/>
          </ac:spMkLst>
        </pc:spChg>
        <pc:spChg chg="mod">
          <ac:chgData name="Era Poudel" userId="S::era.poudel@tum.de::4038d143-4a25-4ddb-a450-cddf29410981" providerId="AD" clId="Web-{81696B8F-D545-D445-9D6C-9734022CB926}" dt="2024-11-18T22:51:15.981" v="201" actId="20577"/>
          <ac:spMkLst>
            <pc:docMk/>
            <pc:sldMk cId="1997358788" sldId="297"/>
            <ac:spMk id="13" creationId="{817FCBA3-EFE9-7AA6-9D84-3B990635EB2E}"/>
          </ac:spMkLst>
        </pc:spChg>
      </pc:sldChg>
      <pc:sldChg chg="ord">
        <pc:chgData name="Era Poudel" userId="S::era.poudel@tum.de::4038d143-4a25-4ddb-a450-cddf29410981" providerId="AD" clId="Web-{81696B8F-D545-D445-9D6C-9734022CB926}" dt="2024-11-18T23:33:08.651" v="215"/>
        <pc:sldMkLst>
          <pc:docMk/>
          <pc:sldMk cId="2451751709" sldId="298"/>
        </pc:sldMkLst>
      </pc:sldChg>
      <pc:sldChg chg="modSp">
        <pc:chgData name="Era Poudel" userId="S::era.poudel@tum.de::4038d143-4a25-4ddb-a450-cddf29410981" providerId="AD" clId="Web-{81696B8F-D545-D445-9D6C-9734022CB926}" dt="2024-11-18T22:45:18.998" v="2" actId="20577"/>
        <pc:sldMkLst>
          <pc:docMk/>
          <pc:sldMk cId="373550321" sldId="318"/>
        </pc:sldMkLst>
        <pc:spChg chg="mod">
          <ac:chgData name="Era Poudel" userId="S::era.poudel@tum.de::4038d143-4a25-4ddb-a450-cddf29410981" providerId="AD" clId="Web-{81696B8F-D545-D445-9D6C-9734022CB926}" dt="2024-11-18T22:45:18.998" v="2" actId="20577"/>
          <ac:spMkLst>
            <pc:docMk/>
            <pc:sldMk cId="373550321" sldId="318"/>
            <ac:spMk id="4" creationId="{9FED2E82-8B4E-CED3-E7CC-13BEEA6B927D}"/>
          </ac:spMkLst>
        </pc:spChg>
      </pc:sldChg>
      <pc:sldChg chg="ord">
        <pc:chgData name="Era Poudel" userId="S::era.poudel@tum.de::4038d143-4a25-4ddb-a450-cddf29410981" providerId="AD" clId="Web-{81696B8F-D545-D445-9D6C-9734022CB926}" dt="2024-11-18T23:33:14.401" v="216"/>
        <pc:sldMkLst>
          <pc:docMk/>
          <pc:sldMk cId="2685171253" sldId="320"/>
        </pc:sldMkLst>
      </pc:sldChg>
      <pc:sldChg chg="del">
        <pc:chgData name="Era Poudel" userId="S::era.poudel@tum.de::4038d143-4a25-4ddb-a450-cddf29410981" providerId="AD" clId="Web-{81696B8F-D545-D445-9D6C-9734022CB926}" dt="2024-11-18T22:45:11.154" v="0"/>
        <pc:sldMkLst>
          <pc:docMk/>
          <pc:sldMk cId="2024038645" sldId="388"/>
        </pc:sldMkLst>
      </pc:sldChg>
      <pc:sldChg chg="modSp">
        <pc:chgData name="Era Poudel" userId="S::era.poudel@tum.de::4038d143-4a25-4ddb-a450-cddf29410981" providerId="AD" clId="Web-{81696B8F-D545-D445-9D6C-9734022CB926}" dt="2024-11-18T22:48:50.208" v="165" actId="20577"/>
        <pc:sldMkLst>
          <pc:docMk/>
          <pc:sldMk cId="3056559578" sldId="390"/>
        </pc:sldMkLst>
      </pc:sldChg>
      <pc:sldChg chg="delSp modSp add ord replId">
        <pc:chgData name="Era Poudel" userId="S::era.poudel@tum.de::4038d143-4a25-4ddb-a450-cddf29410981" providerId="AD" clId="Web-{81696B8F-D545-D445-9D6C-9734022CB926}" dt="2024-11-18T23:41:04.231" v="440" actId="20577"/>
        <pc:sldMkLst>
          <pc:docMk/>
          <pc:sldMk cId="2861992113" sldId="394"/>
        </pc:sldMkLst>
      </pc:sldChg>
    </pc:docChg>
  </pc:docChgLst>
  <pc:docChgLst>
    <pc:chgData name="Tabea Monz" userId="S::t.monz@tum.de::f46a5392-c507-4495-8454-0a2fbbcf0cda" providerId="AD" clId="Web-{D16F1DCF-68D5-A925-9B0F-858B373CB8D7}"/>
    <pc:docChg chg="addSld delSld modSld sldOrd modSection">
      <pc:chgData name="Tabea Monz" userId="S::t.monz@tum.de::f46a5392-c507-4495-8454-0a2fbbcf0cda" providerId="AD" clId="Web-{D16F1DCF-68D5-A925-9B0F-858B373CB8D7}" dt="2024-12-08T20:34:12.837" v="778"/>
      <pc:docMkLst>
        <pc:docMk/>
      </pc:docMkLst>
      <pc:sldChg chg="modSp ord">
        <pc:chgData name="Tabea Monz" userId="S::t.monz@tum.de::f46a5392-c507-4495-8454-0a2fbbcf0cda" providerId="AD" clId="Web-{D16F1DCF-68D5-A925-9B0F-858B373CB8D7}" dt="2024-12-08T20:34:12.837" v="778"/>
        <pc:sldMkLst>
          <pc:docMk/>
          <pc:sldMk cId="2457093950" sldId="281"/>
        </pc:sldMkLst>
        <pc:spChg chg="mod">
          <ac:chgData name="Tabea Monz" userId="S::t.monz@tum.de::f46a5392-c507-4495-8454-0a2fbbcf0cda" providerId="AD" clId="Web-{D16F1DCF-68D5-A925-9B0F-858B373CB8D7}" dt="2024-12-08T20:34:01.134" v="777" actId="20577"/>
          <ac:spMkLst>
            <pc:docMk/>
            <pc:sldMk cId="2457093950" sldId="281"/>
            <ac:spMk id="2" creationId="{BF4A43F6-3684-F5A5-85F1-EEDC996D624E}"/>
          </ac:spMkLst>
        </pc:spChg>
        <pc:spChg chg="mod">
          <ac:chgData name="Tabea Monz" userId="S::t.monz@tum.de::f46a5392-c507-4495-8454-0a2fbbcf0cda" providerId="AD" clId="Web-{D16F1DCF-68D5-A925-9B0F-858B373CB8D7}" dt="2024-12-08T20:28:54.765" v="515" actId="20577"/>
          <ac:spMkLst>
            <pc:docMk/>
            <pc:sldMk cId="2457093950" sldId="281"/>
            <ac:spMk id="9" creationId="{B6B497AA-972B-9F4E-E175-1E7500A7D45E}"/>
          </ac:spMkLst>
        </pc:spChg>
        <pc:spChg chg="mod">
          <ac:chgData name="Tabea Monz" userId="S::t.monz@tum.de::f46a5392-c507-4495-8454-0a2fbbcf0cda" providerId="AD" clId="Web-{D16F1DCF-68D5-A925-9B0F-858B373CB8D7}" dt="2024-12-08T20:20:19.218" v="298" actId="20577"/>
          <ac:spMkLst>
            <pc:docMk/>
            <pc:sldMk cId="2457093950" sldId="281"/>
            <ac:spMk id="10" creationId="{524DDB5D-2C36-2D8F-EE1D-A2D0A61EFFA9}"/>
          </ac:spMkLst>
        </pc:spChg>
      </pc:sldChg>
      <pc:sldChg chg="modSp">
        <pc:chgData name="Tabea Monz" userId="S::t.monz@tum.de::f46a5392-c507-4495-8454-0a2fbbcf0cda" providerId="AD" clId="Web-{D16F1DCF-68D5-A925-9B0F-858B373CB8D7}" dt="2024-12-08T20:24:54.257" v="342" actId="20577"/>
        <pc:sldMkLst>
          <pc:docMk/>
          <pc:sldMk cId="1601966315" sldId="285"/>
        </pc:sldMkLst>
        <pc:spChg chg="mod">
          <ac:chgData name="Tabea Monz" userId="S::t.monz@tum.de::f46a5392-c507-4495-8454-0a2fbbcf0cda" providerId="AD" clId="Web-{D16F1DCF-68D5-A925-9B0F-858B373CB8D7}" dt="2024-12-08T20:24:54.257" v="342" actId="20577"/>
          <ac:spMkLst>
            <pc:docMk/>
            <pc:sldMk cId="1601966315" sldId="285"/>
            <ac:spMk id="4" creationId="{9FED2E82-8B4E-CED3-E7CC-13BEEA6B927D}"/>
          </ac:spMkLst>
        </pc:spChg>
      </pc:sldChg>
      <pc:sldChg chg="mod modShow">
        <pc:chgData name="Tabea Monz" userId="S::t.monz@tum.de::f46a5392-c507-4495-8454-0a2fbbcf0cda" providerId="AD" clId="Web-{D16F1DCF-68D5-A925-9B0F-858B373CB8D7}" dt="2024-12-08T20:21:09.329" v="300"/>
        <pc:sldMkLst>
          <pc:docMk/>
          <pc:sldMk cId="3553033900" sldId="287"/>
        </pc:sldMkLst>
      </pc:sldChg>
      <pc:sldChg chg="mod modShow">
        <pc:chgData name="Tabea Monz" userId="S::t.monz@tum.de::f46a5392-c507-4495-8454-0a2fbbcf0cda" providerId="AD" clId="Web-{D16F1DCF-68D5-A925-9B0F-858B373CB8D7}" dt="2024-12-08T20:21:24.938" v="304"/>
        <pc:sldMkLst>
          <pc:docMk/>
          <pc:sldMk cId="3909716140" sldId="289"/>
        </pc:sldMkLst>
      </pc:sldChg>
      <pc:sldChg chg="mod modShow">
        <pc:chgData name="Tabea Monz" userId="S::t.monz@tum.de::f46a5392-c507-4495-8454-0a2fbbcf0cda" providerId="AD" clId="Web-{D16F1DCF-68D5-A925-9B0F-858B373CB8D7}" dt="2024-12-08T20:21:25.079" v="305"/>
        <pc:sldMkLst>
          <pc:docMk/>
          <pc:sldMk cId="1836807439" sldId="290"/>
        </pc:sldMkLst>
      </pc:sldChg>
      <pc:sldChg chg="mod modShow">
        <pc:chgData name="Tabea Monz" userId="S::t.monz@tum.de::f46a5392-c507-4495-8454-0a2fbbcf0cda" providerId="AD" clId="Web-{D16F1DCF-68D5-A925-9B0F-858B373CB8D7}" dt="2024-12-08T20:21:31.907" v="307"/>
        <pc:sldMkLst>
          <pc:docMk/>
          <pc:sldMk cId="3118018366" sldId="291"/>
        </pc:sldMkLst>
      </pc:sldChg>
      <pc:sldChg chg="mod modShow">
        <pc:chgData name="Tabea Monz" userId="S::t.monz@tum.de::f46a5392-c507-4495-8454-0a2fbbcf0cda" providerId="AD" clId="Web-{D16F1DCF-68D5-A925-9B0F-858B373CB8D7}" dt="2024-12-08T20:21:32.282" v="309"/>
        <pc:sldMkLst>
          <pc:docMk/>
          <pc:sldMk cId="3807836379" sldId="292"/>
        </pc:sldMkLst>
      </pc:sldChg>
      <pc:sldChg chg="mod modShow">
        <pc:chgData name="Tabea Monz" userId="S::t.monz@tum.de::f46a5392-c507-4495-8454-0a2fbbcf0cda" providerId="AD" clId="Web-{D16F1DCF-68D5-A925-9B0F-858B373CB8D7}" dt="2024-12-08T20:21:32.423" v="310"/>
        <pc:sldMkLst>
          <pc:docMk/>
          <pc:sldMk cId="3642159981" sldId="294"/>
        </pc:sldMkLst>
      </pc:sldChg>
      <pc:sldChg chg="mod modShow">
        <pc:chgData name="Tabea Monz" userId="S::t.monz@tum.de::f46a5392-c507-4495-8454-0a2fbbcf0cda" providerId="AD" clId="Web-{D16F1DCF-68D5-A925-9B0F-858B373CB8D7}" dt="2024-12-08T20:21:42.642" v="313"/>
        <pc:sldMkLst>
          <pc:docMk/>
          <pc:sldMk cId="1360738081" sldId="295"/>
        </pc:sldMkLst>
      </pc:sldChg>
      <pc:sldChg chg="mod modShow">
        <pc:chgData name="Tabea Monz" userId="S::t.monz@tum.de::f46a5392-c507-4495-8454-0a2fbbcf0cda" providerId="AD" clId="Web-{D16F1DCF-68D5-A925-9B0F-858B373CB8D7}" dt="2024-12-08T20:22:42.847" v="320"/>
        <pc:sldMkLst>
          <pc:docMk/>
          <pc:sldMk cId="2451751709" sldId="298"/>
        </pc:sldMkLst>
      </pc:sldChg>
      <pc:sldChg chg="mod modShow">
        <pc:chgData name="Tabea Monz" userId="S::t.monz@tum.de::f46a5392-c507-4495-8454-0a2fbbcf0cda" providerId="AD" clId="Web-{D16F1DCF-68D5-A925-9B0F-858B373CB8D7}" dt="2024-12-08T20:22:59.285" v="325"/>
        <pc:sldMkLst>
          <pc:docMk/>
          <pc:sldMk cId="3394550179" sldId="299"/>
        </pc:sldMkLst>
      </pc:sldChg>
      <pc:sldChg chg="mod modShow">
        <pc:chgData name="Tabea Monz" userId="S::t.monz@tum.de::f46a5392-c507-4495-8454-0a2fbbcf0cda" providerId="AD" clId="Web-{D16F1DCF-68D5-A925-9B0F-858B373CB8D7}" dt="2024-12-08T20:24:03.490" v="332"/>
        <pc:sldMkLst>
          <pc:docMk/>
          <pc:sldMk cId="3143837598" sldId="300"/>
        </pc:sldMkLst>
      </pc:sldChg>
      <pc:sldChg chg="mod modShow">
        <pc:chgData name="Tabea Monz" userId="S::t.monz@tum.de::f46a5392-c507-4495-8454-0a2fbbcf0cda" providerId="AD" clId="Web-{D16F1DCF-68D5-A925-9B0F-858B373CB8D7}" dt="2024-12-08T20:21:42.142" v="311"/>
        <pc:sldMkLst>
          <pc:docMk/>
          <pc:sldMk cId="1340192637" sldId="305"/>
        </pc:sldMkLst>
      </pc:sldChg>
      <pc:sldChg chg="mod modShow">
        <pc:chgData name="Tabea Monz" userId="S::t.monz@tum.de::f46a5392-c507-4495-8454-0a2fbbcf0cda" providerId="AD" clId="Web-{D16F1DCF-68D5-A925-9B0F-858B373CB8D7}" dt="2024-12-08T20:21:51.486" v="315"/>
        <pc:sldMkLst>
          <pc:docMk/>
          <pc:sldMk cId="3109028800" sldId="306"/>
        </pc:sldMkLst>
      </pc:sldChg>
      <pc:sldChg chg="mod modShow">
        <pc:chgData name="Tabea Monz" userId="S::t.monz@tum.de::f46a5392-c507-4495-8454-0a2fbbcf0cda" providerId="AD" clId="Web-{D16F1DCF-68D5-A925-9B0F-858B373CB8D7}" dt="2024-12-08T20:21:51.877" v="316"/>
        <pc:sldMkLst>
          <pc:docMk/>
          <pc:sldMk cId="2790215641" sldId="308"/>
        </pc:sldMkLst>
      </pc:sldChg>
      <pc:sldChg chg="mod modShow">
        <pc:chgData name="Tabea Monz" userId="S::t.monz@tum.de::f46a5392-c507-4495-8454-0a2fbbcf0cda" providerId="AD" clId="Web-{D16F1DCF-68D5-A925-9B0F-858B373CB8D7}" dt="2024-12-08T20:21:52.080" v="317"/>
        <pc:sldMkLst>
          <pc:docMk/>
          <pc:sldMk cId="3944894673" sldId="309"/>
        </pc:sldMkLst>
      </pc:sldChg>
      <pc:sldChg chg="modSp">
        <pc:chgData name="Tabea Monz" userId="S::t.monz@tum.de::f46a5392-c507-4495-8454-0a2fbbcf0cda" providerId="AD" clId="Web-{D16F1DCF-68D5-A925-9B0F-858B373CB8D7}" dt="2024-12-08T20:19:19.919" v="294" actId="20577"/>
        <pc:sldMkLst>
          <pc:docMk/>
          <pc:sldMk cId="4118735400" sldId="311"/>
        </pc:sldMkLst>
      </pc:sldChg>
      <pc:sldChg chg="mod modShow">
        <pc:chgData name="Tabea Monz" userId="S::t.monz@tum.de::f46a5392-c507-4495-8454-0a2fbbcf0cda" providerId="AD" clId="Web-{D16F1DCF-68D5-A925-9B0F-858B373CB8D7}" dt="2024-12-08T20:21:25.345" v="306"/>
        <pc:sldMkLst>
          <pc:docMk/>
          <pc:sldMk cId="1054077313" sldId="312"/>
        </pc:sldMkLst>
      </pc:sldChg>
      <pc:sldChg chg="mod modShow">
        <pc:chgData name="Tabea Monz" userId="S::t.monz@tum.de::f46a5392-c507-4495-8454-0a2fbbcf0cda" providerId="AD" clId="Web-{D16F1DCF-68D5-A925-9B0F-858B373CB8D7}" dt="2024-12-08T20:21:42.752" v="314"/>
        <pc:sldMkLst>
          <pc:docMk/>
          <pc:sldMk cId="1288072368" sldId="313"/>
        </pc:sldMkLst>
      </pc:sldChg>
      <pc:sldChg chg="mod modShow">
        <pc:chgData name="Tabea Monz" userId="S::t.monz@tum.de::f46a5392-c507-4495-8454-0a2fbbcf0cda" providerId="AD" clId="Web-{D16F1DCF-68D5-A925-9B0F-858B373CB8D7}" dt="2024-12-08T20:21:52.221" v="318"/>
        <pc:sldMkLst>
          <pc:docMk/>
          <pc:sldMk cId="767817792" sldId="314"/>
        </pc:sldMkLst>
      </pc:sldChg>
      <pc:sldChg chg="mod modShow">
        <pc:chgData name="Tabea Monz" userId="S::t.monz@tum.de::f46a5392-c507-4495-8454-0a2fbbcf0cda" providerId="AD" clId="Web-{D16F1DCF-68D5-A925-9B0F-858B373CB8D7}" dt="2024-12-08T20:22:42.972" v="321"/>
        <pc:sldMkLst>
          <pc:docMk/>
          <pc:sldMk cId="2310605384" sldId="319"/>
        </pc:sldMkLst>
      </pc:sldChg>
      <pc:sldChg chg="mod modShow">
        <pc:chgData name="Tabea Monz" userId="S::t.monz@tum.de::f46a5392-c507-4495-8454-0a2fbbcf0cda" providerId="AD" clId="Web-{D16F1DCF-68D5-A925-9B0F-858B373CB8D7}" dt="2024-12-08T20:22:50.816" v="322"/>
        <pc:sldMkLst>
          <pc:docMk/>
          <pc:sldMk cId="2685171253" sldId="320"/>
        </pc:sldMkLst>
      </pc:sldChg>
      <pc:sldChg chg="mod modShow">
        <pc:chgData name="Tabea Monz" userId="S::t.monz@tum.de::f46a5392-c507-4495-8454-0a2fbbcf0cda" providerId="AD" clId="Web-{D16F1DCF-68D5-A925-9B0F-858B373CB8D7}" dt="2024-12-08T20:22:51.019" v="324"/>
        <pc:sldMkLst>
          <pc:docMk/>
          <pc:sldMk cId="1718109997" sldId="321"/>
        </pc:sldMkLst>
      </pc:sldChg>
      <pc:sldChg chg="mod modShow">
        <pc:chgData name="Tabea Monz" userId="S::t.monz@tum.de::f46a5392-c507-4495-8454-0a2fbbcf0cda" providerId="AD" clId="Web-{D16F1DCF-68D5-A925-9B0F-858B373CB8D7}" dt="2024-12-08T20:22:50.879" v="323"/>
        <pc:sldMkLst>
          <pc:docMk/>
          <pc:sldMk cId="16049607" sldId="322"/>
        </pc:sldMkLst>
      </pc:sldChg>
      <pc:sldChg chg="mod modShow">
        <pc:chgData name="Tabea Monz" userId="S::t.monz@tum.de::f46a5392-c507-4495-8454-0a2fbbcf0cda" providerId="AD" clId="Web-{D16F1DCF-68D5-A925-9B0F-858B373CB8D7}" dt="2024-12-08T20:22:59.426" v="326"/>
        <pc:sldMkLst>
          <pc:docMk/>
          <pc:sldMk cId="1910569066" sldId="323"/>
        </pc:sldMkLst>
      </pc:sldChg>
      <pc:sldChg chg="mod modShow">
        <pc:chgData name="Tabea Monz" userId="S::t.monz@tum.de::f46a5392-c507-4495-8454-0a2fbbcf0cda" providerId="AD" clId="Web-{D16F1DCF-68D5-A925-9B0F-858B373CB8D7}" dt="2024-12-08T20:22:59.488" v="327"/>
        <pc:sldMkLst>
          <pc:docMk/>
          <pc:sldMk cId="2591005778" sldId="324"/>
        </pc:sldMkLst>
      </pc:sldChg>
      <pc:sldChg chg="del">
        <pc:chgData name="Tabea Monz" userId="S::t.monz@tum.de::f46a5392-c507-4495-8454-0a2fbbcf0cda" providerId="AD" clId="Web-{D16F1DCF-68D5-A925-9B0F-858B373CB8D7}" dt="2024-12-08T20:23:28.802" v="328"/>
        <pc:sldMkLst>
          <pc:docMk/>
          <pc:sldMk cId="3782668847" sldId="325"/>
        </pc:sldMkLst>
      </pc:sldChg>
      <pc:sldChg chg="del">
        <pc:chgData name="Tabea Monz" userId="S::t.monz@tum.de::f46a5392-c507-4495-8454-0a2fbbcf0cda" providerId="AD" clId="Web-{D16F1DCF-68D5-A925-9B0F-858B373CB8D7}" dt="2024-12-08T20:23:37.630" v="329"/>
        <pc:sldMkLst>
          <pc:docMk/>
          <pc:sldMk cId="4115732553" sldId="326"/>
        </pc:sldMkLst>
      </pc:sldChg>
      <pc:sldChg chg="del">
        <pc:chgData name="Tabea Monz" userId="S::t.monz@tum.de::f46a5392-c507-4495-8454-0a2fbbcf0cda" providerId="AD" clId="Web-{D16F1DCF-68D5-A925-9B0F-858B373CB8D7}" dt="2024-12-08T20:23:54.506" v="331"/>
        <pc:sldMkLst>
          <pc:docMk/>
          <pc:sldMk cId="2654186392" sldId="327"/>
        </pc:sldMkLst>
      </pc:sldChg>
      <pc:sldChg chg="del">
        <pc:chgData name="Tabea Monz" userId="S::t.monz@tum.de::f46a5392-c507-4495-8454-0a2fbbcf0cda" providerId="AD" clId="Web-{D16F1DCF-68D5-A925-9B0F-858B373CB8D7}" dt="2024-12-08T20:23:50.084" v="330"/>
        <pc:sldMkLst>
          <pc:docMk/>
          <pc:sldMk cId="915207829" sldId="328"/>
        </pc:sldMkLst>
      </pc:sldChg>
      <pc:sldChg chg="mod modShow">
        <pc:chgData name="Tabea Monz" userId="S::t.monz@tum.de::f46a5392-c507-4495-8454-0a2fbbcf0cda" providerId="AD" clId="Web-{D16F1DCF-68D5-A925-9B0F-858B373CB8D7}" dt="2024-12-08T20:24:12.444" v="336"/>
        <pc:sldMkLst>
          <pc:docMk/>
          <pc:sldMk cId="1263294924" sldId="330"/>
        </pc:sldMkLst>
      </pc:sldChg>
      <pc:sldChg chg="mod modShow">
        <pc:chgData name="Tabea Monz" userId="S::t.monz@tum.de::f46a5392-c507-4495-8454-0a2fbbcf0cda" providerId="AD" clId="Web-{D16F1DCF-68D5-A925-9B0F-858B373CB8D7}" dt="2024-12-08T20:24:12.662" v="338"/>
        <pc:sldMkLst>
          <pc:docMk/>
          <pc:sldMk cId="3545089216" sldId="331"/>
        </pc:sldMkLst>
      </pc:sldChg>
      <pc:sldChg chg="mod modShow">
        <pc:chgData name="Tabea Monz" userId="S::t.monz@tum.de::f46a5392-c507-4495-8454-0a2fbbcf0cda" providerId="AD" clId="Web-{D16F1DCF-68D5-A925-9B0F-858B373CB8D7}" dt="2024-12-08T20:24:20.413" v="340"/>
        <pc:sldMkLst>
          <pc:docMk/>
          <pc:sldMk cId="659666124" sldId="332"/>
        </pc:sldMkLst>
      </pc:sldChg>
      <pc:sldChg chg="mod modShow">
        <pc:chgData name="Tabea Monz" userId="S::t.monz@tum.de::f46a5392-c507-4495-8454-0a2fbbcf0cda" providerId="AD" clId="Web-{D16F1DCF-68D5-A925-9B0F-858B373CB8D7}" dt="2024-12-08T20:24:20.272" v="339"/>
        <pc:sldMkLst>
          <pc:docMk/>
          <pc:sldMk cId="1361510755" sldId="333"/>
        </pc:sldMkLst>
      </pc:sldChg>
      <pc:sldChg chg="addSp delSp modSp modCm">
        <pc:chgData name="Tabea Monz" userId="S::t.monz@tum.de::f46a5392-c507-4495-8454-0a2fbbcf0cda" providerId="AD" clId="Web-{D16F1DCF-68D5-A925-9B0F-858B373CB8D7}" dt="2024-12-08T20:18:08.901" v="283" actId="20577"/>
        <pc:sldMkLst>
          <pc:docMk/>
          <pc:sldMk cId="1183542163" sldId="339"/>
        </pc:sldMkLst>
        <pc:spChg chg="mod">
          <ac:chgData name="Tabea Monz" userId="S::t.monz@tum.de::f46a5392-c507-4495-8454-0a2fbbcf0cda" providerId="AD" clId="Web-{D16F1DCF-68D5-A925-9B0F-858B373CB8D7}" dt="2024-12-08T20:16:06.772" v="159" actId="20577"/>
          <ac:spMkLst>
            <pc:docMk/>
            <pc:sldMk cId="1183542163" sldId="339"/>
            <ac:spMk id="2" creationId="{FE3A5165-8DD7-B00A-7B51-96C83EC80066}"/>
          </ac:spMkLst>
        </pc:spChg>
        <pc:spChg chg="mod">
          <ac:chgData name="Tabea Monz" userId="S::t.monz@tum.de::f46a5392-c507-4495-8454-0a2fbbcf0cda" providerId="AD" clId="Web-{D16F1DCF-68D5-A925-9B0F-858B373CB8D7}" dt="2024-12-08T20:18:08.901" v="283" actId="20577"/>
          <ac:spMkLst>
            <pc:docMk/>
            <pc:sldMk cId="1183542163" sldId="339"/>
            <ac:spMk id="6" creationId="{0E630E31-56A7-45D2-FE61-A1F165CD464C}"/>
          </ac:spMkLst>
        </pc:spChg>
        <pc:picChg chg="add mod">
          <ac:chgData name="Tabea Monz" userId="S::t.monz@tum.de::f46a5392-c507-4495-8454-0a2fbbcf0cda" providerId="AD" clId="Web-{D16F1DCF-68D5-A925-9B0F-858B373CB8D7}" dt="2024-12-08T20:11:02.622" v="6" actId="1076"/>
          <ac:picMkLst>
            <pc:docMk/>
            <pc:sldMk cId="1183542163" sldId="339"/>
            <ac:picMk id="3" creationId="{D834EF0C-FBA8-E11E-9A60-E610E1CD3780}"/>
          </ac:picMkLst>
        </pc:picChg>
        <pc:extLst>
          <p:ext xmlns:p="http://schemas.openxmlformats.org/presentationml/2006/main" uri="{D6D511B9-2390-475A-947B-AFAB55BFBCF1}">
            <pc226:cmChg xmlns:pc226="http://schemas.microsoft.com/office/powerpoint/2022/06/main/command" chg="mod">
              <pc226:chgData name="Tabea Monz" userId="S::t.monz@tum.de::f46a5392-c507-4495-8454-0a2fbbcf0cda" providerId="AD" clId="Web-{D16F1DCF-68D5-A925-9B0F-858B373CB8D7}" dt="2024-12-08T20:13:39.049" v="122" actId="20577"/>
              <pc2:cmMkLst xmlns:pc2="http://schemas.microsoft.com/office/powerpoint/2019/9/main/command">
                <pc:docMk/>
                <pc:sldMk cId="1183542163" sldId="339"/>
                <pc2:cmMk id="{AA99034B-3C3D-4E26-B717-51AB1BC0CB74}"/>
              </pc2:cmMkLst>
            </pc226:cmChg>
          </p:ext>
        </pc:extLst>
      </pc:sldChg>
      <pc:sldChg chg="mod modShow">
        <pc:chgData name="Tabea Monz" userId="S::t.monz@tum.de::f46a5392-c507-4495-8454-0a2fbbcf0cda" providerId="AD" clId="Web-{D16F1DCF-68D5-A925-9B0F-858B373CB8D7}" dt="2024-12-08T20:24:20.460" v="341"/>
        <pc:sldMkLst>
          <pc:docMk/>
          <pc:sldMk cId="1127244407" sldId="341"/>
        </pc:sldMkLst>
      </pc:sldChg>
      <pc:sldChg chg="mod modShow">
        <pc:chgData name="Tabea Monz" userId="S::t.monz@tum.de::f46a5392-c507-4495-8454-0a2fbbcf0cda" providerId="AD" clId="Web-{D16F1DCF-68D5-A925-9B0F-858B373CB8D7}" dt="2024-12-08T20:24:03.647" v="334"/>
        <pc:sldMkLst>
          <pc:docMk/>
          <pc:sldMk cId="2797522874" sldId="351"/>
        </pc:sldMkLst>
      </pc:sldChg>
      <pc:sldChg chg="mod modShow">
        <pc:chgData name="Tabea Monz" userId="S::t.monz@tum.de::f46a5392-c507-4495-8454-0a2fbbcf0cda" providerId="AD" clId="Web-{D16F1DCF-68D5-A925-9B0F-858B373CB8D7}" dt="2024-12-08T20:24:03.584" v="333"/>
        <pc:sldMkLst>
          <pc:docMk/>
          <pc:sldMk cId="160204436" sldId="352"/>
        </pc:sldMkLst>
      </pc:sldChg>
      <pc:sldChg chg="mod modShow">
        <pc:chgData name="Tabea Monz" userId="S::t.monz@tum.de::f46a5392-c507-4495-8454-0a2fbbcf0cda" providerId="AD" clId="Web-{D16F1DCF-68D5-A925-9B0F-858B373CB8D7}" dt="2024-12-08T20:24:03.693" v="335"/>
        <pc:sldMkLst>
          <pc:docMk/>
          <pc:sldMk cId="3237785027" sldId="354"/>
        </pc:sldMkLst>
      </pc:sldChg>
      <pc:sldChg chg="mod modShow">
        <pc:chgData name="Tabea Monz" userId="S::t.monz@tum.de::f46a5392-c507-4495-8454-0a2fbbcf0cda" providerId="AD" clId="Web-{D16F1DCF-68D5-A925-9B0F-858B373CB8D7}" dt="2024-12-08T20:24:12.569" v="337"/>
        <pc:sldMkLst>
          <pc:docMk/>
          <pc:sldMk cId="2573843723" sldId="369"/>
        </pc:sldMkLst>
      </pc:sldChg>
      <pc:sldChg chg="mod modShow">
        <pc:chgData name="Tabea Monz" userId="S::t.monz@tum.de::f46a5392-c507-4495-8454-0a2fbbcf0cda" providerId="AD" clId="Web-{D16F1DCF-68D5-A925-9B0F-858B373CB8D7}" dt="2024-12-08T20:21:32.032" v="308"/>
        <pc:sldMkLst>
          <pc:docMk/>
          <pc:sldMk cId="2849113408" sldId="375"/>
        </pc:sldMkLst>
      </pc:sldChg>
      <pc:sldChg chg="mod modShow">
        <pc:chgData name="Tabea Monz" userId="S::t.monz@tum.de::f46a5392-c507-4495-8454-0a2fbbcf0cda" providerId="AD" clId="Web-{D16F1DCF-68D5-A925-9B0F-858B373CB8D7}" dt="2024-12-08T20:21:42.220" v="312"/>
        <pc:sldMkLst>
          <pc:docMk/>
          <pc:sldMk cId="1767982433" sldId="377"/>
        </pc:sldMkLst>
      </pc:sldChg>
      <pc:sldChg chg="mod modShow">
        <pc:chgData name="Tabea Monz" userId="S::t.monz@tum.de::f46a5392-c507-4495-8454-0a2fbbcf0cda" providerId="AD" clId="Web-{D16F1DCF-68D5-A925-9B0F-858B373CB8D7}" dt="2024-12-08T20:21:17.501" v="301"/>
        <pc:sldMkLst>
          <pc:docMk/>
          <pc:sldMk cId="4270279149" sldId="384"/>
        </pc:sldMkLst>
      </pc:sldChg>
      <pc:sldChg chg="mod modShow">
        <pc:chgData name="Tabea Monz" userId="S::t.monz@tum.de::f46a5392-c507-4495-8454-0a2fbbcf0cda" providerId="AD" clId="Web-{D16F1DCF-68D5-A925-9B0F-858B373CB8D7}" dt="2024-12-08T20:21:17.688" v="303"/>
        <pc:sldMkLst>
          <pc:docMk/>
          <pc:sldMk cId="3575259689" sldId="385"/>
        </pc:sldMkLst>
      </pc:sldChg>
      <pc:sldChg chg="mod modShow">
        <pc:chgData name="Tabea Monz" userId="S::t.monz@tum.de::f46a5392-c507-4495-8454-0a2fbbcf0cda" providerId="AD" clId="Web-{D16F1DCF-68D5-A925-9B0F-858B373CB8D7}" dt="2024-12-08T20:21:17.563" v="302"/>
        <pc:sldMkLst>
          <pc:docMk/>
          <pc:sldMk cId="2271628823" sldId="386"/>
        </pc:sldMkLst>
      </pc:sldChg>
      <pc:sldChg chg="mod modShow">
        <pc:chgData name="Tabea Monz" userId="S::t.monz@tum.de::f46a5392-c507-4495-8454-0a2fbbcf0cda" providerId="AD" clId="Web-{D16F1DCF-68D5-A925-9B0F-858B373CB8D7}" dt="2024-12-08T20:21:04.672" v="299"/>
        <pc:sldMkLst>
          <pc:docMk/>
          <pc:sldMk cId="561075100" sldId="393"/>
        </pc:sldMkLst>
      </pc:sldChg>
      <pc:sldChg chg="mod modShow">
        <pc:chgData name="Tabea Monz" userId="S::t.monz@tum.de::f46a5392-c507-4495-8454-0a2fbbcf0cda" providerId="AD" clId="Web-{D16F1DCF-68D5-A925-9B0F-858B373CB8D7}" dt="2024-12-08T20:22:42.691" v="319"/>
        <pc:sldMkLst>
          <pc:docMk/>
          <pc:sldMk cId="1985343054" sldId="398"/>
        </pc:sldMkLst>
      </pc:sldChg>
      <pc:sldChg chg="modSp">
        <pc:chgData name="Tabea Monz" userId="S::t.monz@tum.de::f46a5392-c507-4495-8454-0a2fbbcf0cda" providerId="AD" clId="Web-{D16F1DCF-68D5-A925-9B0F-858B373CB8D7}" dt="2024-12-08T20:24:59.805" v="343" actId="20577"/>
        <pc:sldMkLst>
          <pc:docMk/>
          <pc:sldMk cId="2146858438" sldId="408"/>
        </pc:sldMkLst>
      </pc:sldChg>
      <pc:sldChg chg="modSp">
        <pc:chgData name="Tabea Monz" userId="S::t.monz@tum.de::f46a5392-c507-4495-8454-0a2fbbcf0cda" providerId="AD" clId="Web-{D16F1DCF-68D5-A925-9B0F-858B373CB8D7}" dt="2024-12-08T20:25:04.477" v="344" actId="20577"/>
        <pc:sldMkLst>
          <pc:docMk/>
          <pc:sldMk cId="4165276256" sldId="409"/>
        </pc:sldMkLst>
      </pc:sldChg>
      <pc:sldChg chg="modSp">
        <pc:chgData name="Tabea Monz" userId="S::t.monz@tum.de::f46a5392-c507-4495-8454-0a2fbbcf0cda" providerId="AD" clId="Web-{D16F1DCF-68D5-A925-9B0F-858B373CB8D7}" dt="2024-12-08T20:25:08.680" v="345" actId="20577"/>
        <pc:sldMkLst>
          <pc:docMk/>
          <pc:sldMk cId="3117399487" sldId="411"/>
        </pc:sldMkLst>
      </pc:sldChg>
      <pc:sldChg chg="add del replId">
        <pc:chgData name="Tabea Monz" userId="S::t.monz@tum.de::f46a5392-c507-4495-8454-0a2fbbcf0cda" providerId="AD" clId="Web-{D16F1DCF-68D5-A925-9B0F-858B373CB8D7}" dt="2024-12-08T20:18:20.714" v="284"/>
        <pc:sldMkLst>
          <pc:docMk/>
          <pc:sldMk cId="3927497002" sldId="416"/>
        </pc:sldMkLst>
      </pc:sldChg>
    </pc:docChg>
  </pc:docChgLst>
  <pc:docChgLst>
    <pc:chgData name="Ömer Taha Sevimli" userId="S::omer.sevimli@tum.de::d68fb2f4-76b1-4cfc-96e6-800a7d956fcb" providerId="AD" clId="Web-{D20328E1-B0D5-1E94-BB4A-70266CECF7D3}"/>
    <pc:docChg chg="modSld sldOrd">
      <pc:chgData name="Ömer Taha Sevimli" userId="S::omer.sevimli@tum.de::d68fb2f4-76b1-4cfc-96e6-800a7d956fcb" providerId="AD" clId="Web-{D20328E1-B0D5-1E94-BB4A-70266CECF7D3}" dt="2025-01-09T16:56:57.733" v="140" actId="14100"/>
      <pc:docMkLst>
        <pc:docMk/>
      </pc:docMkLst>
      <pc:sldChg chg="addSp delSp modSp ord">
        <pc:chgData name="Ömer Taha Sevimli" userId="S::omer.sevimli@tum.de::d68fb2f4-76b1-4cfc-96e6-800a7d956fcb" providerId="AD" clId="Web-{D20328E1-B0D5-1E94-BB4A-70266CECF7D3}" dt="2025-01-09T16:45:46.472" v="10"/>
        <pc:sldMkLst>
          <pc:docMk/>
          <pc:sldMk cId="1781335970" sldId="423"/>
        </pc:sldMkLst>
      </pc:sldChg>
      <pc:sldChg chg="addSp delSp modSp">
        <pc:chgData name="Ömer Taha Sevimli" userId="S::omer.sevimli@tum.de::d68fb2f4-76b1-4cfc-96e6-800a7d956fcb" providerId="AD" clId="Web-{D20328E1-B0D5-1E94-BB4A-70266CECF7D3}" dt="2025-01-09T16:56:57.733" v="140" actId="14100"/>
        <pc:sldMkLst>
          <pc:docMk/>
          <pc:sldMk cId="2133334594" sldId="425"/>
        </pc:sldMkLst>
      </pc:sldChg>
      <pc:sldChg chg="modSp">
        <pc:chgData name="Ömer Taha Sevimli" userId="S::omer.sevimli@tum.de::d68fb2f4-76b1-4cfc-96e6-800a7d956fcb" providerId="AD" clId="Web-{D20328E1-B0D5-1E94-BB4A-70266CECF7D3}" dt="2025-01-09T16:51:55.080" v="76" actId="1076"/>
        <pc:sldMkLst>
          <pc:docMk/>
          <pc:sldMk cId="2464115165" sldId="427"/>
        </pc:sldMkLst>
      </pc:sldChg>
      <pc:sldChg chg="delSp">
        <pc:chgData name="Ömer Taha Sevimli" userId="S::omer.sevimli@tum.de::d68fb2f4-76b1-4cfc-96e6-800a7d956fcb" providerId="AD" clId="Web-{D20328E1-B0D5-1E94-BB4A-70266CECF7D3}" dt="2025-01-09T16:51:39.502" v="75"/>
        <pc:sldMkLst>
          <pc:docMk/>
          <pc:sldMk cId="1509426377" sldId="428"/>
        </pc:sldMkLst>
      </pc:sldChg>
    </pc:docChg>
  </pc:docChgLst>
  <pc:docChgLst>
    <pc:chgData name="Johanna Marx" userId="f7883e6b-b8f5-49bd-97ed-29afbba9d34b" providerId="ADAL" clId="{3FB5D714-E125-4641-BF90-3447CB5D2DA3}"/>
    <pc:docChg chg="undo redo custSel addSld delSld modSld modMainMaster modSection">
      <pc:chgData name="Johanna Marx" userId="f7883e6b-b8f5-49bd-97ed-29afbba9d34b" providerId="ADAL" clId="{3FB5D714-E125-4641-BF90-3447CB5D2DA3}" dt="2025-02-02T13:45:09.025" v="9860"/>
      <pc:docMkLst>
        <pc:docMk/>
      </pc:docMkLst>
      <pc:sldChg chg="modSp mod">
        <pc:chgData name="Johanna Marx" userId="f7883e6b-b8f5-49bd-97ed-29afbba9d34b" providerId="ADAL" clId="{3FB5D714-E125-4641-BF90-3447CB5D2DA3}" dt="2025-01-29T13:42:31.893" v="86" actId="207"/>
        <pc:sldMkLst>
          <pc:docMk/>
          <pc:sldMk cId="0" sldId="256"/>
        </pc:sldMkLst>
        <pc:spChg chg="mod">
          <ac:chgData name="Johanna Marx" userId="f7883e6b-b8f5-49bd-97ed-29afbba9d34b" providerId="ADAL" clId="{3FB5D714-E125-4641-BF90-3447CB5D2DA3}" dt="2025-01-29T13:42:31.893" v="86" actId="207"/>
          <ac:spMkLst>
            <pc:docMk/>
            <pc:sldMk cId="0" sldId="256"/>
            <ac:spMk id="327" creationId="{00000000-0000-0000-0000-000000000000}"/>
          </ac:spMkLst>
        </pc:spChg>
      </pc:sldChg>
      <pc:sldChg chg="modSp mod">
        <pc:chgData name="Johanna Marx" userId="f7883e6b-b8f5-49bd-97ed-29afbba9d34b" providerId="ADAL" clId="{3FB5D714-E125-4641-BF90-3447CB5D2DA3}" dt="2025-02-02T11:12:39.238" v="9138" actId="1036"/>
        <pc:sldMkLst>
          <pc:docMk/>
          <pc:sldMk cId="2457093950" sldId="281"/>
        </pc:sldMkLst>
        <pc:spChg chg="mod">
          <ac:chgData name="Johanna Marx" userId="f7883e6b-b8f5-49bd-97ed-29afbba9d34b" providerId="ADAL" clId="{3FB5D714-E125-4641-BF90-3447CB5D2DA3}" dt="2025-02-02T11:12:39.238" v="9138" actId="1036"/>
          <ac:spMkLst>
            <pc:docMk/>
            <pc:sldMk cId="2457093950" sldId="281"/>
            <ac:spMk id="2" creationId="{BF4A43F6-3684-F5A5-85F1-EEDC996D624E}"/>
          </ac:spMkLst>
        </pc:spChg>
        <pc:spChg chg="mod">
          <ac:chgData name="Johanna Marx" userId="f7883e6b-b8f5-49bd-97ed-29afbba9d34b" providerId="ADAL" clId="{3FB5D714-E125-4641-BF90-3447CB5D2DA3}" dt="2025-02-02T11:12:39.238" v="9138" actId="1036"/>
          <ac:spMkLst>
            <pc:docMk/>
            <pc:sldMk cId="2457093950" sldId="281"/>
            <ac:spMk id="3" creationId="{F6F5A270-E5B3-1C34-7F0A-AEC95FE0FDDA}"/>
          </ac:spMkLst>
        </pc:spChg>
        <pc:spChg chg="mod">
          <ac:chgData name="Johanna Marx" userId="f7883e6b-b8f5-49bd-97ed-29afbba9d34b" providerId="ADAL" clId="{3FB5D714-E125-4641-BF90-3447CB5D2DA3}" dt="2025-02-02T11:03:12.356" v="8989" actId="1037"/>
          <ac:spMkLst>
            <pc:docMk/>
            <pc:sldMk cId="2457093950" sldId="281"/>
            <ac:spMk id="8" creationId="{EAE65E17-24BD-9146-7605-4AD45B45C364}"/>
          </ac:spMkLst>
        </pc:spChg>
        <pc:spChg chg="mod">
          <ac:chgData name="Johanna Marx" userId="f7883e6b-b8f5-49bd-97ed-29afbba9d34b" providerId="ADAL" clId="{3FB5D714-E125-4641-BF90-3447CB5D2DA3}" dt="2025-02-02T11:12:32.030" v="9124" actId="255"/>
          <ac:spMkLst>
            <pc:docMk/>
            <pc:sldMk cId="2457093950" sldId="281"/>
            <ac:spMk id="9" creationId="{B6B497AA-972B-9F4E-E175-1E7500A7D45E}"/>
          </ac:spMkLst>
        </pc:spChg>
        <pc:spChg chg="mod">
          <ac:chgData name="Johanna Marx" userId="f7883e6b-b8f5-49bd-97ed-29afbba9d34b" providerId="ADAL" clId="{3FB5D714-E125-4641-BF90-3447CB5D2DA3}" dt="2025-02-02T11:03:41.987" v="8998" actId="255"/>
          <ac:spMkLst>
            <pc:docMk/>
            <pc:sldMk cId="2457093950" sldId="281"/>
            <ac:spMk id="10" creationId="{524DDB5D-2C36-2D8F-EE1D-A2D0A61EFFA9}"/>
          </ac:spMkLst>
        </pc:spChg>
      </pc:sldChg>
      <pc:sldChg chg="modSp mod">
        <pc:chgData name="Johanna Marx" userId="f7883e6b-b8f5-49bd-97ed-29afbba9d34b" providerId="ADAL" clId="{3FB5D714-E125-4641-BF90-3447CB5D2DA3}" dt="2025-02-02T11:12:20.224" v="9123" actId="255"/>
        <pc:sldMkLst>
          <pc:docMk/>
          <pc:sldMk cId="1601966315" sldId="285"/>
        </pc:sldMkLst>
        <pc:spChg chg="mod">
          <ac:chgData name="Johanna Marx" userId="f7883e6b-b8f5-49bd-97ed-29afbba9d34b" providerId="ADAL" clId="{3FB5D714-E125-4641-BF90-3447CB5D2DA3}" dt="2025-02-02T11:05:30.459" v="9064" actId="14100"/>
          <ac:spMkLst>
            <pc:docMk/>
            <pc:sldMk cId="1601966315" sldId="285"/>
            <ac:spMk id="4" creationId="{9FED2E82-8B4E-CED3-E7CC-13BEEA6B927D}"/>
          </ac:spMkLst>
        </pc:spChg>
        <pc:spChg chg="mod">
          <ac:chgData name="Johanna Marx" userId="f7883e6b-b8f5-49bd-97ed-29afbba9d34b" providerId="ADAL" clId="{3FB5D714-E125-4641-BF90-3447CB5D2DA3}" dt="2025-02-02T11:12:20.224" v="9123" actId="255"/>
          <ac:spMkLst>
            <pc:docMk/>
            <pc:sldMk cId="1601966315" sldId="285"/>
            <ac:spMk id="5" creationId="{47CB8B55-5221-8ED1-B020-5C92DCB4AE8A}"/>
          </ac:spMkLst>
        </pc:spChg>
        <pc:spChg chg="mod">
          <ac:chgData name="Johanna Marx" userId="f7883e6b-b8f5-49bd-97ed-29afbba9d34b" providerId="ADAL" clId="{3FB5D714-E125-4641-BF90-3447CB5D2DA3}" dt="2025-02-02T11:04:46.085" v="9041" actId="1035"/>
          <ac:spMkLst>
            <pc:docMk/>
            <pc:sldMk cId="1601966315" sldId="285"/>
            <ac:spMk id="6" creationId="{60826006-F73F-8F4D-B400-0565C4DD04A9}"/>
          </ac:spMkLst>
        </pc:spChg>
        <pc:spChg chg="mod">
          <ac:chgData name="Johanna Marx" userId="f7883e6b-b8f5-49bd-97ed-29afbba9d34b" providerId="ADAL" clId="{3FB5D714-E125-4641-BF90-3447CB5D2DA3}" dt="2025-02-02T11:04:22.664" v="9003" actId="1076"/>
          <ac:spMkLst>
            <pc:docMk/>
            <pc:sldMk cId="1601966315" sldId="285"/>
            <ac:spMk id="8" creationId="{0F2527F7-CBA9-70C1-03DE-5F22B192FA30}"/>
          </ac:spMkLst>
        </pc:spChg>
        <pc:spChg chg="mod">
          <ac:chgData name="Johanna Marx" userId="f7883e6b-b8f5-49bd-97ed-29afbba9d34b" providerId="ADAL" clId="{3FB5D714-E125-4641-BF90-3447CB5D2DA3}" dt="2025-02-02T11:04:17.393" v="9001" actId="1076"/>
          <ac:spMkLst>
            <pc:docMk/>
            <pc:sldMk cId="1601966315" sldId="285"/>
            <ac:spMk id="9" creationId="{8AE5B2B1-1A55-4C2C-EED1-53E025FF813D}"/>
          </ac:spMkLst>
        </pc:spChg>
        <pc:spChg chg="mod">
          <ac:chgData name="Johanna Marx" userId="f7883e6b-b8f5-49bd-97ed-29afbba9d34b" providerId="ADAL" clId="{3FB5D714-E125-4641-BF90-3447CB5D2DA3}" dt="2025-02-02T11:04:17.393" v="9001" actId="1076"/>
          <ac:spMkLst>
            <pc:docMk/>
            <pc:sldMk cId="1601966315" sldId="285"/>
            <ac:spMk id="10" creationId="{91A3E247-EF6D-1DD4-2CEE-AD97DFB2AB84}"/>
          </ac:spMkLst>
        </pc:spChg>
        <pc:spChg chg="mod">
          <ac:chgData name="Johanna Marx" userId="f7883e6b-b8f5-49bd-97ed-29afbba9d34b" providerId="ADAL" clId="{3FB5D714-E125-4641-BF90-3447CB5D2DA3}" dt="2025-02-02T11:04:17.393" v="9001" actId="1076"/>
          <ac:spMkLst>
            <pc:docMk/>
            <pc:sldMk cId="1601966315" sldId="285"/>
            <ac:spMk id="11" creationId="{95BBC967-E5E7-5520-3149-E6BC2AA47613}"/>
          </ac:spMkLst>
        </pc:spChg>
        <pc:spChg chg="mod">
          <ac:chgData name="Johanna Marx" userId="f7883e6b-b8f5-49bd-97ed-29afbba9d34b" providerId="ADAL" clId="{3FB5D714-E125-4641-BF90-3447CB5D2DA3}" dt="2025-02-02T11:04:17.393" v="9001" actId="1076"/>
          <ac:spMkLst>
            <pc:docMk/>
            <pc:sldMk cId="1601966315" sldId="285"/>
            <ac:spMk id="12" creationId="{5EF3E304-9BD6-88F0-8F3E-ED96D307D49F}"/>
          </ac:spMkLst>
        </pc:spChg>
        <pc:spChg chg="mod">
          <ac:chgData name="Johanna Marx" userId="f7883e6b-b8f5-49bd-97ed-29afbba9d34b" providerId="ADAL" clId="{3FB5D714-E125-4641-BF90-3447CB5D2DA3}" dt="2025-02-02T11:04:17.393" v="9001" actId="1076"/>
          <ac:spMkLst>
            <pc:docMk/>
            <pc:sldMk cId="1601966315" sldId="285"/>
            <ac:spMk id="13" creationId="{75435C71-5BAC-6693-DC70-C04C791B459A}"/>
          </ac:spMkLst>
        </pc:spChg>
        <pc:spChg chg="mod">
          <ac:chgData name="Johanna Marx" userId="f7883e6b-b8f5-49bd-97ed-29afbba9d34b" providerId="ADAL" clId="{3FB5D714-E125-4641-BF90-3447CB5D2DA3}" dt="2025-02-02T11:05:01.872" v="9060" actId="1038"/>
          <ac:spMkLst>
            <pc:docMk/>
            <pc:sldMk cId="1601966315" sldId="285"/>
            <ac:spMk id="20" creationId="{2240E9CB-3E86-122C-9767-7BADBDD48767}"/>
          </ac:spMkLst>
        </pc:spChg>
        <pc:spChg chg="mod">
          <ac:chgData name="Johanna Marx" userId="f7883e6b-b8f5-49bd-97ed-29afbba9d34b" providerId="ADAL" clId="{3FB5D714-E125-4641-BF90-3447CB5D2DA3}" dt="2025-01-29T13:45:26.700" v="118" actId="1076"/>
          <ac:spMkLst>
            <pc:docMk/>
            <pc:sldMk cId="1601966315" sldId="285"/>
            <ac:spMk id="21" creationId="{FA6DD4FC-E339-C276-2283-3E165E7E8F50}"/>
          </ac:spMkLst>
        </pc:spChg>
        <pc:spChg chg="mod">
          <ac:chgData name="Johanna Marx" userId="f7883e6b-b8f5-49bd-97ed-29afbba9d34b" providerId="ADAL" clId="{3FB5D714-E125-4641-BF90-3447CB5D2DA3}" dt="2025-02-02T11:05:01.872" v="9060" actId="1038"/>
          <ac:spMkLst>
            <pc:docMk/>
            <pc:sldMk cId="1601966315" sldId="285"/>
            <ac:spMk id="22" creationId="{FE293BEB-10AE-D6AB-EBE2-A922DCFE03C1}"/>
          </ac:spMkLst>
        </pc:spChg>
        <pc:spChg chg="mod">
          <ac:chgData name="Johanna Marx" userId="f7883e6b-b8f5-49bd-97ed-29afbba9d34b" providerId="ADAL" clId="{3FB5D714-E125-4641-BF90-3447CB5D2DA3}" dt="2025-02-02T11:06:43.241" v="9076" actId="207"/>
          <ac:spMkLst>
            <pc:docMk/>
            <pc:sldMk cId="1601966315" sldId="285"/>
            <ac:spMk id="28" creationId="{1E7F3884-BACD-49E3-027F-BC4198F8C2AE}"/>
          </ac:spMkLst>
        </pc:spChg>
        <pc:picChg chg="mod">
          <ac:chgData name="Johanna Marx" userId="f7883e6b-b8f5-49bd-97ed-29afbba9d34b" providerId="ADAL" clId="{3FB5D714-E125-4641-BF90-3447CB5D2DA3}" dt="2025-02-02T11:04:17.393" v="9001" actId="1076"/>
          <ac:picMkLst>
            <pc:docMk/>
            <pc:sldMk cId="1601966315" sldId="285"/>
            <ac:picMk id="14" creationId="{75811885-D681-ED86-BD6D-115F876577E8}"/>
          </ac:picMkLst>
        </pc:picChg>
        <pc:picChg chg="mod">
          <ac:chgData name="Johanna Marx" userId="f7883e6b-b8f5-49bd-97ed-29afbba9d34b" providerId="ADAL" clId="{3FB5D714-E125-4641-BF90-3447CB5D2DA3}" dt="2025-01-29T13:45:11.991" v="116" actId="1076"/>
          <ac:picMkLst>
            <pc:docMk/>
            <pc:sldMk cId="1601966315" sldId="285"/>
            <ac:picMk id="15" creationId="{38FB201E-E664-1437-9C88-1B95B765AD86}"/>
          </ac:picMkLst>
        </pc:picChg>
        <pc:picChg chg="mod">
          <ac:chgData name="Johanna Marx" userId="f7883e6b-b8f5-49bd-97ed-29afbba9d34b" providerId="ADAL" clId="{3FB5D714-E125-4641-BF90-3447CB5D2DA3}" dt="2025-02-02T11:04:20.355" v="9002" actId="1076"/>
          <ac:picMkLst>
            <pc:docMk/>
            <pc:sldMk cId="1601966315" sldId="285"/>
            <ac:picMk id="16" creationId="{AFEFEFD4-466A-92EB-7F8D-0D011A0ECB41}"/>
          </ac:picMkLst>
        </pc:picChg>
        <pc:picChg chg="mod">
          <ac:chgData name="Johanna Marx" userId="f7883e6b-b8f5-49bd-97ed-29afbba9d34b" providerId="ADAL" clId="{3FB5D714-E125-4641-BF90-3447CB5D2DA3}" dt="2025-02-02T11:04:24.586" v="9004" actId="1076"/>
          <ac:picMkLst>
            <pc:docMk/>
            <pc:sldMk cId="1601966315" sldId="285"/>
            <ac:picMk id="17" creationId="{7C721E98-FF10-6521-4B84-2246FDF7F1DE}"/>
          </ac:picMkLst>
        </pc:picChg>
        <pc:picChg chg="mod">
          <ac:chgData name="Johanna Marx" userId="f7883e6b-b8f5-49bd-97ed-29afbba9d34b" providerId="ADAL" clId="{3FB5D714-E125-4641-BF90-3447CB5D2DA3}" dt="2025-02-02T11:05:01.872" v="9060" actId="1038"/>
          <ac:picMkLst>
            <pc:docMk/>
            <pc:sldMk cId="1601966315" sldId="285"/>
            <ac:picMk id="18" creationId="{B405F80C-758F-01DF-CEC4-3CC0D552561E}"/>
          </ac:picMkLst>
        </pc:picChg>
        <pc:picChg chg="mod">
          <ac:chgData name="Johanna Marx" userId="f7883e6b-b8f5-49bd-97ed-29afbba9d34b" providerId="ADAL" clId="{3FB5D714-E125-4641-BF90-3447CB5D2DA3}" dt="2025-02-02T11:05:01.872" v="9060" actId="1038"/>
          <ac:picMkLst>
            <pc:docMk/>
            <pc:sldMk cId="1601966315" sldId="285"/>
            <ac:picMk id="24" creationId="{8D663BB8-1F95-8E05-7D7F-1BFA3E8D88E0}"/>
          </ac:picMkLst>
        </pc:picChg>
        <pc:picChg chg="mod">
          <ac:chgData name="Johanna Marx" userId="f7883e6b-b8f5-49bd-97ed-29afbba9d34b" providerId="ADAL" clId="{3FB5D714-E125-4641-BF90-3447CB5D2DA3}" dt="2025-02-02T11:05:33.638" v="9065" actId="1076"/>
          <ac:picMkLst>
            <pc:docMk/>
            <pc:sldMk cId="1601966315" sldId="285"/>
            <ac:picMk id="34" creationId="{07D92C56-89DA-4779-F42E-0575B27D415B}"/>
          </ac:picMkLst>
        </pc:picChg>
      </pc:sldChg>
      <pc:sldChg chg="addSp delSp modSp mod">
        <pc:chgData name="Johanna Marx" userId="f7883e6b-b8f5-49bd-97ed-29afbba9d34b" providerId="ADAL" clId="{3FB5D714-E125-4641-BF90-3447CB5D2DA3}" dt="2025-02-02T11:11:32.350" v="9110" actId="255"/>
        <pc:sldMkLst>
          <pc:docMk/>
          <pc:sldMk cId="3573279774" sldId="286"/>
        </pc:sldMkLst>
        <pc:spChg chg="mod">
          <ac:chgData name="Johanna Marx" userId="f7883e6b-b8f5-49bd-97ed-29afbba9d34b" providerId="ADAL" clId="{3FB5D714-E125-4641-BF90-3447CB5D2DA3}" dt="2025-02-02T11:11:28.403" v="9109" actId="14100"/>
          <ac:spMkLst>
            <pc:docMk/>
            <pc:sldMk cId="3573279774" sldId="286"/>
            <ac:spMk id="2" creationId="{61FC4D4D-A852-3684-AEF3-B33B3F8311BC}"/>
          </ac:spMkLst>
        </pc:spChg>
        <pc:spChg chg="mod">
          <ac:chgData name="Johanna Marx" userId="f7883e6b-b8f5-49bd-97ed-29afbba9d34b" providerId="ADAL" clId="{3FB5D714-E125-4641-BF90-3447CB5D2DA3}" dt="2025-02-02T11:07:10.574" v="9082" actId="1076"/>
          <ac:spMkLst>
            <pc:docMk/>
            <pc:sldMk cId="3573279774" sldId="286"/>
            <ac:spMk id="3" creationId="{855A30B5-31EC-CF54-E7E3-4E2BE1B24C7A}"/>
          </ac:spMkLst>
        </pc:spChg>
        <pc:spChg chg="mod">
          <ac:chgData name="Johanna Marx" userId="f7883e6b-b8f5-49bd-97ed-29afbba9d34b" providerId="ADAL" clId="{3FB5D714-E125-4641-BF90-3447CB5D2DA3}" dt="2025-01-29T14:06:45.460" v="540" actId="1036"/>
          <ac:spMkLst>
            <pc:docMk/>
            <pc:sldMk cId="3573279774" sldId="286"/>
            <ac:spMk id="4" creationId="{3B98D95B-10EA-CE22-95E0-1DBB4C1CB63B}"/>
          </ac:spMkLst>
        </pc:spChg>
        <pc:spChg chg="mod">
          <ac:chgData name="Johanna Marx" userId="f7883e6b-b8f5-49bd-97ed-29afbba9d34b" providerId="ADAL" clId="{3FB5D714-E125-4641-BF90-3447CB5D2DA3}" dt="2025-02-02T11:07:10.574" v="9082" actId="1076"/>
          <ac:spMkLst>
            <pc:docMk/>
            <pc:sldMk cId="3573279774" sldId="286"/>
            <ac:spMk id="5" creationId="{86D9B208-016D-11B1-A5B7-841961C1B3AD}"/>
          </ac:spMkLst>
        </pc:spChg>
        <pc:spChg chg="mod">
          <ac:chgData name="Johanna Marx" userId="f7883e6b-b8f5-49bd-97ed-29afbba9d34b" providerId="ADAL" clId="{3FB5D714-E125-4641-BF90-3447CB5D2DA3}" dt="2025-02-02T11:11:24.599" v="9108" actId="255"/>
          <ac:spMkLst>
            <pc:docMk/>
            <pc:sldMk cId="3573279774" sldId="286"/>
            <ac:spMk id="6" creationId="{EECBEFEB-9C0E-5927-15A7-351A5C54385E}"/>
          </ac:spMkLst>
        </pc:spChg>
        <pc:spChg chg="mod">
          <ac:chgData name="Johanna Marx" userId="f7883e6b-b8f5-49bd-97ed-29afbba9d34b" providerId="ADAL" clId="{3FB5D714-E125-4641-BF90-3447CB5D2DA3}" dt="2025-02-02T11:11:32.350" v="9110" actId="255"/>
          <ac:spMkLst>
            <pc:docMk/>
            <pc:sldMk cId="3573279774" sldId="286"/>
            <ac:spMk id="16" creationId="{9512D10A-8AFA-B149-A351-9F6D9825A080}"/>
          </ac:spMkLst>
        </pc:spChg>
        <pc:spChg chg="add mod">
          <ac:chgData name="Johanna Marx" userId="f7883e6b-b8f5-49bd-97ed-29afbba9d34b" providerId="ADAL" clId="{3FB5D714-E125-4641-BF90-3447CB5D2DA3}" dt="2025-02-02T11:06:57.384" v="9079" actId="207"/>
          <ac:spMkLst>
            <pc:docMk/>
            <pc:sldMk cId="3573279774" sldId="286"/>
            <ac:spMk id="17" creationId="{BEF3A7DB-7CEA-2AE8-759A-77A0CC69B473}"/>
          </ac:spMkLst>
        </pc:spChg>
        <pc:picChg chg="mod">
          <ac:chgData name="Johanna Marx" userId="f7883e6b-b8f5-49bd-97ed-29afbba9d34b" providerId="ADAL" clId="{3FB5D714-E125-4641-BF90-3447CB5D2DA3}" dt="2025-02-02T11:07:10.574" v="9082" actId="1076"/>
          <ac:picMkLst>
            <pc:docMk/>
            <pc:sldMk cId="3573279774" sldId="286"/>
            <ac:picMk id="20" creationId="{65CEF2F0-0EE8-EB62-7168-208D0FD3E6EB}"/>
          </ac:picMkLst>
        </pc:picChg>
      </pc:sldChg>
      <pc:sldChg chg="modSp mod">
        <pc:chgData name="Johanna Marx" userId="f7883e6b-b8f5-49bd-97ed-29afbba9d34b" providerId="ADAL" clId="{3FB5D714-E125-4641-BF90-3447CB5D2DA3}" dt="2025-02-02T11:15:28.037" v="9206" actId="14100"/>
        <pc:sldMkLst>
          <pc:docMk/>
          <pc:sldMk cId="1997358788" sldId="297"/>
        </pc:sldMkLst>
        <pc:spChg chg="mod">
          <ac:chgData name="Johanna Marx" userId="f7883e6b-b8f5-49bd-97ed-29afbba9d34b" providerId="ADAL" clId="{3FB5D714-E125-4641-BF90-3447CB5D2DA3}" dt="2025-02-02T11:15:04.588" v="9200" actId="1076"/>
          <ac:spMkLst>
            <pc:docMk/>
            <pc:sldMk cId="1997358788" sldId="297"/>
            <ac:spMk id="3" creationId="{0E01984D-6347-EADA-B0C5-F29F9010D71C}"/>
          </ac:spMkLst>
        </pc:spChg>
        <pc:spChg chg="mod">
          <ac:chgData name="Johanna Marx" userId="f7883e6b-b8f5-49bd-97ed-29afbba9d34b" providerId="ADAL" clId="{3FB5D714-E125-4641-BF90-3447CB5D2DA3}" dt="2025-02-02T11:15:24.510" v="9205" actId="6549"/>
          <ac:spMkLst>
            <pc:docMk/>
            <pc:sldMk cId="1997358788" sldId="297"/>
            <ac:spMk id="5" creationId="{1BDD5603-4A46-972A-AEFC-37AC9071558D}"/>
          </ac:spMkLst>
        </pc:spChg>
        <pc:spChg chg="mod">
          <ac:chgData name="Johanna Marx" userId="f7883e6b-b8f5-49bd-97ed-29afbba9d34b" providerId="ADAL" clId="{3FB5D714-E125-4641-BF90-3447CB5D2DA3}" dt="2025-02-02T11:15:09.535" v="9201" actId="255"/>
          <ac:spMkLst>
            <pc:docMk/>
            <pc:sldMk cId="1997358788" sldId="297"/>
            <ac:spMk id="8" creationId="{CE749D75-BB64-EA3F-4A37-8B6B98B5B366}"/>
          </ac:spMkLst>
        </pc:spChg>
        <pc:spChg chg="mod">
          <ac:chgData name="Johanna Marx" userId="f7883e6b-b8f5-49bd-97ed-29afbba9d34b" providerId="ADAL" clId="{3FB5D714-E125-4641-BF90-3447CB5D2DA3}" dt="2025-02-02T11:15:09.535" v="9201" actId="255"/>
          <ac:spMkLst>
            <pc:docMk/>
            <pc:sldMk cId="1997358788" sldId="297"/>
            <ac:spMk id="13" creationId="{817FCBA3-EFE9-7AA6-9D84-3B990635EB2E}"/>
          </ac:spMkLst>
        </pc:spChg>
        <pc:spChg chg="mod">
          <ac:chgData name="Johanna Marx" userId="f7883e6b-b8f5-49bd-97ed-29afbba9d34b" providerId="ADAL" clId="{3FB5D714-E125-4641-BF90-3447CB5D2DA3}" dt="2025-02-02T11:15:28.037" v="9206" actId="14100"/>
          <ac:spMkLst>
            <pc:docMk/>
            <pc:sldMk cId="1997358788" sldId="297"/>
            <ac:spMk id="20" creationId="{1939F5DF-79A6-B561-B96A-2F9BE047DEAD}"/>
          </ac:spMkLst>
        </pc:spChg>
        <pc:spChg chg="mod">
          <ac:chgData name="Johanna Marx" userId="f7883e6b-b8f5-49bd-97ed-29afbba9d34b" providerId="ADAL" clId="{3FB5D714-E125-4641-BF90-3447CB5D2DA3}" dt="2025-02-02T11:15:04.588" v="9200" actId="1076"/>
          <ac:spMkLst>
            <pc:docMk/>
            <pc:sldMk cId="1997358788" sldId="297"/>
            <ac:spMk id="21" creationId="{B5F76BDE-C093-9107-606B-75F57D0DBD4E}"/>
          </ac:spMkLst>
        </pc:spChg>
        <pc:spChg chg="mod">
          <ac:chgData name="Johanna Marx" userId="f7883e6b-b8f5-49bd-97ed-29afbba9d34b" providerId="ADAL" clId="{3FB5D714-E125-4641-BF90-3447CB5D2DA3}" dt="2025-02-02T11:15:04.588" v="9200" actId="1076"/>
          <ac:spMkLst>
            <pc:docMk/>
            <pc:sldMk cId="1997358788" sldId="297"/>
            <ac:spMk id="23" creationId="{F08161A4-A064-B798-FE66-AEA513B546C9}"/>
          </ac:spMkLst>
        </pc:spChg>
        <pc:picChg chg="mod">
          <ac:chgData name="Johanna Marx" userId="f7883e6b-b8f5-49bd-97ed-29afbba9d34b" providerId="ADAL" clId="{3FB5D714-E125-4641-BF90-3447CB5D2DA3}" dt="2025-02-02T11:15:04.588" v="9200" actId="1076"/>
          <ac:picMkLst>
            <pc:docMk/>
            <pc:sldMk cId="1997358788" sldId="297"/>
            <ac:picMk id="22" creationId="{53F49540-45AB-E6E9-8588-AC066B314A52}"/>
          </ac:picMkLst>
        </pc:picChg>
      </pc:sldChg>
      <pc:sldChg chg="addSp delSp modSp mod modClrScheme chgLayout">
        <pc:chgData name="Johanna Marx" userId="f7883e6b-b8f5-49bd-97ed-29afbba9d34b" providerId="ADAL" clId="{3FB5D714-E125-4641-BF90-3447CB5D2DA3}" dt="2025-02-02T13:44:40.611" v="9857"/>
        <pc:sldMkLst>
          <pc:docMk/>
          <pc:sldMk cId="855508414" sldId="301"/>
        </pc:sldMkLst>
        <pc:spChg chg="mod">
          <ac:chgData name="Johanna Marx" userId="f7883e6b-b8f5-49bd-97ed-29afbba9d34b" providerId="ADAL" clId="{3FB5D714-E125-4641-BF90-3447CB5D2DA3}" dt="2025-02-02T10:57:29.652" v="8892" actId="14100"/>
          <ac:spMkLst>
            <pc:docMk/>
            <pc:sldMk cId="855508414" sldId="301"/>
            <ac:spMk id="2" creationId="{78EF8FC4-C080-D74B-FA0A-DAA361DC6682}"/>
          </ac:spMkLst>
        </pc:spChg>
        <pc:spChg chg="add del mod ord">
          <ac:chgData name="Johanna Marx" userId="f7883e6b-b8f5-49bd-97ed-29afbba9d34b" providerId="ADAL" clId="{3FB5D714-E125-4641-BF90-3447CB5D2DA3}" dt="2025-02-02T13:44:35.073" v="9856" actId="700"/>
          <ac:spMkLst>
            <pc:docMk/>
            <pc:sldMk cId="855508414" sldId="301"/>
            <ac:spMk id="3" creationId="{F2DD5CE7-36BD-1087-557D-7F1365CEFAE8}"/>
          </ac:spMkLst>
        </pc:spChg>
        <pc:spChg chg="add del mod ord">
          <ac:chgData name="Johanna Marx" userId="f7883e6b-b8f5-49bd-97ed-29afbba9d34b" providerId="ADAL" clId="{3FB5D714-E125-4641-BF90-3447CB5D2DA3}" dt="2025-02-02T13:44:35.073" v="9856" actId="700"/>
          <ac:spMkLst>
            <pc:docMk/>
            <pc:sldMk cId="855508414" sldId="301"/>
            <ac:spMk id="4" creationId="{557D91E9-52C3-2830-214B-85D3FB57C17A}"/>
          </ac:spMkLst>
        </pc:spChg>
        <pc:spChg chg="mod">
          <ac:chgData name="Johanna Marx" userId="f7883e6b-b8f5-49bd-97ed-29afbba9d34b" providerId="ADAL" clId="{3FB5D714-E125-4641-BF90-3447CB5D2DA3}" dt="2025-02-02T10:57:32.516" v="8893" actId="14100"/>
          <ac:spMkLst>
            <pc:docMk/>
            <pc:sldMk cId="855508414" sldId="301"/>
            <ac:spMk id="5" creationId="{D4C413BD-98A7-F90F-8885-7185FB0495C4}"/>
          </ac:spMkLst>
        </pc:spChg>
        <pc:spChg chg="add del mod ord">
          <ac:chgData name="Johanna Marx" userId="f7883e6b-b8f5-49bd-97ed-29afbba9d34b" providerId="ADAL" clId="{3FB5D714-E125-4641-BF90-3447CB5D2DA3}" dt="2025-02-02T13:44:35.073" v="9856" actId="700"/>
          <ac:spMkLst>
            <pc:docMk/>
            <pc:sldMk cId="855508414" sldId="301"/>
            <ac:spMk id="6" creationId="{9A3A1F31-7BD4-4AF0-9F49-723110FAF27C}"/>
          </ac:spMkLst>
        </pc:spChg>
        <pc:spChg chg="add del mod ord">
          <ac:chgData name="Johanna Marx" userId="f7883e6b-b8f5-49bd-97ed-29afbba9d34b" providerId="ADAL" clId="{3FB5D714-E125-4641-BF90-3447CB5D2DA3}" dt="2025-02-02T13:44:35.073" v="9856" actId="700"/>
          <ac:spMkLst>
            <pc:docMk/>
            <pc:sldMk cId="855508414" sldId="301"/>
            <ac:spMk id="7" creationId="{DBA1A63B-CDB5-FF71-E7D4-A60BED158B93}"/>
          </ac:spMkLst>
        </pc:spChg>
        <pc:spChg chg="mod">
          <ac:chgData name="Johanna Marx" userId="f7883e6b-b8f5-49bd-97ed-29afbba9d34b" providerId="ADAL" clId="{3FB5D714-E125-4641-BF90-3447CB5D2DA3}" dt="2025-02-02T12:06:37.571" v="9784" actId="20577"/>
          <ac:spMkLst>
            <pc:docMk/>
            <pc:sldMk cId="855508414" sldId="301"/>
            <ac:spMk id="14" creationId="{A1668B4A-6D4A-8D7F-025E-91402E10F567}"/>
          </ac:spMkLst>
        </pc:spChg>
        <pc:spChg chg="mod">
          <ac:chgData name="Johanna Marx" userId="f7883e6b-b8f5-49bd-97ed-29afbba9d34b" providerId="ADAL" clId="{3FB5D714-E125-4641-BF90-3447CB5D2DA3}" dt="2025-02-02T13:44:10.333" v="9851" actId="1076"/>
          <ac:spMkLst>
            <pc:docMk/>
            <pc:sldMk cId="855508414" sldId="301"/>
            <ac:spMk id="45" creationId="{FDA57636-E66E-F394-3E03-5D03159A3A34}"/>
          </ac:spMkLst>
        </pc:spChg>
        <pc:spChg chg="mod">
          <ac:chgData name="Johanna Marx" userId="f7883e6b-b8f5-49bd-97ed-29afbba9d34b" providerId="ADAL" clId="{3FB5D714-E125-4641-BF90-3447CB5D2DA3}" dt="2025-02-02T12:06:17.234" v="9722" actId="20577"/>
          <ac:spMkLst>
            <pc:docMk/>
            <pc:sldMk cId="855508414" sldId="301"/>
            <ac:spMk id="47" creationId="{B4038930-0E51-1F15-F0BF-04F535E1BD00}"/>
          </ac:spMkLst>
        </pc:spChg>
        <pc:spChg chg="mod">
          <ac:chgData name="Johanna Marx" userId="f7883e6b-b8f5-49bd-97ed-29afbba9d34b" providerId="ADAL" clId="{3FB5D714-E125-4641-BF90-3447CB5D2DA3}" dt="2025-01-29T13:36:55.577" v="56" actId="20577"/>
          <ac:spMkLst>
            <pc:docMk/>
            <pc:sldMk cId="855508414" sldId="301"/>
            <ac:spMk id="49" creationId="{82127627-34E5-8BD9-1F2B-D74DDC96773B}"/>
          </ac:spMkLst>
        </pc:spChg>
        <pc:spChg chg="mod ord">
          <ac:chgData name="Johanna Marx" userId="f7883e6b-b8f5-49bd-97ed-29afbba9d34b" providerId="ADAL" clId="{3FB5D714-E125-4641-BF90-3447CB5D2DA3}" dt="2025-02-02T13:44:35.073" v="9856" actId="700"/>
          <ac:spMkLst>
            <pc:docMk/>
            <pc:sldMk cId="855508414" sldId="301"/>
            <ac:spMk id="345" creationId="{00000000-0000-0000-0000-000000000000}"/>
          </ac:spMkLst>
        </pc:spChg>
        <pc:picChg chg="add mod">
          <ac:chgData name="Johanna Marx" userId="f7883e6b-b8f5-49bd-97ed-29afbba9d34b" providerId="ADAL" clId="{3FB5D714-E125-4641-BF90-3447CB5D2DA3}" dt="2025-02-02T13:44:40.611" v="9857"/>
          <ac:picMkLst>
            <pc:docMk/>
            <pc:sldMk cId="855508414" sldId="301"/>
            <ac:picMk id="8" creationId="{6CD05F2E-3DA5-B2D3-20DD-6FFFEBEAF5D5}"/>
          </ac:picMkLst>
        </pc:picChg>
      </pc:sldChg>
      <pc:sldChg chg="addSp delSp modSp mod modClrScheme chgLayout">
        <pc:chgData name="Johanna Marx" userId="f7883e6b-b8f5-49bd-97ed-29afbba9d34b" providerId="ADAL" clId="{3FB5D714-E125-4641-BF90-3447CB5D2DA3}" dt="2025-02-02T13:43:34.836" v="9848"/>
        <pc:sldMkLst>
          <pc:docMk/>
          <pc:sldMk cId="2738800295" sldId="302"/>
        </pc:sldMkLst>
        <pc:spChg chg="mod ord">
          <ac:chgData name="Johanna Marx" userId="f7883e6b-b8f5-49bd-97ed-29afbba9d34b" providerId="ADAL" clId="{3FB5D714-E125-4641-BF90-3447CB5D2DA3}" dt="2025-02-02T10:47:19.064" v="8869" actId="700"/>
          <ac:spMkLst>
            <pc:docMk/>
            <pc:sldMk cId="2738800295" sldId="302"/>
            <ac:spMk id="5" creationId="{4B82F80D-EBE8-7B85-2225-8FFD69742ED5}"/>
          </ac:spMkLst>
        </pc:spChg>
        <pc:spChg chg="mod">
          <ac:chgData name="Johanna Marx" userId="f7883e6b-b8f5-49bd-97ed-29afbba9d34b" providerId="ADAL" clId="{3FB5D714-E125-4641-BF90-3447CB5D2DA3}" dt="2025-02-02T11:02:21.909" v="8954" actId="114"/>
          <ac:spMkLst>
            <pc:docMk/>
            <pc:sldMk cId="2738800295" sldId="302"/>
            <ac:spMk id="7" creationId="{48E25BC3-2A78-5F2C-F720-366C9B167CBD}"/>
          </ac:spMkLst>
        </pc:spChg>
        <pc:picChg chg="add del mod">
          <ac:chgData name="Johanna Marx" userId="f7883e6b-b8f5-49bd-97ed-29afbba9d34b" providerId="ADAL" clId="{3FB5D714-E125-4641-BF90-3447CB5D2DA3}" dt="2025-02-02T13:37:07.091" v="9812" actId="478"/>
          <ac:picMkLst>
            <pc:docMk/>
            <pc:sldMk cId="2738800295" sldId="302"/>
            <ac:picMk id="2" creationId="{D7DE6827-ECC7-7F79-8DC0-81258870696F}"/>
          </ac:picMkLst>
        </pc:picChg>
        <pc:picChg chg="add mod">
          <ac:chgData name="Johanna Marx" userId="f7883e6b-b8f5-49bd-97ed-29afbba9d34b" providerId="ADAL" clId="{3FB5D714-E125-4641-BF90-3447CB5D2DA3}" dt="2025-02-02T13:43:34.836" v="9848"/>
          <ac:picMkLst>
            <pc:docMk/>
            <pc:sldMk cId="2738800295" sldId="302"/>
            <ac:picMk id="3" creationId="{D0957D58-7462-E53F-44DB-D25177C5D85F}"/>
          </ac:picMkLst>
        </pc:picChg>
      </pc:sldChg>
      <pc:sldChg chg="addSp delSp modSp mod">
        <pc:chgData name="Johanna Marx" userId="f7883e6b-b8f5-49bd-97ed-29afbba9d34b" providerId="ADAL" clId="{3FB5D714-E125-4641-BF90-3447CB5D2DA3}" dt="2025-02-02T13:43:33.412" v="9847"/>
        <pc:sldMkLst>
          <pc:docMk/>
          <pc:sldMk cId="1608053785" sldId="303"/>
        </pc:sldMkLst>
        <pc:spChg chg="mod">
          <ac:chgData name="Johanna Marx" userId="f7883e6b-b8f5-49bd-97ed-29afbba9d34b" providerId="ADAL" clId="{3FB5D714-E125-4641-BF90-3447CB5D2DA3}" dt="2025-02-02T10:54:41.197" v="8871" actId="14100"/>
          <ac:spMkLst>
            <pc:docMk/>
            <pc:sldMk cId="1608053785" sldId="303"/>
            <ac:spMk id="6" creationId="{F7697B48-98C7-2D4D-028F-20A8A01892B8}"/>
          </ac:spMkLst>
        </pc:spChg>
        <pc:spChg chg="mod">
          <ac:chgData name="Johanna Marx" userId="f7883e6b-b8f5-49bd-97ed-29afbba9d34b" providerId="ADAL" clId="{3FB5D714-E125-4641-BF90-3447CB5D2DA3}" dt="2025-02-02T11:02:14.418" v="8951" actId="207"/>
          <ac:spMkLst>
            <pc:docMk/>
            <pc:sldMk cId="1608053785" sldId="303"/>
            <ac:spMk id="7" creationId="{48E25BC3-2A78-5F2C-F720-366C9B167CBD}"/>
          </ac:spMkLst>
        </pc:spChg>
        <pc:picChg chg="add del mod">
          <ac:chgData name="Johanna Marx" userId="f7883e6b-b8f5-49bd-97ed-29afbba9d34b" providerId="ADAL" clId="{3FB5D714-E125-4641-BF90-3447CB5D2DA3}" dt="2025-02-02T13:37:09.463" v="9813" actId="478"/>
          <ac:picMkLst>
            <pc:docMk/>
            <pc:sldMk cId="1608053785" sldId="303"/>
            <ac:picMk id="3" creationId="{8F38488E-57EF-F9FE-266D-7B1E23D38398}"/>
          </ac:picMkLst>
        </pc:picChg>
        <pc:picChg chg="add mod">
          <ac:chgData name="Johanna Marx" userId="f7883e6b-b8f5-49bd-97ed-29afbba9d34b" providerId="ADAL" clId="{3FB5D714-E125-4641-BF90-3447CB5D2DA3}" dt="2025-02-02T13:43:33.412" v="9847"/>
          <ac:picMkLst>
            <pc:docMk/>
            <pc:sldMk cId="1608053785" sldId="303"/>
            <ac:picMk id="4" creationId="{5CEB3422-6D8F-5731-67AB-25BB06600B2D}"/>
          </ac:picMkLst>
        </pc:picChg>
      </pc:sldChg>
      <pc:sldChg chg="addSp delSp modSp mod modClrScheme chgLayout">
        <pc:chgData name="Johanna Marx" userId="f7883e6b-b8f5-49bd-97ed-29afbba9d34b" providerId="ADAL" clId="{3FB5D714-E125-4641-BF90-3447CB5D2DA3}" dt="2025-02-02T11:25:25.478" v="9362" actId="255"/>
        <pc:sldMkLst>
          <pc:docMk/>
          <pc:sldMk cId="656948936" sldId="307"/>
        </pc:sldMkLst>
        <pc:spChg chg="mod ord">
          <ac:chgData name="Johanna Marx" userId="f7883e6b-b8f5-49bd-97ed-29afbba9d34b" providerId="ADAL" clId="{3FB5D714-E125-4641-BF90-3447CB5D2DA3}" dt="2025-02-02T11:23:14.542" v="9348" actId="1076"/>
          <ac:spMkLst>
            <pc:docMk/>
            <pc:sldMk cId="656948936" sldId="307"/>
            <ac:spMk id="2" creationId="{FE3A5165-8DD7-B00A-7B51-96C83EC80066}"/>
          </ac:spMkLst>
        </pc:spChg>
        <pc:spChg chg="add del mod ord">
          <ac:chgData name="Johanna Marx" userId="f7883e6b-b8f5-49bd-97ed-29afbba9d34b" providerId="ADAL" clId="{3FB5D714-E125-4641-BF90-3447CB5D2DA3}" dt="2025-02-02T10:42:54.440" v="8848" actId="478"/>
          <ac:spMkLst>
            <pc:docMk/>
            <pc:sldMk cId="656948936" sldId="307"/>
            <ac:spMk id="3" creationId="{897C2D91-EB44-4DF8-FC07-FC446AF85AB1}"/>
          </ac:spMkLst>
        </pc:spChg>
        <pc:spChg chg="add del mod ord">
          <ac:chgData name="Johanna Marx" userId="f7883e6b-b8f5-49bd-97ed-29afbba9d34b" providerId="ADAL" clId="{3FB5D714-E125-4641-BF90-3447CB5D2DA3}" dt="2025-02-02T10:42:54.440" v="8848" actId="478"/>
          <ac:spMkLst>
            <pc:docMk/>
            <pc:sldMk cId="656948936" sldId="307"/>
            <ac:spMk id="4" creationId="{89C2EDF3-CCFB-D52F-6A3E-A90B8B1B2EF4}"/>
          </ac:spMkLst>
        </pc:spChg>
        <pc:spChg chg="mod ord">
          <ac:chgData name="Johanna Marx" userId="f7883e6b-b8f5-49bd-97ed-29afbba9d34b" providerId="ADAL" clId="{3FB5D714-E125-4641-BF90-3447CB5D2DA3}" dt="2025-02-02T10:42:49.230" v="8847" actId="700"/>
          <ac:spMkLst>
            <pc:docMk/>
            <pc:sldMk cId="656948936" sldId="307"/>
            <ac:spMk id="7" creationId="{D2EB48A1-78C4-0F93-6100-E70083C9853E}"/>
          </ac:spMkLst>
        </pc:spChg>
        <pc:spChg chg="mod">
          <ac:chgData name="Johanna Marx" userId="f7883e6b-b8f5-49bd-97ed-29afbba9d34b" providerId="ADAL" clId="{3FB5D714-E125-4641-BF90-3447CB5D2DA3}" dt="2025-02-02T11:25:25.478" v="9362" actId="255"/>
          <ac:spMkLst>
            <pc:docMk/>
            <pc:sldMk cId="656948936" sldId="307"/>
            <ac:spMk id="18" creationId="{9D402FC9-B003-6ABB-29C8-CFE131F86AFE}"/>
          </ac:spMkLst>
        </pc:spChg>
      </pc:sldChg>
      <pc:sldChg chg="addSp delSp modSp mod modClrScheme chgLayout">
        <pc:chgData name="Johanna Marx" userId="f7883e6b-b8f5-49bd-97ed-29afbba9d34b" providerId="ADAL" clId="{3FB5D714-E125-4641-BF90-3447CB5D2DA3}" dt="2025-02-02T12:39:40.661" v="9785" actId="14100"/>
        <pc:sldMkLst>
          <pc:docMk/>
          <pc:sldMk cId="4118735400" sldId="311"/>
        </pc:sldMkLst>
        <pc:spChg chg="add del mod ord">
          <ac:chgData name="Johanna Marx" userId="f7883e6b-b8f5-49bd-97ed-29afbba9d34b" providerId="ADAL" clId="{3FB5D714-E125-4641-BF90-3447CB5D2DA3}" dt="2025-02-02T10:46:50.549" v="8868" actId="478"/>
          <ac:spMkLst>
            <pc:docMk/>
            <pc:sldMk cId="4118735400" sldId="311"/>
            <ac:spMk id="2" creationId="{DB1038FF-81BA-CA45-60C9-3EAC4242C52A}"/>
          </ac:spMkLst>
        </pc:spChg>
        <pc:spChg chg="add mod">
          <ac:chgData name="Johanna Marx" userId="f7883e6b-b8f5-49bd-97ed-29afbba9d34b" providerId="ADAL" clId="{3FB5D714-E125-4641-BF90-3447CB5D2DA3}" dt="2025-02-02T12:39:40.661" v="9785" actId="14100"/>
          <ac:spMkLst>
            <pc:docMk/>
            <pc:sldMk cId="4118735400" sldId="311"/>
            <ac:spMk id="3" creationId="{E2419ABB-A5AB-D599-F8B9-F105EA80682B}"/>
          </ac:spMkLst>
        </pc:spChg>
        <pc:spChg chg="mod">
          <ac:chgData name="Johanna Marx" userId="f7883e6b-b8f5-49bd-97ed-29afbba9d34b" providerId="ADAL" clId="{3FB5D714-E125-4641-BF90-3447CB5D2DA3}" dt="2025-02-02T11:00:29.139" v="8935" actId="1038"/>
          <ac:spMkLst>
            <pc:docMk/>
            <pc:sldMk cId="4118735400" sldId="311"/>
            <ac:spMk id="5" creationId="{00BF61E3-667D-A868-F8B9-88B5DD8C5722}"/>
          </ac:spMkLst>
        </pc:spChg>
        <pc:spChg chg="mod ord">
          <ac:chgData name="Johanna Marx" userId="f7883e6b-b8f5-49bd-97ed-29afbba9d34b" providerId="ADAL" clId="{3FB5D714-E125-4641-BF90-3447CB5D2DA3}" dt="2025-02-02T10:46:46.471" v="8867" actId="700"/>
          <ac:spMkLst>
            <pc:docMk/>
            <pc:sldMk cId="4118735400" sldId="311"/>
            <ac:spMk id="7" creationId="{9DC95FD5-9D2A-515F-E49B-A46670706E83}"/>
          </ac:spMkLst>
        </pc:spChg>
      </pc:sldChg>
      <pc:sldChg chg="delSp modSp mod">
        <pc:chgData name="Johanna Marx" userId="f7883e6b-b8f5-49bd-97ed-29afbba9d34b" providerId="ADAL" clId="{3FB5D714-E125-4641-BF90-3447CB5D2DA3}" dt="2025-02-02T11:13:27.859" v="9165" actId="14100"/>
        <pc:sldMkLst>
          <pc:docMk/>
          <pc:sldMk cId="1126850562" sldId="317"/>
        </pc:sldMkLst>
        <pc:spChg chg="mod">
          <ac:chgData name="Johanna Marx" userId="f7883e6b-b8f5-49bd-97ed-29afbba9d34b" providerId="ADAL" clId="{3FB5D714-E125-4641-BF90-3447CB5D2DA3}" dt="2025-02-02T11:13:06.847" v="9154" actId="1076"/>
          <ac:spMkLst>
            <pc:docMk/>
            <pc:sldMk cId="1126850562" sldId="317"/>
            <ac:spMk id="8" creationId="{EAE65E17-24BD-9146-7605-4AD45B45C364}"/>
          </ac:spMkLst>
        </pc:spChg>
        <pc:spChg chg="mod">
          <ac:chgData name="Johanna Marx" userId="f7883e6b-b8f5-49bd-97ed-29afbba9d34b" providerId="ADAL" clId="{3FB5D714-E125-4641-BF90-3447CB5D2DA3}" dt="2025-02-02T11:13:12.236" v="9155" actId="255"/>
          <ac:spMkLst>
            <pc:docMk/>
            <pc:sldMk cId="1126850562" sldId="317"/>
            <ac:spMk id="13" creationId="{37B1975D-5314-EF92-0D9E-E2A606B471A6}"/>
          </ac:spMkLst>
        </pc:spChg>
        <pc:spChg chg="mod">
          <ac:chgData name="Johanna Marx" userId="f7883e6b-b8f5-49bd-97ed-29afbba9d34b" providerId="ADAL" clId="{3FB5D714-E125-4641-BF90-3447CB5D2DA3}" dt="2025-02-02T11:13:27.859" v="9165" actId="14100"/>
          <ac:spMkLst>
            <pc:docMk/>
            <pc:sldMk cId="1126850562" sldId="317"/>
            <ac:spMk id="14" creationId="{70D8283B-838F-7304-E20E-E3F94B3F6925}"/>
          </ac:spMkLst>
        </pc:spChg>
        <pc:spChg chg="mod">
          <ac:chgData name="Johanna Marx" userId="f7883e6b-b8f5-49bd-97ed-29afbba9d34b" providerId="ADAL" clId="{3FB5D714-E125-4641-BF90-3447CB5D2DA3}" dt="2025-02-02T11:13:24.257" v="9164" actId="1038"/>
          <ac:spMkLst>
            <pc:docMk/>
            <pc:sldMk cId="1126850562" sldId="317"/>
            <ac:spMk id="15" creationId="{D11F5D38-E76B-2625-D4C9-29A036A7C2F9}"/>
          </ac:spMkLst>
        </pc:spChg>
      </pc:sldChg>
      <pc:sldChg chg="addSp delSp modSp mod">
        <pc:chgData name="Johanna Marx" userId="f7883e6b-b8f5-49bd-97ed-29afbba9d34b" providerId="ADAL" clId="{3FB5D714-E125-4641-BF90-3447CB5D2DA3}" dt="2025-02-02T11:14:03.527" v="9186" actId="1036"/>
        <pc:sldMkLst>
          <pc:docMk/>
          <pc:sldMk cId="373550321" sldId="318"/>
        </pc:sldMkLst>
        <pc:spChg chg="mod">
          <ac:chgData name="Johanna Marx" userId="f7883e6b-b8f5-49bd-97ed-29afbba9d34b" providerId="ADAL" clId="{3FB5D714-E125-4641-BF90-3447CB5D2DA3}" dt="2025-02-02T11:13:47.044" v="9175" actId="1035"/>
          <ac:spMkLst>
            <pc:docMk/>
            <pc:sldMk cId="373550321" sldId="318"/>
            <ac:spMk id="2" creationId="{F0B2C064-86E3-B316-5126-29978F8DC037}"/>
          </ac:spMkLst>
        </pc:spChg>
        <pc:spChg chg="mod">
          <ac:chgData name="Johanna Marx" userId="f7883e6b-b8f5-49bd-97ed-29afbba9d34b" providerId="ADAL" clId="{3FB5D714-E125-4641-BF90-3447CB5D2DA3}" dt="2025-02-02T11:13:39.910" v="9166" actId="1076"/>
          <ac:spMkLst>
            <pc:docMk/>
            <pc:sldMk cId="373550321" sldId="318"/>
            <ac:spMk id="4" creationId="{9FED2E82-8B4E-CED3-E7CC-13BEEA6B927D}"/>
          </ac:spMkLst>
        </pc:spChg>
        <pc:spChg chg="mod">
          <ac:chgData name="Johanna Marx" userId="f7883e6b-b8f5-49bd-97ed-29afbba9d34b" providerId="ADAL" clId="{3FB5D714-E125-4641-BF90-3447CB5D2DA3}" dt="2025-02-02T11:13:47.044" v="9175" actId="1035"/>
          <ac:spMkLst>
            <pc:docMk/>
            <pc:sldMk cId="373550321" sldId="318"/>
            <ac:spMk id="5" creationId="{E6634E1F-ED4E-EBC3-8C25-332130472F39}"/>
          </ac:spMkLst>
        </pc:spChg>
        <pc:spChg chg="mod">
          <ac:chgData name="Johanna Marx" userId="f7883e6b-b8f5-49bd-97ed-29afbba9d34b" providerId="ADAL" clId="{3FB5D714-E125-4641-BF90-3447CB5D2DA3}" dt="2025-02-02T11:13:56.252" v="9177" actId="14100"/>
          <ac:spMkLst>
            <pc:docMk/>
            <pc:sldMk cId="373550321" sldId="318"/>
            <ac:spMk id="7" creationId="{2E9A378D-8DB5-F059-10CF-019382FA312B}"/>
          </ac:spMkLst>
        </pc:spChg>
        <pc:spChg chg="mod">
          <ac:chgData name="Johanna Marx" userId="f7883e6b-b8f5-49bd-97ed-29afbba9d34b" providerId="ADAL" clId="{3FB5D714-E125-4641-BF90-3447CB5D2DA3}" dt="2025-02-02T11:13:47.044" v="9175" actId="1035"/>
          <ac:spMkLst>
            <pc:docMk/>
            <pc:sldMk cId="373550321" sldId="318"/>
            <ac:spMk id="8" creationId="{F309E364-4510-6EA0-B942-89FF1547896D}"/>
          </ac:spMkLst>
        </pc:spChg>
        <pc:spChg chg="mod">
          <ac:chgData name="Johanna Marx" userId="f7883e6b-b8f5-49bd-97ed-29afbba9d34b" providerId="ADAL" clId="{3FB5D714-E125-4641-BF90-3447CB5D2DA3}" dt="2025-02-02T11:13:47.044" v="9175" actId="1035"/>
          <ac:spMkLst>
            <pc:docMk/>
            <pc:sldMk cId="373550321" sldId="318"/>
            <ac:spMk id="9" creationId="{4D387D8D-F8F0-B2EA-4880-22E503CFD85E}"/>
          </ac:spMkLst>
        </pc:spChg>
        <pc:spChg chg="mod">
          <ac:chgData name="Johanna Marx" userId="f7883e6b-b8f5-49bd-97ed-29afbba9d34b" providerId="ADAL" clId="{3FB5D714-E125-4641-BF90-3447CB5D2DA3}" dt="2025-02-02T11:13:47.044" v="9175" actId="1035"/>
          <ac:spMkLst>
            <pc:docMk/>
            <pc:sldMk cId="373550321" sldId="318"/>
            <ac:spMk id="10" creationId="{7DBB0F79-1DB5-6396-A5C4-0BBE18530FCE}"/>
          </ac:spMkLst>
        </pc:spChg>
        <pc:spChg chg="mod">
          <ac:chgData name="Johanna Marx" userId="f7883e6b-b8f5-49bd-97ed-29afbba9d34b" providerId="ADAL" clId="{3FB5D714-E125-4641-BF90-3447CB5D2DA3}" dt="2025-02-02T11:13:47.044" v="9175" actId="1035"/>
          <ac:spMkLst>
            <pc:docMk/>
            <pc:sldMk cId="373550321" sldId="318"/>
            <ac:spMk id="12" creationId="{84E00281-1DB3-8406-67D3-458AB6C1B5BB}"/>
          </ac:spMkLst>
        </pc:spChg>
        <pc:spChg chg="mod">
          <ac:chgData name="Johanna Marx" userId="f7883e6b-b8f5-49bd-97ed-29afbba9d34b" providerId="ADAL" clId="{3FB5D714-E125-4641-BF90-3447CB5D2DA3}" dt="2025-01-29T16:40:58.109" v="1308" actId="207"/>
          <ac:spMkLst>
            <pc:docMk/>
            <pc:sldMk cId="373550321" sldId="318"/>
            <ac:spMk id="14" creationId="{9AE67AD9-2475-54E7-E445-930727BA3A9A}"/>
          </ac:spMkLst>
        </pc:spChg>
        <pc:grpChg chg="mod">
          <ac:chgData name="Johanna Marx" userId="f7883e6b-b8f5-49bd-97ed-29afbba9d34b" providerId="ADAL" clId="{3FB5D714-E125-4641-BF90-3447CB5D2DA3}" dt="2025-02-02T11:13:47.044" v="9175" actId="1035"/>
          <ac:grpSpMkLst>
            <pc:docMk/>
            <pc:sldMk cId="373550321" sldId="318"/>
            <ac:grpSpMk id="13" creationId="{7C32F558-D4D0-0AA6-34AE-3BB25B83D758}"/>
          </ac:grpSpMkLst>
        </pc:grpChg>
        <pc:picChg chg="mod">
          <ac:chgData name="Johanna Marx" userId="f7883e6b-b8f5-49bd-97ed-29afbba9d34b" providerId="ADAL" clId="{3FB5D714-E125-4641-BF90-3447CB5D2DA3}" dt="2025-02-02T11:14:03.527" v="9186" actId="1036"/>
          <ac:picMkLst>
            <pc:docMk/>
            <pc:sldMk cId="373550321" sldId="318"/>
            <ac:picMk id="16" creationId="{09425A0D-C9DC-AFB6-F17E-FC04F885DDB5}"/>
          </ac:picMkLst>
        </pc:picChg>
        <pc:picChg chg="mod">
          <ac:chgData name="Johanna Marx" userId="f7883e6b-b8f5-49bd-97ed-29afbba9d34b" providerId="ADAL" clId="{3FB5D714-E125-4641-BF90-3447CB5D2DA3}" dt="2025-02-02T11:14:03.527" v="9186" actId="1036"/>
          <ac:picMkLst>
            <pc:docMk/>
            <pc:sldMk cId="373550321" sldId="318"/>
            <ac:picMk id="19" creationId="{C1528234-127B-F4D8-BB1E-530F5388DAEE}"/>
          </ac:picMkLst>
        </pc:picChg>
        <pc:picChg chg="mod">
          <ac:chgData name="Johanna Marx" userId="f7883e6b-b8f5-49bd-97ed-29afbba9d34b" providerId="ADAL" clId="{3FB5D714-E125-4641-BF90-3447CB5D2DA3}" dt="2025-02-02T11:14:03.527" v="9186" actId="1036"/>
          <ac:picMkLst>
            <pc:docMk/>
            <pc:sldMk cId="373550321" sldId="318"/>
            <ac:picMk id="22" creationId="{E2F01378-5FDC-1566-259E-1C27FB39FCFF}"/>
          </ac:picMkLst>
        </pc:picChg>
        <pc:picChg chg="mod">
          <ac:chgData name="Johanna Marx" userId="f7883e6b-b8f5-49bd-97ed-29afbba9d34b" providerId="ADAL" clId="{3FB5D714-E125-4641-BF90-3447CB5D2DA3}" dt="2025-02-02T11:14:03.527" v="9186" actId="1036"/>
          <ac:picMkLst>
            <pc:docMk/>
            <pc:sldMk cId="373550321" sldId="318"/>
            <ac:picMk id="23" creationId="{3117D22C-717C-D581-6F65-C4D015D8C450}"/>
          </ac:picMkLst>
        </pc:picChg>
        <pc:picChg chg="mod">
          <ac:chgData name="Johanna Marx" userId="f7883e6b-b8f5-49bd-97ed-29afbba9d34b" providerId="ADAL" clId="{3FB5D714-E125-4641-BF90-3447CB5D2DA3}" dt="2025-02-02T11:13:47.044" v="9175" actId="1035"/>
          <ac:picMkLst>
            <pc:docMk/>
            <pc:sldMk cId="373550321" sldId="318"/>
            <ac:picMk id="31" creationId="{26E19198-3DC9-0B46-7676-34A8E0CE74C7}"/>
          </ac:picMkLst>
        </pc:picChg>
      </pc:sldChg>
      <pc:sldChg chg="modSp mod">
        <pc:chgData name="Johanna Marx" userId="f7883e6b-b8f5-49bd-97ed-29afbba9d34b" providerId="ADAL" clId="{3FB5D714-E125-4641-BF90-3447CB5D2DA3}" dt="2025-01-29T14:21:45.125" v="1108" actId="207"/>
        <pc:sldMkLst>
          <pc:docMk/>
          <pc:sldMk cId="1558425071" sldId="334"/>
        </pc:sldMkLst>
        <pc:spChg chg="mod">
          <ac:chgData name="Johanna Marx" userId="f7883e6b-b8f5-49bd-97ed-29afbba9d34b" providerId="ADAL" clId="{3FB5D714-E125-4641-BF90-3447CB5D2DA3}" dt="2025-01-29T14:21:45.125" v="1108" actId="207"/>
          <ac:spMkLst>
            <pc:docMk/>
            <pc:sldMk cId="1558425071" sldId="334"/>
            <ac:spMk id="5" creationId="{AF8A9881-9AFE-21B0-C166-37DE4B084308}"/>
          </ac:spMkLst>
        </pc:spChg>
      </pc:sldChg>
      <pc:sldChg chg="addSp delSp modSp mod">
        <pc:chgData name="Johanna Marx" userId="f7883e6b-b8f5-49bd-97ed-29afbba9d34b" providerId="ADAL" clId="{3FB5D714-E125-4641-BF90-3447CB5D2DA3}" dt="2025-02-02T13:43:30.902" v="9846" actId="1076"/>
        <pc:sldMkLst>
          <pc:docMk/>
          <pc:sldMk cId="2974701433" sldId="336"/>
        </pc:sldMkLst>
        <pc:spChg chg="mod">
          <ac:chgData name="Johanna Marx" userId="f7883e6b-b8f5-49bd-97ed-29afbba9d34b" providerId="ADAL" clId="{3FB5D714-E125-4641-BF90-3447CB5D2DA3}" dt="2025-01-29T14:18:09.246" v="959" actId="1076"/>
          <ac:spMkLst>
            <pc:docMk/>
            <pc:sldMk cId="2974701433" sldId="336"/>
            <ac:spMk id="3" creationId="{09B6353F-CB41-C93E-F3AB-4184CA505A42}"/>
          </ac:spMkLst>
        </pc:spChg>
        <pc:spChg chg="mod">
          <ac:chgData name="Johanna Marx" userId="f7883e6b-b8f5-49bd-97ed-29afbba9d34b" providerId="ADAL" clId="{3FB5D714-E125-4641-BF90-3447CB5D2DA3}" dt="2025-01-29T14:17:14.754" v="945" actId="1076"/>
          <ac:spMkLst>
            <pc:docMk/>
            <pc:sldMk cId="2974701433" sldId="336"/>
            <ac:spMk id="15" creationId="{C063A260-5050-6FE0-6783-D8FC8E6864DB}"/>
          </ac:spMkLst>
        </pc:spChg>
        <pc:picChg chg="mod">
          <ac:chgData name="Johanna Marx" userId="f7883e6b-b8f5-49bd-97ed-29afbba9d34b" providerId="ADAL" clId="{3FB5D714-E125-4641-BF90-3447CB5D2DA3}" dt="2025-01-29T14:18:09.246" v="959" actId="1076"/>
          <ac:picMkLst>
            <pc:docMk/>
            <pc:sldMk cId="2974701433" sldId="336"/>
            <ac:picMk id="2" creationId="{5A5A1D29-BCC0-045A-8BA0-0981B3C4BCBE}"/>
          </ac:picMkLst>
        </pc:picChg>
        <pc:picChg chg="add del mod">
          <ac:chgData name="Johanna Marx" userId="f7883e6b-b8f5-49bd-97ed-29afbba9d34b" providerId="ADAL" clId="{3FB5D714-E125-4641-BF90-3447CB5D2DA3}" dt="2025-02-02T13:37:12.230" v="9814" actId="478"/>
          <ac:picMkLst>
            <pc:docMk/>
            <pc:sldMk cId="2974701433" sldId="336"/>
            <ac:picMk id="5" creationId="{41780475-94E6-91F4-7207-F38933A563FF}"/>
          </ac:picMkLst>
        </pc:picChg>
        <pc:picChg chg="add del mod modCrop">
          <ac:chgData name="Johanna Marx" userId="f7883e6b-b8f5-49bd-97ed-29afbba9d34b" providerId="ADAL" clId="{3FB5D714-E125-4641-BF90-3447CB5D2DA3}" dt="2025-02-02T13:42:07.783" v="9837" actId="478"/>
          <ac:picMkLst>
            <pc:docMk/>
            <pc:sldMk cId="2974701433" sldId="336"/>
            <ac:picMk id="7" creationId="{917284B3-CD64-B870-3824-AD1F7AFCAA11}"/>
          </ac:picMkLst>
        </pc:picChg>
        <pc:picChg chg="add mod">
          <ac:chgData name="Johanna Marx" userId="f7883e6b-b8f5-49bd-97ed-29afbba9d34b" providerId="ADAL" clId="{3FB5D714-E125-4641-BF90-3447CB5D2DA3}" dt="2025-02-02T13:43:30.902" v="9846" actId="1076"/>
          <ac:picMkLst>
            <pc:docMk/>
            <pc:sldMk cId="2974701433" sldId="336"/>
            <ac:picMk id="10" creationId="{321A3F80-320B-6904-056A-01F1E0370F46}"/>
          </ac:picMkLst>
        </pc:picChg>
      </pc:sldChg>
      <pc:sldChg chg="modSp mod">
        <pc:chgData name="Johanna Marx" userId="f7883e6b-b8f5-49bd-97ed-29afbba9d34b" providerId="ADAL" clId="{3FB5D714-E125-4641-BF90-3447CB5D2DA3}" dt="2025-02-02T13:44:48.924" v="9859" actId="14100"/>
        <pc:sldMkLst>
          <pc:docMk/>
          <pc:sldMk cId="1183542163" sldId="339"/>
        </pc:sldMkLst>
        <pc:spChg chg="mod">
          <ac:chgData name="Johanna Marx" userId="f7883e6b-b8f5-49bd-97ed-29afbba9d34b" providerId="ADAL" clId="{3FB5D714-E125-4641-BF90-3447CB5D2DA3}" dt="2025-02-02T11:00:05.150" v="8922" actId="1038"/>
          <ac:spMkLst>
            <pc:docMk/>
            <pc:sldMk cId="1183542163" sldId="339"/>
            <ac:spMk id="2" creationId="{FE3A5165-8DD7-B00A-7B51-96C83EC80066}"/>
          </ac:spMkLst>
        </pc:spChg>
        <pc:spChg chg="mod">
          <ac:chgData name="Johanna Marx" userId="f7883e6b-b8f5-49bd-97ed-29afbba9d34b" providerId="ADAL" clId="{3FB5D714-E125-4641-BF90-3447CB5D2DA3}" dt="2025-02-02T11:02:36.426" v="8957" actId="207"/>
          <ac:spMkLst>
            <pc:docMk/>
            <pc:sldMk cId="1183542163" sldId="339"/>
            <ac:spMk id="6" creationId="{0E630E31-56A7-45D2-FE61-A1F165CD464C}"/>
          </ac:spMkLst>
        </pc:spChg>
        <pc:picChg chg="mod">
          <ac:chgData name="Johanna Marx" userId="f7883e6b-b8f5-49bd-97ed-29afbba9d34b" providerId="ADAL" clId="{3FB5D714-E125-4641-BF90-3447CB5D2DA3}" dt="2025-02-02T13:44:48.924" v="9859" actId="14100"/>
          <ac:picMkLst>
            <pc:docMk/>
            <pc:sldMk cId="1183542163" sldId="339"/>
            <ac:picMk id="3" creationId="{D834EF0C-FBA8-E11E-9A60-E610E1CD3780}"/>
          </ac:picMkLst>
        </pc:picChg>
      </pc:sldChg>
      <pc:sldChg chg="addSp modSp">
        <pc:chgData name="Johanna Marx" userId="f7883e6b-b8f5-49bd-97ed-29afbba9d34b" providerId="ADAL" clId="{3FB5D714-E125-4641-BF90-3447CB5D2DA3}" dt="2025-02-02T13:45:09.025" v="9860"/>
        <pc:sldMkLst>
          <pc:docMk/>
          <pc:sldMk cId="2307933946" sldId="383"/>
        </pc:sldMkLst>
        <pc:picChg chg="add mod">
          <ac:chgData name="Johanna Marx" userId="f7883e6b-b8f5-49bd-97ed-29afbba9d34b" providerId="ADAL" clId="{3FB5D714-E125-4641-BF90-3447CB5D2DA3}" dt="2025-02-02T13:45:09.025" v="9860"/>
          <ac:picMkLst>
            <pc:docMk/>
            <pc:sldMk cId="2307933946" sldId="383"/>
            <ac:picMk id="5" creationId="{D885033F-6DA5-30C4-97E6-C60D58D7F2DD}"/>
          </ac:picMkLst>
        </pc:picChg>
      </pc:sldChg>
      <pc:sldChg chg="modSp mod">
        <pc:chgData name="Johanna Marx" userId="f7883e6b-b8f5-49bd-97ed-29afbba9d34b" providerId="ADAL" clId="{3FB5D714-E125-4641-BF90-3447CB5D2DA3}" dt="2025-01-29T17:01:24.128" v="2267" actId="207"/>
        <pc:sldMkLst>
          <pc:docMk/>
          <pc:sldMk cId="1438861554" sldId="395"/>
        </pc:sldMkLst>
        <pc:spChg chg="mod">
          <ac:chgData name="Johanna Marx" userId="f7883e6b-b8f5-49bd-97ed-29afbba9d34b" providerId="ADAL" clId="{3FB5D714-E125-4641-BF90-3447CB5D2DA3}" dt="2025-01-29T17:01:24.128" v="2267" actId="207"/>
          <ac:spMkLst>
            <pc:docMk/>
            <pc:sldMk cId="1438861554" sldId="395"/>
            <ac:spMk id="5" creationId="{AF8A9881-9AFE-21B0-C166-37DE4B084308}"/>
          </ac:spMkLst>
        </pc:spChg>
      </pc:sldChg>
      <pc:sldChg chg="addSp delSp modSp mod">
        <pc:chgData name="Johanna Marx" userId="f7883e6b-b8f5-49bd-97ed-29afbba9d34b" providerId="ADAL" clId="{3FB5D714-E125-4641-BF90-3447CB5D2DA3}" dt="2025-02-02T11:20:31.502" v="9324" actId="1035"/>
        <pc:sldMkLst>
          <pc:docMk/>
          <pc:sldMk cId="835949243" sldId="396"/>
        </pc:sldMkLst>
        <pc:spChg chg="mod">
          <ac:chgData name="Johanna Marx" userId="f7883e6b-b8f5-49bd-97ed-29afbba9d34b" providerId="ADAL" clId="{3FB5D714-E125-4641-BF90-3447CB5D2DA3}" dt="2025-02-02T11:20:31.502" v="9324" actId="1035"/>
          <ac:spMkLst>
            <pc:docMk/>
            <pc:sldMk cId="835949243" sldId="396"/>
            <ac:spMk id="2" creationId="{17F8F83B-A0E2-F115-75F9-9A699A63298F}"/>
          </ac:spMkLst>
        </pc:spChg>
        <pc:spChg chg="mod">
          <ac:chgData name="Johanna Marx" userId="f7883e6b-b8f5-49bd-97ed-29afbba9d34b" providerId="ADAL" clId="{3FB5D714-E125-4641-BF90-3447CB5D2DA3}" dt="2025-02-02T11:20:31.502" v="9324" actId="1035"/>
          <ac:spMkLst>
            <pc:docMk/>
            <pc:sldMk cId="835949243" sldId="396"/>
            <ac:spMk id="3" creationId="{6558DA14-B22F-1D8D-15C6-C200D326DB5A}"/>
          </ac:spMkLst>
        </pc:spChg>
        <pc:spChg chg="add mod">
          <ac:chgData name="Johanna Marx" userId="f7883e6b-b8f5-49bd-97ed-29afbba9d34b" providerId="ADAL" clId="{3FB5D714-E125-4641-BF90-3447CB5D2DA3}" dt="2025-02-02T11:20:31.502" v="9324" actId="1035"/>
          <ac:spMkLst>
            <pc:docMk/>
            <pc:sldMk cId="835949243" sldId="396"/>
            <ac:spMk id="7" creationId="{EE6ADC30-2EAD-AE21-9EC6-EF8DF564216C}"/>
          </ac:spMkLst>
        </pc:spChg>
        <pc:spChg chg="add mod">
          <ac:chgData name="Johanna Marx" userId="f7883e6b-b8f5-49bd-97ed-29afbba9d34b" providerId="ADAL" clId="{3FB5D714-E125-4641-BF90-3447CB5D2DA3}" dt="2025-02-02T11:20:31.502" v="9324" actId="1035"/>
          <ac:spMkLst>
            <pc:docMk/>
            <pc:sldMk cId="835949243" sldId="396"/>
            <ac:spMk id="9" creationId="{7044AA74-2CE4-9F89-F6EB-CC0B44DC7EFD}"/>
          </ac:spMkLst>
        </pc:spChg>
        <pc:spChg chg="add mod">
          <ac:chgData name="Johanna Marx" userId="f7883e6b-b8f5-49bd-97ed-29afbba9d34b" providerId="ADAL" clId="{3FB5D714-E125-4641-BF90-3447CB5D2DA3}" dt="2025-02-02T11:20:31.502" v="9324" actId="1035"/>
          <ac:spMkLst>
            <pc:docMk/>
            <pc:sldMk cId="835949243" sldId="396"/>
            <ac:spMk id="14" creationId="{E5177929-80AA-7C5D-A42A-301987305155}"/>
          </ac:spMkLst>
        </pc:spChg>
        <pc:spChg chg="mod">
          <ac:chgData name="Johanna Marx" userId="f7883e6b-b8f5-49bd-97ed-29afbba9d34b" providerId="ADAL" clId="{3FB5D714-E125-4641-BF90-3447CB5D2DA3}" dt="2025-01-29T17:25:52.377" v="2272"/>
          <ac:spMkLst>
            <pc:docMk/>
            <pc:sldMk cId="835949243" sldId="396"/>
            <ac:spMk id="17" creationId="{286B719A-8B89-1601-6E2D-E07203F574F0}"/>
          </ac:spMkLst>
        </pc:spChg>
        <pc:spChg chg="mod">
          <ac:chgData name="Johanna Marx" userId="f7883e6b-b8f5-49bd-97ed-29afbba9d34b" providerId="ADAL" clId="{3FB5D714-E125-4641-BF90-3447CB5D2DA3}" dt="2025-02-02T11:20:23.730" v="9312" actId="255"/>
          <ac:spMkLst>
            <pc:docMk/>
            <pc:sldMk cId="835949243" sldId="396"/>
            <ac:spMk id="22" creationId="{EBB702A9-486F-7A0D-CB8F-ECA64DBCD0C3}"/>
          </ac:spMkLst>
        </pc:spChg>
        <pc:spChg chg="mod">
          <ac:chgData name="Johanna Marx" userId="f7883e6b-b8f5-49bd-97ed-29afbba9d34b" providerId="ADAL" clId="{3FB5D714-E125-4641-BF90-3447CB5D2DA3}" dt="2025-02-02T11:20:20.277" v="9311" actId="1076"/>
          <ac:spMkLst>
            <pc:docMk/>
            <pc:sldMk cId="835949243" sldId="396"/>
            <ac:spMk id="26" creationId="{D8244418-9D3F-2A0B-09A3-8C1970BDA425}"/>
          </ac:spMkLst>
        </pc:spChg>
        <pc:grpChg chg="add mod">
          <ac:chgData name="Johanna Marx" userId="f7883e6b-b8f5-49bd-97ed-29afbba9d34b" providerId="ADAL" clId="{3FB5D714-E125-4641-BF90-3447CB5D2DA3}" dt="2025-02-02T11:20:31.502" v="9324" actId="1035"/>
          <ac:grpSpMkLst>
            <pc:docMk/>
            <pc:sldMk cId="835949243" sldId="396"/>
            <ac:grpSpMk id="16" creationId="{A71166B9-9784-FC08-EA32-BD9BE401538F}"/>
          </ac:grpSpMkLst>
        </pc:grpChg>
        <pc:picChg chg="mod">
          <ac:chgData name="Johanna Marx" userId="f7883e6b-b8f5-49bd-97ed-29afbba9d34b" providerId="ADAL" clId="{3FB5D714-E125-4641-BF90-3447CB5D2DA3}" dt="2025-02-02T11:20:31.502" v="9324" actId="1035"/>
          <ac:picMkLst>
            <pc:docMk/>
            <pc:sldMk cId="835949243" sldId="396"/>
            <ac:picMk id="4" creationId="{E1AAF7F5-C8B7-16CF-4E49-2F98D34FD99A}"/>
          </ac:picMkLst>
        </pc:picChg>
        <pc:picChg chg="mod">
          <ac:chgData name="Johanna Marx" userId="f7883e6b-b8f5-49bd-97ed-29afbba9d34b" providerId="ADAL" clId="{3FB5D714-E125-4641-BF90-3447CB5D2DA3}" dt="2025-01-29T17:25:52.377" v="2272"/>
          <ac:picMkLst>
            <pc:docMk/>
            <pc:sldMk cId="835949243" sldId="396"/>
            <ac:picMk id="18" creationId="{20DDD9E0-E8A4-AE94-D676-4253EF12A340}"/>
          </ac:picMkLst>
        </pc:picChg>
      </pc:sldChg>
      <pc:sldChg chg="addSp delSp modSp mod modClrScheme chgLayout">
        <pc:chgData name="Johanna Marx" userId="f7883e6b-b8f5-49bd-97ed-29afbba9d34b" providerId="ADAL" clId="{3FB5D714-E125-4641-BF90-3447CB5D2DA3}" dt="2025-02-02T11:21:11.280" v="9331" actId="255"/>
        <pc:sldMkLst>
          <pc:docMk/>
          <pc:sldMk cId="1557925452" sldId="397"/>
        </pc:sldMkLst>
        <pc:spChg chg="mod">
          <ac:chgData name="Johanna Marx" userId="f7883e6b-b8f5-49bd-97ed-29afbba9d34b" providerId="ADAL" clId="{3FB5D714-E125-4641-BF90-3447CB5D2DA3}" dt="2025-01-31T11:30:44.741" v="4582" actId="1036"/>
          <ac:spMkLst>
            <pc:docMk/>
            <pc:sldMk cId="1557925452" sldId="397"/>
            <ac:spMk id="2" creationId="{2226C690-FDA5-1BF1-07D6-F8A0FE929463}"/>
          </ac:spMkLst>
        </pc:spChg>
        <pc:spChg chg="mod ord">
          <ac:chgData name="Johanna Marx" userId="f7883e6b-b8f5-49bd-97ed-29afbba9d34b" providerId="ADAL" clId="{3FB5D714-E125-4641-BF90-3447CB5D2DA3}" dt="2025-02-02T10:43:23.748" v="8852" actId="700"/>
          <ac:spMkLst>
            <pc:docMk/>
            <pc:sldMk cId="1557925452" sldId="397"/>
            <ac:spMk id="3" creationId="{B925F1FD-B735-2323-1229-AE4F74945956}"/>
          </ac:spMkLst>
        </pc:spChg>
        <pc:spChg chg="mod">
          <ac:chgData name="Johanna Marx" userId="f7883e6b-b8f5-49bd-97ed-29afbba9d34b" providerId="ADAL" clId="{3FB5D714-E125-4641-BF90-3447CB5D2DA3}" dt="2025-02-02T11:21:11.280" v="9331" actId="255"/>
          <ac:spMkLst>
            <pc:docMk/>
            <pc:sldMk cId="1557925452" sldId="397"/>
            <ac:spMk id="4" creationId="{0B100EBC-7B68-A345-92A0-145DE6EF14A7}"/>
          </ac:spMkLst>
        </pc:spChg>
        <pc:spChg chg="add del mod ord">
          <ac:chgData name="Johanna Marx" userId="f7883e6b-b8f5-49bd-97ed-29afbba9d34b" providerId="ADAL" clId="{3FB5D714-E125-4641-BF90-3447CB5D2DA3}" dt="2025-02-02T10:43:26.229" v="8853" actId="478"/>
          <ac:spMkLst>
            <pc:docMk/>
            <pc:sldMk cId="1557925452" sldId="397"/>
            <ac:spMk id="5" creationId="{B783B867-12ED-2275-A837-87E241A2DA72}"/>
          </ac:spMkLst>
        </pc:spChg>
        <pc:spChg chg="add mod">
          <ac:chgData name="Johanna Marx" userId="f7883e6b-b8f5-49bd-97ed-29afbba9d34b" providerId="ADAL" clId="{3FB5D714-E125-4641-BF90-3447CB5D2DA3}" dt="2025-01-31T11:30:44.741" v="4582" actId="1036"/>
          <ac:spMkLst>
            <pc:docMk/>
            <pc:sldMk cId="1557925452" sldId="397"/>
            <ac:spMk id="6" creationId="{55D3D2AD-EA90-EC61-6F8C-D4D4E38CDAC2}"/>
          </ac:spMkLst>
        </pc:spChg>
        <pc:spChg chg="mod">
          <ac:chgData name="Johanna Marx" userId="f7883e6b-b8f5-49bd-97ed-29afbba9d34b" providerId="ADAL" clId="{3FB5D714-E125-4641-BF90-3447CB5D2DA3}" dt="2025-02-02T11:21:11.280" v="9331" actId="255"/>
          <ac:spMkLst>
            <pc:docMk/>
            <pc:sldMk cId="1557925452" sldId="397"/>
            <ac:spMk id="7" creationId="{0E726489-E85C-E3B0-D302-2ECB0D80D9D0}"/>
          </ac:spMkLst>
        </pc:spChg>
        <pc:spChg chg="add mod">
          <ac:chgData name="Johanna Marx" userId="f7883e6b-b8f5-49bd-97ed-29afbba9d34b" providerId="ADAL" clId="{3FB5D714-E125-4641-BF90-3447CB5D2DA3}" dt="2025-01-31T11:30:44.741" v="4582" actId="1036"/>
          <ac:spMkLst>
            <pc:docMk/>
            <pc:sldMk cId="1557925452" sldId="397"/>
            <ac:spMk id="8" creationId="{07B770C9-B117-BC14-AE7B-17AADCC8E24C}"/>
          </ac:spMkLst>
        </pc:spChg>
        <pc:spChg chg="mod">
          <ac:chgData name="Johanna Marx" userId="f7883e6b-b8f5-49bd-97ed-29afbba9d34b" providerId="ADAL" clId="{3FB5D714-E125-4641-BF90-3447CB5D2DA3}" dt="2025-01-31T11:30:44.741" v="4582" actId="1036"/>
          <ac:spMkLst>
            <pc:docMk/>
            <pc:sldMk cId="1557925452" sldId="397"/>
            <ac:spMk id="9" creationId="{6E769508-9355-93D3-8A39-589575A413BA}"/>
          </ac:spMkLst>
        </pc:spChg>
        <pc:spChg chg="add mod">
          <ac:chgData name="Johanna Marx" userId="f7883e6b-b8f5-49bd-97ed-29afbba9d34b" providerId="ADAL" clId="{3FB5D714-E125-4641-BF90-3447CB5D2DA3}" dt="2025-01-31T11:30:44.741" v="4582" actId="1036"/>
          <ac:spMkLst>
            <pc:docMk/>
            <pc:sldMk cId="1557925452" sldId="397"/>
            <ac:spMk id="10" creationId="{10D6173F-978F-7FE3-8986-FFC33655D860}"/>
          </ac:spMkLst>
        </pc:spChg>
        <pc:spChg chg="mod">
          <ac:chgData name="Johanna Marx" userId="f7883e6b-b8f5-49bd-97ed-29afbba9d34b" providerId="ADAL" clId="{3FB5D714-E125-4641-BF90-3447CB5D2DA3}" dt="2025-02-02T11:21:11.280" v="9331" actId="255"/>
          <ac:spMkLst>
            <pc:docMk/>
            <pc:sldMk cId="1557925452" sldId="397"/>
            <ac:spMk id="12" creationId="{3CCD2D1A-1DA2-AD54-4F05-393E79DADEA7}"/>
          </ac:spMkLst>
        </pc:spChg>
        <pc:spChg chg="mod">
          <ac:chgData name="Johanna Marx" userId="f7883e6b-b8f5-49bd-97ed-29afbba9d34b" providerId="ADAL" clId="{3FB5D714-E125-4641-BF90-3447CB5D2DA3}" dt="2025-01-31T10:32:45.494" v="2538" actId="1076"/>
          <ac:spMkLst>
            <pc:docMk/>
            <pc:sldMk cId="1557925452" sldId="397"/>
            <ac:spMk id="14" creationId="{93C2DEA0-AA87-8B8B-24B7-45A5D337F06D}"/>
          </ac:spMkLst>
        </pc:spChg>
        <pc:spChg chg="mod">
          <ac:chgData name="Johanna Marx" userId="f7883e6b-b8f5-49bd-97ed-29afbba9d34b" providerId="ADAL" clId="{3FB5D714-E125-4641-BF90-3447CB5D2DA3}" dt="2025-01-31T11:30:44.741" v="4582" actId="1036"/>
          <ac:spMkLst>
            <pc:docMk/>
            <pc:sldMk cId="1557925452" sldId="397"/>
            <ac:spMk id="18" creationId="{D460B0C8-DDB5-283E-029C-F4E7396BD2D1}"/>
          </ac:spMkLst>
        </pc:spChg>
        <pc:spChg chg="mod">
          <ac:chgData name="Johanna Marx" userId="f7883e6b-b8f5-49bd-97ed-29afbba9d34b" providerId="ADAL" clId="{3FB5D714-E125-4641-BF90-3447CB5D2DA3}" dt="2025-02-02T11:21:11.280" v="9331" actId="255"/>
          <ac:spMkLst>
            <pc:docMk/>
            <pc:sldMk cId="1557925452" sldId="397"/>
            <ac:spMk id="20" creationId="{96A7A15F-B86E-5ADE-747E-172AF09E9E00}"/>
          </ac:spMkLst>
        </pc:spChg>
        <pc:spChg chg="add mod">
          <ac:chgData name="Johanna Marx" userId="f7883e6b-b8f5-49bd-97ed-29afbba9d34b" providerId="ADAL" clId="{3FB5D714-E125-4641-BF90-3447CB5D2DA3}" dt="2025-01-31T11:30:44.741" v="4582" actId="1036"/>
          <ac:spMkLst>
            <pc:docMk/>
            <pc:sldMk cId="1557925452" sldId="397"/>
            <ac:spMk id="21" creationId="{B2BF9AF5-63A8-3A92-B1B2-59300205A748}"/>
          </ac:spMkLst>
        </pc:spChg>
        <pc:spChg chg="add mod">
          <ac:chgData name="Johanna Marx" userId="f7883e6b-b8f5-49bd-97ed-29afbba9d34b" providerId="ADAL" clId="{3FB5D714-E125-4641-BF90-3447CB5D2DA3}" dt="2025-01-31T11:31:11.273" v="4592" actId="20577"/>
          <ac:spMkLst>
            <pc:docMk/>
            <pc:sldMk cId="1557925452" sldId="397"/>
            <ac:spMk id="22" creationId="{610DA17C-C62D-758D-9269-000E75C27987}"/>
          </ac:spMkLst>
        </pc:spChg>
        <pc:spChg chg="add mod">
          <ac:chgData name="Johanna Marx" userId="f7883e6b-b8f5-49bd-97ed-29afbba9d34b" providerId="ADAL" clId="{3FB5D714-E125-4641-BF90-3447CB5D2DA3}" dt="2025-01-31T11:31:06.732" v="4584"/>
          <ac:spMkLst>
            <pc:docMk/>
            <pc:sldMk cId="1557925452" sldId="397"/>
            <ac:spMk id="23" creationId="{43B7BEFA-841E-B804-D371-1443339B0A1A}"/>
          </ac:spMkLst>
        </pc:spChg>
        <pc:picChg chg="mod ord">
          <ac:chgData name="Johanna Marx" userId="f7883e6b-b8f5-49bd-97ed-29afbba9d34b" providerId="ADAL" clId="{3FB5D714-E125-4641-BF90-3447CB5D2DA3}" dt="2025-01-31T11:31:34.563" v="4597" actId="1076"/>
          <ac:picMkLst>
            <pc:docMk/>
            <pc:sldMk cId="1557925452" sldId="397"/>
            <ac:picMk id="17" creationId="{7EF05305-9D3D-CFD5-B906-DB0406163F7C}"/>
          </ac:picMkLst>
        </pc:picChg>
      </pc:sldChg>
      <pc:sldChg chg="delSp modSp mod">
        <pc:chgData name="Johanna Marx" userId="f7883e6b-b8f5-49bd-97ed-29afbba9d34b" providerId="ADAL" clId="{3FB5D714-E125-4641-BF90-3447CB5D2DA3}" dt="2025-02-02T11:22:00.974" v="9337" actId="167"/>
        <pc:sldMkLst>
          <pc:docMk/>
          <pc:sldMk cId="2461222098" sldId="399"/>
        </pc:sldMkLst>
        <pc:spChg chg="mod ord">
          <ac:chgData name="Johanna Marx" userId="f7883e6b-b8f5-49bd-97ed-29afbba9d34b" providerId="ADAL" clId="{3FB5D714-E125-4641-BF90-3447CB5D2DA3}" dt="2025-02-02T11:22:00.974" v="9337" actId="167"/>
          <ac:spMkLst>
            <pc:docMk/>
            <pc:sldMk cId="2461222098" sldId="399"/>
            <ac:spMk id="16" creationId="{D91308DA-2110-0B45-0B26-E121F76E64CA}"/>
          </ac:spMkLst>
        </pc:spChg>
        <pc:spChg chg="mod">
          <ac:chgData name="Johanna Marx" userId="f7883e6b-b8f5-49bd-97ed-29afbba9d34b" providerId="ADAL" clId="{3FB5D714-E125-4641-BF90-3447CB5D2DA3}" dt="2025-02-02T11:21:33.092" v="9332" actId="1076"/>
          <ac:spMkLst>
            <pc:docMk/>
            <pc:sldMk cId="2461222098" sldId="399"/>
            <ac:spMk id="17" creationId="{B0EC394D-93A8-790D-3CE5-B42722CC07B8}"/>
          </ac:spMkLst>
        </pc:spChg>
        <pc:spChg chg="mod">
          <ac:chgData name="Johanna Marx" userId="f7883e6b-b8f5-49bd-97ed-29afbba9d34b" providerId="ADAL" clId="{3FB5D714-E125-4641-BF90-3447CB5D2DA3}" dt="2025-02-02T11:21:33.092" v="9332" actId="1076"/>
          <ac:spMkLst>
            <pc:docMk/>
            <pc:sldMk cId="2461222098" sldId="399"/>
            <ac:spMk id="19" creationId="{9B8AE0C5-C237-19D7-5A36-8A635C152CA2}"/>
          </ac:spMkLst>
        </pc:spChg>
        <pc:spChg chg="mod">
          <ac:chgData name="Johanna Marx" userId="f7883e6b-b8f5-49bd-97ed-29afbba9d34b" providerId="ADAL" clId="{3FB5D714-E125-4641-BF90-3447CB5D2DA3}" dt="2025-02-02T11:21:33.092" v="9332" actId="1076"/>
          <ac:spMkLst>
            <pc:docMk/>
            <pc:sldMk cId="2461222098" sldId="399"/>
            <ac:spMk id="20" creationId="{A3D15105-7AF3-5991-13E5-6BC1B1EBBB38}"/>
          </ac:spMkLst>
        </pc:spChg>
        <pc:spChg chg="mod ord">
          <ac:chgData name="Johanna Marx" userId="f7883e6b-b8f5-49bd-97ed-29afbba9d34b" providerId="ADAL" clId="{3FB5D714-E125-4641-BF90-3447CB5D2DA3}" dt="2025-02-02T11:21:57.944" v="9336" actId="167"/>
          <ac:spMkLst>
            <pc:docMk/>
            <pc:sldMk cId="2461222098" sldId="399"/>
            <ac:spMk id="22" creationId="{3217CAE4-727E-902E-01B2-390D4371FDCA}"/>
          </ac:spMkLst>
        </pc:spChg>
        <pc:picChg chg="mod">
          <ac:chgData name="Johanna Marx" userId="f7883e6b-b8f5-49bd-97ed-29afbba9d34b" providerId="ADAL" clId="{3FB5D714-E125-4641-BF90-3447CB5D2DA3}" dt="2025-02-02T11:21:33.092" v="9332" actId="1076"/>
          <ac:picMkLst>
            <pc:docMk/>
            <pc:sldMk cId="2461222098" sldId="399"/>
            <ac:picMk id="18" creationId="{90F16123-5711-F1D6-E05E-DD168A005380}"/>
          </ac:picMkLst>
        </pc:picChg>
        <pc:picChg chg="mod">
          <ac:chgData name="Johanna Marx" userId="f7883e6b-b8f5-49bd-97ed-29afbba9d34b" providerId="ADAL" clId="{3FB5D714-E125-4641-BF90-3447CB5D2DA3}" dt="2025-02-02T11:21:33.092" v="9332" actId="1076"/>
          <ac:picMkLst>
            <pc:docMk/>
            <pc:sldMk cId="2461222098" sldId="399"/>
            <ac:picMk id="21" creationId="{C8FAE619-63F0-B81E-9AFE-EE6341E2A5E6}"/>
          </ac:picMkLst>
        </pc:picChg>
      </pc:sldChg>
      <pc:sldChg chg="delSp del mod">
        <pc:chgData name="Johanna Marx" userId="f7883e6b-b8f5-49bd-97ed-29afbba9d34b" providerId="ADAL" clId="{3FB5D714-E125-4641-BF90-3447CB5D2DA3}" dt="2025-01-31T10:16:05.802" v="2426" actId="47"/>
        <pc:sldMkLst>
          <pc:docMk/>
          <pc:sldMk cId="3416478574" sldId="400"/>
        </pc:sldMkLst>
      </pc:sldChg>
      <pc:sldChg chg="addSp delSp modSp mod modClrScheme chgLayout">
        <pc:chgData name="Johanna Marx" userId="f7883e6b-b8f5-49bd-97ed-29afbba9d34b" providerId="ADAL" clId="{3FB5D714-E125-4641-BF90-3447CB5D2DA3}" dt="2025-02-02T11:21:01.864" v="9330" actId="255"/>
        <pc:sldMkLst>
          <pc:docMk/>
          <pc:sldMk cId="582580800" sldId="401"/>
        </pc:sldMkLst>
        <pc:spChg chg="add mod">
          <ac:chgData name="Johanna Marx" userId="f7883e6b-b8f5-49bd-97ed-29afbba9d34b" providerId="ADAL" clId="{3FB5D714-E125-4641-BF90-3447CB5D2DA3}" dt="2025-02-02T11:21:01.864" v="9330" actId="255"/>
          <ac:spMkLst>
            <pc:docMk/>
            <pc:sldMk cId="582580800" sldId="401"/>
            <ac:spMk id="5" creationId="{24E759C9-DB57-5B26-9E3A-5978C7013B13}"/>
          </ac:spMkLst>
        </pc:spChg>
        <pc:spChg chg="add mod">
          <ac:chgData name="Johanna Marx" userId="f7883e6b-b8f5-49bd-97ed-29afbba9d34b" providerId="ADAL" clId="{3FB5D714-E125-4641-BF90-3447CB5D2DA3}" dt="2025-01-31T10:13:33.085" v="2425" actId="1035"/>
          <ac:spMkLst>
            <pc:docMk/>
            <pc:sldMk cId="582580800" sldId="401"/>
            <ac:spMk id="8" creationId="{1EBB0E19-60FA-822E-0F9F-744794616C11}"/>
          </ac:spMkLst>
        </pc:spChg>
        <pc:spChg chg="add mod topLvl">
          <ac:chgData name="Johanna Marx" userId="f7883e6b-b8f5-49bd-97ed-29afbba9d34b" providerId="ADAL" clId="{3FB5D714-E125-4641-BF90-3447CB5D2DA3}" dt="2025-01-31T10:10:29.979" v="2398" actId="948"/>
          <ac:spMkLst>
            <pc:docMk/>
            <pc:sldMk cId="582580800" sldId="401"/>
            <ac:spMk id="12" creationId="{F02A57FA-DABC-CA94-053A-D3337EB56F04}"/>
          </ac:spMkLst>
        </pc:spChg>
        <pc:spChg chg="add mod topLvl">
          <ac:chgData name="Johanna Marx" userId="f7883e6b-b8f5-49bd-97ed-29afbba9d34b" providerId="ADAL" clId="{3FB5D714-E125-4641-BF90-3447CB5D2DA3}" dt="2025-01-31T10:12:07.321" v="2404" actId="1076"/>
          <ac:spMkLst>
            <pc:docMk/>
            <pc:sldMk cId="582580800" sldId="401"/>
            <ac:spMk id="14" creationId="{55E99C25-5347-E318-672B-C6E2D91A6641}"/>
          </ac:spMkLst>
        </pc:spChg>
        <pc:spChg chg="mod ord">
          <ac:chgData name="Johanna Marx" userId="f7883e6b-b8f5-49bd-97ed-29afbba9d34b" providerId="ADAL" clId="{3FB5D714-E125-4641-BF90-3447CB5D2DA3}" dt="2025-01-31T10:08:30.870" v="2387" actId="700"/>
          <ac:spMkLst>
            <pc:docMk/>
            <pc:sldMk cId="582580800" sldId="401"/>
            <ac:spMk id="15" creationId="{032BF10C-1BAA-B0F0-7AE9-D805EA8680A1}"/>
          </ac:spMkLst>
        </pc:spChg>
        <pc:spChg chg="add mod topLvl">
          <ac:chgData name="Johanna Marx" userId="f7883e6b-b8f5-49bd-97ed-29afbba9d34b" providerId="ADAL" clId="{3FB5D714-E125-4641-BF90-3447CB5D2DA3}" dt="2025-01-31T10:12:52.103" v="2411" actId="1076"/>
          <ac:spMkLst>
            <pc:docMk/>
            <pc:sldMk cId="582580800" sldId="401"/>
            <ac:spMk id="18" creationId="{6F4B7A31-7F40-DA78-5DF0-AA36F25B4406}"/>
          </ac:spMkLst>
        </pc:spChg>
        <pc:spChg chg="mod">
          <ac:chgData name="Johanna Marx" userId="f7883e6b-b8f5-49bd-97ed-29afbba9d34b" providerId="ADAL" clId="{3FB5D714-E125-4641-BF90-3447CB5D2DA3}" dt="2025-02-02T11:20:51.213" v="9328" actId="14100"/>
          <ac:spMkLst>
            <pc:docMk/>
            <pc:sldMk cId="582580800" sldId="401"/>
            <ac:spMk id="23" creationId="{1D88F652-1A5D-2AFA-B789-14758404B0DA}"/>
          </ac:spMkLst>
        </pc:spChg>
        <pc:spChg chg="add mod topLvl">
          <ac:chgData name="Johanna Marx" userId="f7883e6b-b8f5-49bd-97ed-29afbba9d34b" providerId="ADAL" clId="{3FB5D714-E125-4641-BF90-3447CB5D2DA3}" dt="2025-01-31T10:10:36.595" v="2399" actId="1076"/>
          <ac:spMkLst>
            <pc:docMk/>
            <pc:sldMk cId="582580800" sldId="401"/>
            <ac:spMk id="24" creationId="{58B3A419-8E0D-F61A-F9A7-F0DAFB16CC81}"/>
          </ac:spMkLst>
        </pc:spChg>
        <pc:spChg chg="add mod">
          <ac:chgData name="Johanna Marx" userId="f7883e6b-b8f5-49bd-97ed-29afbba9d34b" providerId="ADAL" clId="{3FB5D714-E125-4641-BF90-3447CB5D2DA3}" dt="2025-02-02T11:20:56.289" v="9329" actId="255"/>
          <ac:spMkLst>
            <pc:docMk/>
            <pc:sldMk cId="582580800" sldId="401"/>
            <ac:spMk id="29" creationId="{CA6837E9-0CA2-31C7-139C-BB9C3A8FBD8F}"/>
          </ac:spMkLst>
        </pc:spChg>
        <pc:picChg chg="add mod">
          <ac:chgData name="Johanna Marx" userId="f7883e6b-b8f5-49bd-97ed-29afbba9d34b" providerId="ADAL" clId="{3FB5D714-E125-4641-BF90-3447CB5D2DA3}" dt="2025-01-31T10:13:33.085" v="2425" actId="1035"/>
          <ac:picMkLst>
            <pc:docMk/>
            <pc:sldMk cId="582580800" sldId="401"/>
            <ac:picMk id="6" creationId="{5128EFC8-7247-F1E6-6496-282DB27D0963}"/>
          </ac:picMkLst>
        </pc:picChg>
        <pc:picChg chg="add mod">
          <ac:chgData name="Johanna Marx" userId="f7883e6b-b8f5-49bd-97ed-29afbba9d34b" providerId="ADAL" clId="{3FB5D714-E125-4641-BF90-3447CB5D2DA3}" dt="2025-01-31T10:13:33.085" v="2425" actId="1035"/>
          <ac:picMkLst>
            <pc:docMk/>
            <pc:sldMk cId="582580800" sldId="401"/>
            <ac:picMk id="7" creationId="{FCDEBFEE-F204-0E79-32C7-F05DF724FEEA}"/>
          </ac:picMkLst>
        </pc:picChg>
        <pc:picChg chg="add mod topLvl">
          <ac:chgData name="Johanna Marx" userId="f7883e6b-b8f5-49bd-97ed-29afbba9d34b" providerId="ADAL" clId="{3FB5D714-E125-4641-BF90-3447CB5D2DA3}" dt="2025-01-31T10:09:18.944" v="2393" actId="165"/>
          <ac:picMkLst>
            <pc:docMk/>
            <pc:sldMk cId="582580800" sldId="401"/>
            <ac:picMk id="11" creationId="{E8B4AB66-E540-DD37-8CAF-3C1AB42957C9}"/>
          </ac:picMkLst>
        </pc:picChg>
        <pc:inkChg chg="add mod topLvl">
          <ac:chgData name="Johanna Marx" userId="f7883e6b-b8f5-49bd-97ed-29afbba9d34b" providerId="ADAL" clId="{3FB5D714-E125-4641-BF90-3447CB5D2DA3}" dt="2025-01-31T10:12:43.833" v="2409" actId="208"/>
          <ac:inkMkLst>
            <pc:docMk/>
            <pc:sldMk cId="582580800" sldId="401"/>
            <ac:inkMk id="16" creationId="{9407C63D-A095-DCFA-48F0-41244DAF001F}"/>
          </ac:inkMkLst>
        </pc:inkChg>
        <pc:cxnChg chg="add mod">
          <ac:chgData name="Johanna Marx" userId="f7883e6b-b8f5-49bd-97ed-29afbba9d34b" providerId="ADAL" clId="{3FB5D714-E125-4641-BF90-3447CB5D2DA3}" dt="2025-01-31T10:13:33.085" v="2425" actId="1035"/>
          <ac:cxnSpMkLst>
            <pc:docMk/>
            <pc:sldMk cId="582580800" sldId="401"/>
            <ac:cxnSpMk id="9" creationId="{129A01BF-55A9-E236-CBAD-BF91050E1EDB}"/>
          </ac:cxnSpMkLst>
        </pc:cxnChg>
        <pc:cxnChg chg="add mod topLvl">
          <ac:chgData name="Johanna Marx" userId="f7883e6b-b8f5-49bd-97ed-29afbba9d34b" providerId="ADAL" clId="{3FB5D714-E125-4641-BF90-3447CB5D2DA3}" dt="2025-01-31T10:12:43.833" v="2409" actId="208"/>
          <ac:cxnSpMkLst>
            <pc:docMk/>
            <pc:sldMk cId="582580800" sldId="401"/>
            <ac:cxnSpMk id="17" creationId="{F96F3D17-A298-2CA9-1281-34DC22641416}"/>
          </ac:cxnSpMkLst>
        </pc:cxnChg>
        <pc:cxnChg chg="mod">
          <ac:chgData name="Johanna Marx" userId="f7883e6b-b8f5-49bd-97ed-29afbba9d34b" providerId="ADAL" clId="{3FB5D714-E125-4641-BF90-3447CB5D2DA3}" dt="2025-01-31T10:12:58.034" v="2414" actId="14100"/>
          <ac:cxnSpMkLst>
            <pc:docMk/>
            <pc:sldMk cId="582580800" sldId="401"/>
            <ac:cxnSpMk id="19" creationId="{EF2D9963-A48D-A43C-969A-3CF9C00DA4DE}"/>
          </ac:cxnSpMkLst>
        </pc:cxnChg>
        <pc:cxnChg chg="add mod topLvl">
          <ac:chgData name="Johanna Marx" userId="f7883e6b-b8f5-49bd-97ed-29afbba9d34b" providerId="ADAL" clId="{3FB5D714-E125-4641-BF90-3447CB5D2DA3}" dt="2025-01-31T10:09:18.944" v="2393" actId="165"/>
          <ac:cxnSpMkLst>
            <pc:docMk/>
            <pc:sldMk cId="582580800" sldId="401"/>
            <ac:cxnSpMk id="20" creationId="{81714CFD-3D5A-7C97-92A1-6FC6BFB16B50}"/>
          </ac:cxnSpMkLst>
        </pc:cxnChg>
        <pc:cxnChg chg="add mod">
          <ac:chgData name="Johanna Marx" userId="f7883e6b-b8f5-49bd-97ed-29afbba9d34b" providerId="ADAL" clId="{3FB5D714-E125-4641-BF90-3447CB5D2DA3}" dt="2025-01-31T10:08:49.042" v="2389"/>
          <ac:cxnSpMkLst>
            <pc:docMk/>
            <pc:sldMk cId="582580800" sldId="401"/>
            <ac:cxnSpMk id="21" creationId="{4A33FA36-9111-BCD1-D421-9C2B71509A9E}"/>
          </ac:cxnSpMkLst>
        </pc:cxnChg>
        <pc:cxnChg chg="add mod topLvl">
          <ac:chgData name="Johanna Marx" userId="f7883e6b-b8f5-49bd-97ed-29afbba9d34b" providerId="ADAL" clId="{3FB5D714-E125-4641-BF90-3447CB5D2DA3}" dt="2025-01-31T10:09:18.944" v="2393" actId="165"/>
          <ac:cxnSpMkLst>
            <pc:docMk/>
            <pc:sldMk cId="582580800" sldId="401"/>
            <ac:cxnSpMk id="22" creationId="{7649414A-ABC3-8B5B-6D3C-7074ED217D7B}"/>
          </ac:cxnSpMkLst>
        </pc:cxnChg>
      </pc:sldChg>
      <pc:sldChg chg="addSp delSp modSp mod">
        <pc:chgData name="Johanna Marx" userId="f7883e6b-b8f5-49bd-97ed-29afbba9d34b" providerId="ADAL" clId="{3FB5D714-E125-4641-BF90-3447CB5D2DA3}" dt="2025-02-02T11:16:41.727" v="9221" actId="14100"/>
        <pc:sldMkLst>
          <pc:docMk/>
          <pc:sldMk cId="1179567158" sldId="404"/>
        </pc:sldMkLst>
        <pc:spChg chg="mod">
          <ac:chgData name="Johanna Marx" userId="f7883e6b-b8f5-49bd-97ed-29afbba9d34b" providerId="ADAL" clId="{3FB5D714-E125-4641-BF90-3447CB5D2DA3}" dt="2025-02-02T11:16:14.889" v="9218" actId="948"/>
          <ac:spMkLst>
            <pc:docMk/>
            <pc:sldMk cId="1179567158" sldId="404"/>
            <ac:spMk id="2" creationId="{F1A21B12-F317-F50A-FE10-72E27AB7AAB8}"/>
          </ac:spMkLst>
        </pc:spChg>
        <pc:spChg chg="mod">
          <ac:chgData name="Johanna Marx" userId="f7883e6b-b8f5-49bd-97ed-29afbba9d34b" providerId="ADAL" clId="{3FB5D714-E125-4641-BF90-3447CB5D2DA3}" dt="2025-01-29T16:52:47.386" v="1918" actId="1035"/>
          <ac:spMkLst>
            <pc:docMk/>
            <pc:sldMk cId="1179567158" sldId="404"/>
            <ac:spMk id="4" creationId="{06CFC185-661B-FE38-CB5E-9B8B78C1DED4}"/>
          </ac:spMkLst>
        </pc:spChg>
        <pc:spChg chg="mod">
          <ac:chgData name="Johanna Marx" userId="f7883e6b-b8f5-49bd-97ed-29afbba9d34b" providerId="ADAL" clId="{3FB5D714-E125-4641-BF90-3447CB5D2DA3}" dt="2025-01-31T10:28:01.675" v="2427" actId="20577"/>
          <ac:spMkLst>
            <pc:docMk/>
            <pc:sldMk cId="1179567158" sldId="404"/>
            <ac:spMk id="7" creationId="{A9471AC6-B495-C03E-5B97-9380D56DED5B}"/>
          </ac:spMkLst>
        </pc:spChg>
        <pc:spChg chg="mod">
          <ac:chgData name="Johanna Marx" userId="f7883e6b-b8f5-49bd-97ed-29afbba9d34b" providerId="ADAL" clId="{3FB5D714-E125-4641-BF90-3447CB5D2DA3}" dt="2025-02-02T11:16:14.889" v="9218" actId="948"/>
          <ac:spMkLst>
            <pc:docMk/>
            <pc:sldMk cId="1179567158" sldId="404"/>
            <ac:spMk id="8" creationId="{CE749D75-BB64-EA3F-4A37-8B6B98B5B366}"/>
          </ac:spMkLst>
        </pc:spChg>
        <pc:spChg chg="mod">
          <ac:chgData name="Johanna Marx" userId="f7883e6b-b8f5-49bd-97ed-29afbba9d34b" providerId="ADAL" clId="{3FB5D714-E125-4641-BF90-3447CB5D2DA3}" dt="2025-01-29T16:52:41.727" v="1895" actId="1035"/>
          <ac:spMkLst>
            <pc:docMk/>
            <pc:sldMk cId="1179567158" sldId="404"/>
            <ac:spMk id="9" creationId="{BC21C8CF-539D-E464-29F1-01ECBED7D0F4}"/>
          </ac:spMkLst>
        </pc:spChg>
        <pc:spChg chg="add mod">
          <ac:chgData name="Johanna Marx" userId="f7883e6b-b8f5-49bd-97ed-29afbba9d34b" providerId="ADAL" clId="{3FB5D714-E125-4641-BF90-3447CB5D2DA3}" dt="2025-01-29T16:52:41.727" v="1895" actId="1035"/>
          <ac:spMkLst>
            <pc:docMk/>
            <pc:sldMk cId="1179567158" sldId="404"/>
            <ac:spMk id="10" creationId="{696BB537-6518-ABF5-7713-61E5C291C2CA}"/>
          </ac:spMkLst>
        </pc:spChg>
        <pc:spChg chg="add mod">
          <ac:chgData name="Johanna Marx" userId="f7883e6b-b8f5-49bd-97ed-29afbba9d34b" providerId="ADAL" clId="{3FB5D714-E125-4641-BF90-3447CB5D2DA3}" dt="2025-01-29T16:52:47.386" v="1918" actId="1035"/>
          <ac:spMkLst>
            <pc:docMk/>
            <pc:sldMk cId="1179567158" sldId="404"/>
            <ac:spMk id="11" creationId="{BFA1C790-E789-43E0-D590-72F23422A8CC}"/>
          </ac:spMkLst>
        </pc:spChg>
        <pc:spChg chg="add mod">
          <ac:chgData name="Johanna Marx" userId="f7883e6b-b8f5-49bd-97ed-29afbba9d34b" providerId="ADAL" clId="{3FB5D714-E125-4641-BF90-3447CB5D2DA3}" dt="2025-02-02T11:16:37.866" v="9220" actId="14100"/>
          <ac:spMkLst>
            <pc:docMk/>
            <pc:sldMk cId="1179567158" sldId="404"/>
            <ac:spMk id="12" creationId="{31DC4826-2467-D73D-4CA1-ECB068CDDC2B}"/>
          </ac:spMkLst>
        </pc:spChg>
        <pc:spChg chg="mod">
          <ac:chgData name="Johanna Marx" userId="f7883e6b-b8f5-49bd-97ed-29afbba9d34b" providerId="ADAL" clId="{3FB5D714-E125-4641-BF90-3447CB5D2DA3}" dt="2025-02-02T11:16:14.889" v="9218" actId="948"/>
          <ac:spMkLst>
            <pc:docMk/>
            <pc:sldMk cId="1179567158" sldId="404"/>
            <ac:spMk id="13" creationId="{817FCBA3-EFE9-7AA6-9D84-3B990635EB2E}"/>
          </ac:spMkLst>
        </pc:spChg>
        <pc:spChg chg="add mod">
          <ac:chgData name="Johanna Marx" userId="f7883e6b-b8f5-49bd-97ed-29afbba9d34b" providerId="ADAL" clId="{3FB5D714-E125-4641-BF90-3447CB5D2DA3}" dt="2025-01-29T16:52:56.613" v="1925" actId="1035"/>
          <ac:spMkLst>
            <pc:docMk/>
            <pc:sldMk cId="1179567158" sldId="404"/>
            <ac:spMk id="19" creationId="{6DEC0814-F42D-7CA5-86EC-47DB326EB3A7}"/>
          </ac:spMkLst>
        </pc:spChg>
        <pc:spChg chg="add mod">
          <ac:chgData name="Johanna Marx" userId="f7883e6b-b8f5-49bd-97ed-29afbba9d34b" providerId="ADAL" clId="{3FB5D714-E125-4641-BF90-3447CB5D2DA3}" dt="2025-01-29T16:52:56.613" v="1925" actId="1035"/>
          <ac:spMkLst>
            <pc:docMk/>
            <pc:sldMk cId="1179567158" sldId="404"/>
            <ac:spMk id="25" creationId="{7151302F-925B-5D9C-2E0D-75E48228BD0D}"/>
          </ac:spMkLst>
        </pc:spChg>
        <pc:spChg chg="add mod">
          <ac:chgData name="Johanna Marx" userId="f7883e6b-b8f5-49bd-97ed-29afbba9d34b" providerId="ADAL" clId="{3FB5D714-E125-4641-BF90-3447CB5D2DA3}" dt="2025-01-29T16:52:56.613" v="1925" actId="1035"/>
          <ac:spMkLst>
            <pc:docMk/>
            <pc:sldMk cId="1179567158" sldId="404"/>
            <ac:spMk id="26" creationId="{59E53E3E-DE23-14ED-CC64-E58618C66BA0}"/>
          </ac:spMkLst>
        </pc:spChg>
        <pc:spChg chg="add mod">
          <ac:chgData name="Johanna Marx" userId="f7883e6b-b8f5-49bd-97ed-29afbba9d34b" providerId="ADAL" clId="{3FB5D714-E125-4641-BF90-3447CB5D2DA3}" dt="2025-02-02T11:16:41.727" v="9221" actId="14100"/>
          <ac:spMkLst>
            <pc:docMk/>
            <pc:sldMk cId="1179567158" sldId="404"/>
            <ac:spMk id="27" creationId="{00ABFF18-6492-8656-11B0-91CC9D11CAC2}"/>
          </ac:spMkLst>
        </pc:spChg>
        <pc:picChg chg="add mod">
          <ac:chgData name="Johanna Marx" userId="f7883e6b-b8f5-49bd-97ed-29afbba9d34b" providerId="ADAL" clId="{3FB5D714-E125-4641-BF90-3447CB5D2DA3}" dt="2025-01-29T16:52:56.613" v="1925" actId="1035"/>
          <ac:picMkLst>
            <pc:docMk/>
            <pc:sldMk cId="1179567158" sldId="404"/>
            <ac:picMk id="24" creationId="{C7EABB84-8326-7CF4-6665-9371DA1C4EB6}"/>
          </ac:picMkLst>
        </pc:picChg>
      </pc:sldChg>
      <pc:sldChg chg="delSp modSp mod">
        <pc:chgData name="Johanna Marx" userId="f7883e6b-b8f5-49bd-97ed-29afbba9d34b" providerId="ADAL" clId="{3FB5D714-E125-4641-BF90-3447CB5D2DA3}" dt="2025-02-02T11:11:58.643" v="9121" actId="20577"/>
        <pc:sldMkLst>
          <pc:docMk/>
          <pc:sldMk cId="1350676828" sldId="407"/>
        </pc:sldMkLst>
        <pc:spChg chg="mod">
          <ac:chgData name="Johanna Marx" userId="f7883e6b-b8f5-49bd-97ed-29afbba9d34b" providerId="ADAL" clId="{3FB5D714-E125-4641-BF90-3447CB5D2DA3}" dt="2025-02-02T11:06:20.726" v="9070" actId="1076"/>
          <ac:spMkLst>
            <pc:docMk/>
            <pc:sldMk cId="1350676828" sldId="407"/>
            <ac:spMk id="4" creationId="{9FED2E82-8B4E-CED3-E7CC-13BEEA6B927D}"/>
          </ac:spMkLst>
        </pc:spChg>
        <pc:spChg chg="mod">
          <ac:chgData name="Johanna Marx" userId="f7883e6b-b8f5-49bd-97ed-29afbba9d34b" providerId="ADAL" clId="{3FB5D714-E125-4641-BF90-3447CB5D2DA3}" dt="2025-02-02T11:11:44.331" v="9111" actId="255"/>
          <ac:spMkLst>
            <pc:docMk/>
            <pc:sldMk cId="1350676828" sldId="407"/>
            <ac:spMk id="6" creationId="{60826006-F73F-8F4D-B400-0565C4DD04A9}"/>
          </ac:spMkLst>
        </pc:spChg>
        <pc:spChg chg="mod">
          <ac:chgData name="Johanna Marx" userId="f7883e6b-b8f5-49bd-97ed-29afbba9d34b" providerId="ADAL" clId="{3FB5D714-E125-4641-BF90-3447CB5D2DA3}" dt="2025-02-02T11:06:27.503" v="9075" actId="1038"/>
          <ac:spMkLst>
            <pc:docMk/>
            <pc:sldMk cId="1350676828" sldId="407"/>
            <ac:spMk id="20" creationId="{2240E9CB-3E86-122C-9767-7BADBDD48767}"/>
          </ac:spMkLst>
        </pc:spChg>
        <pc:spChg chg="mod">
          <ac:chgData name="Johanna Marx" userId="f7883e6b-b8f5-49bd-97ed-29afbba9d34b" providerId="ADAL" clId="{3FB5D714-E125-4641-BF90-3447CB5D2DA3}" dt="2025-02-02T11:06:27.503" v="9075" actId="1038"/>
          <ac:spMkLst>
            <pc:docMk/>
            <pc:sldMk cId="1350676828" sldId="407"/>
            <ac:spMk id="22" creationId="{FE293BEB-10AE-D6AB-EBE2-A922DCFE03C1}"/>
          </ac:spMkLst>
        </pc:spChg>
        <pc:spChg chg="mod">
          <ac:chgData name="Johanna Marx" userId="f7883e6b-b8f5-49bd-97ed-29afbba9d34b" providerId="ADAL" clId="{3FB5D714-E125-4641-BF90-3447CB5D2DA3}" dt="2025-02-02T11:06:53.131" v="9078" actId="207"/>
          <ac:spMkLst>
            <pc:docMk/>
            <pc:sldMk cId="1350676828" sldId="407"/>
            <ac:spMk id="28" creationId="{1E7F3884-BACD-49E3-027F-BC4198F8C2AE}"/>
          </ac:spMkLst>
        </pc:spChg>
        <pc:spChg chg="mod">
          <ac:chgData name="Johanna Marx" userId="f7883e6b-b8f5-49bd-97ed-29afbba9d34b" providerId="ADAL" clId="{3FB5D714-E125-4641-BF90-3447CB5D2DA3}" dt="2025-02-02T11:11:44.331" v="9111" actId="255"/>
          <ac:spMkLst>
            <pc:docMk/>
            <pc:sldMk cId="1350676828" sldId="407"/>
            <ac:spMk id="30" creationId="{54BF23FD-9A2C-06FA-3BEF-5E979E4936DC}"/>
          </ac:spMkLst>
        </pc:spChg>
        <pc:spChg chg="mod">
          <ac:chgData name="Johanna Marx" userId="f7883e6b-b8f5-49bd-97ed-29afbba9d34b" providerId="ADAL" clId="{3FB5D714-E125-4641-BF90-3447CB5D2DA3}" dt="2025-02-02T11:11:47.943" v="9113" actId="20577"/>
          <ac:spMkLst>
            <pc:docMk/>
            <pc:sldMk cId="1350676828" sldId="407"/>
            <ac:spMk id="36" creationId="{F8ADBDA0-D345-1F23-62C6-701FA4081948}"/>
          </ac:spMkLst>
        </pc:spChg>
        <pc:spChg chg="mod">
          <ac:chgData name="Johanna Marx" userId="f7883e6b-b8f5-49bd-97ed-29afbba9d34b" providerId="ADAL" clId="{3FB5D714-E125-4641-BF90-3447CB5D2DA3}" dt="2025-02-02T11:11:50.884" v="9115" actId="20577"/>
          <ac:spMkLst>
            <pc:docMk/>
            <pc:sldMk cId="1350676828" sldId="407"/>
            <ac:spMk id="40" creationId="{EC65250B-25D6-EC78-1650-F0F82EA6D642}"/>
          </ac:spMkLst>
        </pc:spChg>
        <pc:spChg chg="mod">
          <ac:chgData name="Johanna Marx" userId="f7883e6b-b8f5-49bd-97ed-29afbba9d34b" providerId="ADAL" clId="{3FB5D714-E125-4641-BF90-3447CB5D2DA3}" dt="2025-02-02T11:11:55.026" v="9117" actId="20577"/>
          <ac:spMkLst>
            <pc:docMk/>
            <pc:sldMk cId="1350676828" sldId="407"/>
            <ac:spMk id="41" creationId="{F1293E47-9417-EAE5-E94A-0E12BBA3B773}"/>
          </ac:spMkLst>
        </pc:spChg>
        <pc:spChg chg="mod">
          <ac:chgData name="Johanna Marx" userId="f7883e6b-b8f5-49bd-97ed-29afbba9d34b" providerId="ADAL" clId="{3FB5D714-E125-4641-BF90-3447CB5D2DA3}" dt="2025-02-02T11:11:58.643" v="9121" actId="20577"/>
          <ac:spMkLst>
            <pc:docMk/>
            <pc:sldMk cId="1350676828" sldId="407"/>
            <ac:spMk id="42" creationId="{BA7D5FB3-6F17-8BEB-7A58-D531002CF1E9}"/>
          </ac:spMkLst>
        </pc:spChg>
        <pc:spChg chg="mod">
          <ac:chgData name="Johanna Marx" userId="f7883e6b-b8f5-49bd-97ed-29afbba9d34b" providerId="ADAL" clId="{3FB5D714-E125-4641-BF90-3447CB5D2DA3}" dt="2025-01-29T14:04:44.363" v="337" actId="1076"/>
          <ac:spMkLst>
            <pc:docMk/>
            <pc:sldMk cId="1350676828" sldId="407"/>
            <ac:spMk id="45" creationId="{5548AE0F-152F-B4D0-004F-FB7AA2EF8B04}"/>
          </ac:spMkLst>
        </pc:spChg>
        <pc:spChg chg="mod">
          <ac:chgData name="Johanna Marx" userId="f7883e6b-b8f5-49bd-97ed-29afbba9d34b" providerId="ADAL" clId="{3FB5D714-E125-4641-BF90-3447CB5D2DA3}" dt="2025-01-29T14:04:44.363" v="337" actId="1076"/>
          <ac:spMkLst>
            <pc:docMk/>
            <pc:sldMk cId="1350676828" sldId="407"/>
            <ac:spMk id="47" creationId="{3CBF6D85-53E3-A00C-070D-E8D40C033454}"/>
          </ac:spMkLst>
        </pc:spChg>
        <pc:spChg chg="mod">
          <ac:chgData name="Johanna Marx" userId="f7883e6b-b8f5-49bd-97ed-29afbba9d34b" providerId="ADAL" clId="{3FB5D714-E125-4641-BF90-3447CB5D2DA3}" dt="2025-01-29T14:04:44.363" v="337" actId="1076"/>
          <ac:spMkLst>
            <pc:docMk/>
            <pc:sldMk cId="1350676828" sldId="407"/>
            <ac:spMk id="48" creationId="{910ED7F8-D575-8500-B409-5E5892436F2B}"/>
          </ac:spMkLst>
        </pc:spChg>
        <pc:spChg chg="mod">
          <ac:chgData name="Johanna Marx" userId="f7883e6b-b8f5-49bd-97ed-29afbba9d34b" providerId="ADAL" clId="{3FB5D714-E125-4641-BF90-3447CB5D2DA3}" dt="2025-01-29T14:04:44.363" v="337" actId="1076"/>
          <ac:spMkLst>
            <pc:docMk/>
            <pc:sldMk cId="1350676828" sldId="407"/>
            <ac:spMk id="49" creationId="{511BEF2C-A58F-231E-999D-04A5EE7853B7}"/>
          </ac:spMkLst>
        </pc:spChg>
        <pc:picChg chg="mod">
          <ac:chgData name="Johanna Marx" userId="f7883e6b-b8f5-49bd-97ed-29afbba9d34b" providerId="ADAL" clId="{3FB5D714-E125-4641-BF90-3447CB5D2DA3}" dt="2025-02-02T11:06:27.503" v="9075" actId="1038"/>
          <ac:picMkLst>
            <pc:docMk/>
            <pc:sldMk cId="1350676828" sldId="407"/>
            <ac:picMk id="18" creationId="{B405F80C-758F-01DF-CEC4-3CC0D552561E}"/>
          </ac:picMkLst>
        </pc:picChg>
        <pc:picChg chg="mod">
          <ac:chgData name="Johanna Marx" userId="f7883e6b-b8f5-49bd-97ed-29afbba9d34b" providerId="ADAL" clId="{3FB5D714-E125-4641-BF90-3447CB5D2DA3}" dt="2025-02-02T11:06:27.503" v="9075" actId="1038"/>
          <ac:picMkLst>
            <pc:docMk/>
            <pc:sldMk cId="1350676828" sldId="407"/>
            <ac:picMk id="24" creationId="{8D663BB8-1F95-8E05-7D7F-1BFA3E8D88E0}"/>
          </ac:picMkLst>
        </pc:picChg>
        <pc:picChg chg="mod">
          <ac:chgData name="Johanna Marx" userId="f7883e6b-b8f5-49bd-97ed-29afbba9d34b" providerId="ADAL" clId="{3FB5D714-E125-4641-BF90-3447CB5D2DA3}" dt="2025-01-29T14:04:44.363" v="337" actId="1076"/>
          <ac:picMkLst>
            <pc:docMk/>
            <pc:sldMk cId="1350676828" sldId="407"/>
            <ac:picMk id="35" creationId="{2DED5AC4-286B-F5B5-4D15-F3418F7B1D3E}"/>
          </ac:picMkLst>
        </pc:picChg>
        <pc:picChg chg="mod">
          <ac:chgData name="Johanna Marx" userId="f7883e6b-b8f5-49bd-97ed-29afbba9d34b" providerId="ADAL" clId="{3FB5D714-E125-4641-BF90-3447CB5D2DA3}" dt="2025-01-29T14:04:44.363" v="337" actId="1076"/>
          <ac:picMkLst>
            <pc:docMk/>
            <pc:sldMk cId="1350676828" sldId="407"/>
            <ac:picMk id="37" creationId="{1BE02235-556D-B24E-1997-96FBAB946C5C}"/>
          </ac:picMkLst>
        </pc:picChg>
        <pc:inkChg chg="mod">
          <ac:chgData name="Johanna Marx" userId="f7883e6b-b8f5-49bd-97ed-29afbba9d34b" providerId="ADAL" clId="{3FB5D714-E125-4641-BF90-3447CB5D2DA3}" dt="2025-01-29T14:05:00.130" v="342" actId="14100"/>
          <ac:inkMkLst>
            <pc:docMk/>
            <pc:sldMk cId="1350676828" sldId="407"/>
            <ac:inkMk id="2" creationId="{78BF406A-3099-D3BB-609F-5D3DC63390BE}"/>
          </ac:inkMkLst>
        </pc:inkChg>
        <pc:inkChg chg="mod">
          <ac:chgData name="Johanna Marx" userId="f7883e6b-b8f5-49bd-97ed-29afbba9d34b" providerId="ADAL" clId="{3FB5D714-E125-4641-BF90-3447CB5D2DA3}" dt="2025-01-29T14:04:54.061" v="340" actId="14100"/>
          <ac:inkMkLst>
            <pc:docMk/>
            <pc:sldMk cId="1350676828" sldId="407"/>
            <ac:inkMk id="5" creationId="{FB849A82-B70A-BBF1-6123-6F1986573DCF}"/>
          </ac:inkMkLst>
        </pc:inkChg>
        <pc:inkChg chg="mod">
          <ac:chgData name="Johanna Marx" userId="f7883e6b-b8f5-49bd-97ed-29afbba9d34b" providerId="ADAL" clId="{3FB5D714-E125-4641-BF90-3447CB5D2DA3}" dt="2025-01-29T14:04:57.251" v="341" actId="14100"/>
          <ac:inkMkLst>
            <pc:docMk/>
            <pc:sldMk cId="1350676828" sldId="407"/>
            <ac:inkMk id="7" creationId="{7D84F3FD-B377-96F3-7CD7-E985C210F7FE}"/>
          </ac:inkMkLst>
        </pc:inkChg>
        <pc:inkChg chg="mod">
          <ac:chgData name="Johanna Marx" userId="f7883e6b-b8f5-49bd-97ed-29afbba9d34b" providerId="ADAL" clId="{3FB5D714-E125-4641-BF90-3447CB5D2DA3}" dt="2025-01-29T14:05:03.724" v="343" actId="14100"/>
          <ac:inkMkLst>
            <pc:docMk/>
            <pc:sldMk cId="1350676828" sldId="407"/>
            <ac:inkMk id="8" creationId="{A08603C8-EF6F-9A8C-4674-EE1DB1A60DF3}"/>
          </ac:inkMkLst>
        </pc:inkChg>
      </pc:sldChg>
      <pc:sldChg chg="addSp delSp modSp del mod">
        <pc:chgData name="Johanna Marx" userId="f7883e6b-b8f5-49bd-97ed-29afbba9d34b" providerId="ADAL" clId="{3FB5D714-E125-4641-BF90-3447CB5D2DA3}" dt="2025-01-29T16:33:20.958" v="1168" actId="47"/>
        <pc:sldMkLst>
          <pc:docMk/>
          <pc:sldMk cId="2146858438" sldId="408"/>
        </pc:sldMkLst>
      </pc:sldChg>
      <pc:sldChg chg="addSp delSp modSp mod">
        <pc:chgData name="Johanna Marx" userId="f7883e6b-b8f5-49bd-97ed-29afbba9d34b" providerId="ADAL" clId="{3FB5D714-E125-4641-BF90-3447CB5D2DA3}" dt="2025-01-29T14:02:57.625" v="294" actId="1076"/>
        <pc:sldMkLst>
          <pc:docMk/>
          <pc:sldMk cId="4165276256" sldId="409"/>
        </pc:sldMkLst>
        <pc:spChg chg="mod">
          <ac:chgData name="Johanna Marx" userId="f7883e6b-b8f5-49bd-97ed-29afbba9d34b" providerId="ADAL" clId="{3FB5D714-E125-4641-BF90-3447CB5D2DA3}" dt="2025-01-29T14:02:57.625" v="294" actId="1076"/>
          <ac:spMkLst>
            <pc:docMk/>
            <pc:sldMk cId="4165276256" sldId="409"/>
            <ac:spMk id="14" creationId="{1DC39A33-AFC3-BAFB-BCFC-815AF85F41A3}"/>
          </ac:spMkLst>
        </pc:spChg>
        <pc:spChg chg="mod">
          <ac:chgData name="Johanna Marx" userId="f7883e6b-b8f5-49bd-97ed-29afbba9d34b" providerId="ADAL" clId="{3FB5D714-E125-4641-BF90-3447CB5D2DA3}" dt="2025-01-29T14:02:57.625" v="294" actId="1076"/>
          <ac:spMkLst>
            <pc:docMk/>
            <pc:sldMk cId="4165276256" sldId="409"/>
            <ac:spMk id="16" creationId="{8559A7D3-2E5E-B910-272A-32EA29C804A2}"/>
          </ac:spMkLst>
        </pc:spChg>
        <pc:spChg chg="mod">
          <ac:chgData name="Johanna Marx" userId="f7883e6b-b8f5-49bd-97ed-29afbba9d34b" providerId="ADAL" clId="{3FB5D714-E125-4641-BF90-3447CB5D2DA3}" dt="2025-01-29T14:02:57.625" v="294" actId="1076"/>
          <ac:spMkLst>
            <pc:docMk/>
            <pc:sldMk cId="4165276256" sldId="409"/>
            <ac:spMk id="17" creationId="{93DF21F3-B62A-CE9C-BDB3-1F4AB943CCC4}"/>
          </ac:spMkLst>
        </pc:spChg>
        <pc:spChg chg="mod">
          <ac:chgData name="Johanna Marx" userId="f7883e6b-b8f5-49bd-97ed-29afbba9d34b" providerId="ADAL" clId="{3FB5D714-E125-4641-BF90-3447CB5D2DA3}" dt="2025-01-29T14:02:57.625" v="294" actId="1076"/>
          <ac:spMkLst>
            <pc:docMk/>
            <pc:sldMk cId="4165276256" sldId="409"/>
            <ac:spMk id="19" creationId="{73A61211-80BF-B1A8-FC36-E9ED11B6DC85}"/>
          </ac:spMkLst>
        </pc:spChg>
        <pc:spChg chg="mod">
          <ac:chgData name="Johanna Marx" userId="f7883e6b-b8f5-49bd-97ed-29afbba9d34b" providerId="ADAL" clId="{3FB5D714-E125-4641-BF90-3447CB5D2DA3}" dt="2025-01-29T14:02:57.625" v="294" actId="1076"/>
          <ac:spMkLst>
            <pc:docMk/>
            <pc:sldMk cId="4165276256" sldId="409"/>
            <ac:spMk id="21" creationId="{9C779F89-23F1-8273-09EF-134F10F9DD9C}"/>
          </ac:spMkLst>
        </pc:spChg>
        <pc:spChg chg="mod">
          <ac:chgData name="Johanna Marx" userId="f7883e6b-b8f5-49bd-97ed-29afbba9d34b" providerId="ADAL" clId="{3FB5D714-E125-4641-BF90-3447CB5D2DA3}" dt="2025-01-29T14:02:57.625" v="294" actId="1076"/>
          <ac:spMkLst>
            <pc:docMk/>
            <pc:sldMk cId="4165276256" sldId="409"/>
            <ac:spMk id="23" creationId="{AD661E3A-5B0F-01A4-3643-66BF593B9B61}"/>
          </ac:spMkLst>
        </pc:spChg>
        <pc:spChg chg="mod">
          <ac:chgData name="Johanna Marx" userId="f7883e6b-b8f5-49bd-97ed-29afbba9d34b" providerId="ADAL" clId="{3FB5D714-E125-4641-BF90-3447CB5D2DA3}" dt="2025-01-29T14:02:57.625" v="294" actId="1076"/>
          <ac:spMkLst>
            <pc:docMk/>
            <pc:sldMk cId="4165276256" sldId="409"/>
            <ac:spMk id="25" creationId="{EBBDADC1-07FE-F8E2-49CD-4C68E9023C03}"/>
          </ac:spMkLst>
        </pc:spChg>
        <pc:spChg chg="mod">
          <ac:chgData name="Johanna Marx" userId="f7883e6b-b8f5-49bd-97ed-29afbba9d34b" providerId="ADAL" clId="{3FB5D714-E125-4641-BF90-3447CB5D2DA3}" dt="2025-01-29T14:02:57.625" v="294" actId="1076"/>
          <ac:spMkLst>
            <pc:docMk/>
            <pc:sldMk cId="4165276256" sldId="409"/>
            <ac:spMk id="26" creationId="{09890D54-A53D-4CA6-508B-2A1A76DBB6A7}"/>
          </ac:spMkLst>
        </pc:spChg>
        <pc:picChg chg="mod">
          <ac:chgData name="Johanna Marx" userId="f7883e6b-b8f5-49bd-97ed-29afbba9d34b" providerId="ADAL" clId="{3FB5D714-E125-4641-BF90-3447CB5D2DA3}" dt="2025-01-29T13:57:49.534" v="201" actId="1076"/>
          <ac:picMkLst>
            <pc:docMk/>
            <pc:sldMk cId="4165276256" sldId="409"/>
            <ac:picMk id="2" creationId="{B7255242-02F8-3BA5-29B9-2490301C4735}"/>
          </ac:picMkLst>
        </pc:picChg>
        <pc:picChg chg="mod">
          <ac:chgData name="Johanna Marx" userId="f7883e6b-b8f5-49bd-97ed-29afbba9d34b" providerId="ADAL" clId="{3FB5D714-E125-4641-BF90-3447CB5D2DA3}" dt="2025-01-29T13:58:51.216" v="208" actId="1076"/>
          <ac:picMkLst>
            <pc:docMk/>
            <pc:sldMk cId="4165276256" sldId="409"/>
            <ac:picMk id="7" creationId="{C626F102-0D4B-C862-7A1A-70249A8CF74B}"/>
          </ac:picMkLst>
        </pc:picChg>
        <pc:picChg chg="mod">
          <ac:chgData name="Johanna Marx" userId="f7883e6b-b8f5-49bd-97ed-29afbba9d34b" providerId="ADAL" clId="{3FB5D714-E125-4641-BF90-3447CB5D2DA3}" dt="2025-01-29T14:02:50.003" v="292" actId="1076"/>
          <ac:picMkLst>
            <pc:docMk/>
            <pc:sldMk cId="4165276256" sldId="409"/>
            <ac:picMk id="8" creationId="{1359D337-1D66-1DE5-4E06-4D96347AB294}"/>
          </ac:picMkLst>
        </pc:picChg>
        <pc:picChg chg="mod">
          <ac:chgData name="Johanna Marx" userId="f7883e6b-b8f5-49bd-97ed-29afbba9d34b" providerId="ADAL" clId="{3FB5D714-E125-4641-BF90-3447CB5D2DA3}" dt="2025-01-29T13:58:51.216" v="208" actId="1076"/>
          <ac:picMkLst>
            <pc:docMk/>
            <pc:sldMk cId="4165276256" sldId="409"/>
            <ac:picMk id="9" creationId="{A6953649-490C-1802-8D63-4A99FF934F79}"/>
          </ac:picMkLst>
        </pc:picChg>
        <pc:picChg chg="mod">
          <ac:chgData name="Johanna Marx" userId="f7883e6b-b8f5-49bd-97ed-29afbba9d34b" providerId="ADAL" clId="{3FB5D714-E125-4641-BF90-3447CB5D2DA3}" dt="2025-01-29T14:02:57.625" v="294" actId="1076"/>
          <ac:picMkLst>
            <pc:docMk/>
            <pc:sldMk cId="4165276256" sldId="409"/>
            <ac:picMk id="10" creationId="{F56FB6D0-DCA3-5FF5-D949-A469EC1AA2BE}"/>
          </ac:picMkLst>
        </pc:picChg>
        <pc:picChg chg="mod">
          <ac:chgData name="Johanna Marx" userId="f7883e6b-b8f5-49bd-97ed-29afbba9d34b" providerId="ADAL" clId="{3FB5D714-E125-4641-BF90-3447CB5D2DA3}" dt="2025-01-29T14:02:57.625" v="294" actId="1076"/>
          <ac:picMkLst>
            <pc:docMk/>
            <pc:sldMk cId="4165276256" sldId="409"/>
            <ac:picMk id="11" creationId="{C4A38CEB-21AE-CAD3-E74F-1D2AB2432DC2}"/>
          </ac:picMkLst>
        </pc:picChg>
        <pc:picChg chg="mod">
          <ac:chgData name="Johanna Marx" userId="f7883e6b-b8f5-49bd-97ed-29afbba9d34b" providerId="ADAL" clId="{3FB5D714-E125-4641-BF90-3447CB5D2DA3}" dt="2025-01-29T14:02:51.225" v="293" actId="1076"/>
          <ac:picMkLst>
            <pc:docMk/>
            <pc:sldMk cId="4165276256" sldId="409"/>
            <ac:picMk id="12" creationId="{D5F31C03-D862-E64D-F4CE-8D6D3936274D}"/>
          </ac:picMkLst>
        </pc:picChg>
        <pc:picChg chg="mod">
          <ac:chgData name="Johanna Marx" userId="f7883e6b-b8f5-49bd-97ed-29afbba9d34b" providerId="ADAL" clId="{3FB5D714-E125-4641-BF90-3447CB5D2DA3}" dt="2025-01-29T13:58:56.240" v="209" actId="1076"/>
          <ac:picMkLst>
            <pc:docMk/>
            <pc:sldMk cId="4165276256" sldId="409"/>
            <ac:picMk id="13" creationId="{ABF5B4D9-EB05-C043-4FBC-CE74E38E6CCC}"/>
          </ac:picMkLst>
        </pc:picChg>
        <pc:inkChg chg="mod">
          <ac:chgData name="Johanna Marx" userId="f7883e6b-b8f5-49bd-97ed-29afbba9d34b" providerId="ADAL" clId="{3FB5D714-E125-4641-BF90-3447CB5D2DA3}" dt="2025-01-29T13:57:49.534" v="201" actId="1076"/>
          <ac:inkMkLst>
            <pc:docMk/>
            <pc:sldMk cId="4165276256" sldId="409"/>
            <ac:inkMk id="37" creationId="{F90333A1-842E-1BF9-7359-4943903F00D5}"/>
          </ac:inkMkLst>
        </pc:inkChg>
        <pc:inkChg chg="mod">
          <ac:chgData name="Johanna Marx" userId="f7883e6b-b8f5-49bd-97ed-29afbba9d34b" providerId="ADAL" clId="{3FB5D714-E125-4641-BF90-3447CB5D2DA3}" dt="2025-01-29T13:57:49.534" v="201" actId="1076"/>
          <ac:inkMkLst>
            <pc:docMk/>
            <pc:sldMk cId="4165276256" sldId="409"/>
            <ac:inkMk id="38" creationId="{AFC3F3E6-DEC2-5BB7-F53C-FBF65CBAE387}"/>
          </ac:inkMkLst>
        </pc:inkChg>
        <pc:inkChg chg="mod">
          <ac:chgData name="Johanna Marx" userId="f7883e6b-b8f5-49bd-97ed-29afbba9d34b" providerId="ADAL" clId="{3FB5D714-E125-4641-BF90-3447CB5D2DA3}" dt="2025-01-29T13:57:49.534" v="201" actId="1076"/>
          <ac:inkMkLst>
            <pc:docMk/>
            <pc:sldMk cId="4165276256" sldId="409"/>
            <ac:inkMk id="39" creationId="{F7DEEC2C-B4F4-BDF3-6910-87D4D55474F6}"/>
          </ac:inkMkLst>
        </pc:inkChg>
        <pc:inkChg chg="mod">
          <ac:chgData name="Johanna Marx" userId="f7883e6b-b8f5-49bd-97ed-29afbba9d34b" providerId="ADAL" clId="{3FB5D714-E125-4641-BF90-3447CB5D2DA3}" dt="2025-01-29T13:54:56.453" v="177" actId="1076"/>
          <ac:inkMkLst>
            <pc:docMk/>
            <pc:sldMk cId="4165276256" sldId="409"/>
            <ac:inkMk id="40" creationId="{B9712D9B-28F9-E8DA-7292-07988C3FC843}"/>
          </ac:inkMkLst>
        </pc:inkChg>
        <pc:inkChg chg="mod">
          <ac:chgData name="Johanna Marx" userId="f7883e6b-b8f5-49bd-97ed-29afbba9d34b" providerId="ADAL" clId="{3FB5D714-E125-4641-BF90-3447CB5D2DA3}" dt="2025-01-29T13:57:49.534" v="201" actId="1076"/>
          <ac:inkMkLst>
            <pc:docMk/>
            <pc:sldMk cId="4165276256" sldId="409"/>
            <ac:inkMk id="41" creationId="{BF9E2DF8-35AA-F983-4D9C-47B9FE6EA6B8}"/>
          </ac:inkMkLst>
        </pc:inkChg>
        <pc:inkChg chg="mod">
          <ac:chgData name="Johanna Marx" userId="f7883e6b-b8f5-49bd-97ed-29afbba9d34b" providerId="ADAL" clId="{3FB5D714-E125-4641-BF90-3447CB5D2DA3}" dt="2025-01-29T13:54:21.370" v="176" actId="1076"/>
          <ac:inkMkLst>
            <pc:docMk/>
            <pc:sldMk cId="4165276256" sldId="409"/>
            <ac:inkMk id="42" creationId="{F98BBF4B-4F6B-2805-6BC9-D5254BEAAD7B}"/>
          </ac:inkMkLst>
        </pc:inkChg>
        <pc:inkChg chg="mod">
          <ac:chgData name="Johanna Marx" userId="f7883e6b-b8f5-49bd-97ed-29afbba9d34b" providerId="ADAL" clId="{3FB5D714-E125-4641-BF90-3447CB5D2DA3}" dt="2025-01-29T13:58:51.216" v="208" actId="1076"/>
          <ac:inkMkLst>
            <pc:docMk/>
            <pc:sldMk cId="4165276256" sldId="409"/>
            <ac:inkMk id="43" creationId="{E77EC7B7-1B79-B79C-BBFD-D05D84843438}"/>
          </ac:inkMkLst>
        </pc:inkChg>
        <pc:inkChg chg="mod">
          <ac:chgData name="Johanna Marx" userId="f7883e6b-b8f5-49bd-97ed-29afbba9d34b" providerId="ADAL" clId="{3FB5D714-E125-4641-BF90-3447CB5D2DA3}" dt="2025-01-29T13:58:51.216" v="208" actId="1076"/>
          <ac:inkMkLst>
            <pc:docMk/>
            <pc:sldMk cId="4165276256" sldId="409"/>
            <ac:inkMk id="44" creationId="{7FCC9ACF-0651-E6E3-F4B4-B1D909B92573}"/>
          </ac:inkMkLst>
        </pc:inkChg>
        <pc:inkChg chg="mod">
          <ac:chgData name="Johanna Marx" userId="f7883e6b-b8f5-49bd-97ed-29afbba9d34b" providerId="ADAL" clId="{3FB5D714-E125-4641-BF90-3447CB5D2DA3}" dt="2025-01-29T13:58:51.216" v="208" actId="1076"/>
          <ac:inkMkLst>
            <pc:docMk/>
            <pc:sldMk cId="4165276256" sldId="409"/>
            <ac:inkMk id="45" creationId="{DFD9288E-B00F-339C-16D5-5469544EF0C8}"/>
          </ac:inkMkLst>
        </pc:inkChg>
        <pc:inkChg chg="mod">
          <ac:chgData name="Johanna Marx" userId="f7883e6b-b8f5-49bd-97ed-29afbba9d34b" providerId="ADAL" clId="{3FB5D714-E125-4641-BF90-3447CB5D2DA3}" dt="2025-01-29T13:58:51.216" v="208" actId="1076"/>
          <ac:inkMkLst>
            <pc:docMk/>
            <pc:sldMk cId="4165276256" sldId="409"/>
            <ac:inkMk id="46" creationId="{E42C7760-DA83-B140-EC15-170A76CED852}"/>
          </ac:inkMkLst>
        </pc:inkChg>
        <pc:inkChg chg="mod">
          <ac:chgData name="Johanna Marx" userId="f7883e6b-b8f5-49bd-97ed-29afbba9d34b" providerId="ADAL" clId="{3FB5D714-E125-4641-BF90-3447CB5D2DA3}" dt="2025-01-29T13:55:19.653" v="181" actId="1076"/>
          <ac:inkMkLst>
            <pc:docMk/>
            <pc:sldMk cId="4165276256" sldId="409"/>
            <ac:inkMk id="47" creationId="{7F59C1C3-515A-02D9-A231-117A5268EC3B}"/>
          </ac:inkMkLst>
        </pc:inkChg>
        <pc:inkChg chg="mod">
          <ac:chgData name="Johanna Marx" userId="f7883e6b-b8f5-49bd-97ed-29afbba9d34b" providerId="ADAL" clId="{3FB5D714-E125-4641-BF90-3447CB5D2DA3}" dt="2025-01-29T13:55:19.653" v="181" actId="1076"/>
          <ac:inkMkLst>
            <pc:docMk/>
            <pc:sldMk cId="4165276256" sldId="409"/>
            <ac:inkMk id="48" creationId="{7D1E9A88-B856-D696-DD37-639BDE6F5A19}"/>
          </ac:inkMkLst>
        </pc:inkChg>
        <pc:inkChg chg="mod">
          <ac:chgData name="Johanna Marx" userId="f7883e6b-b8f5-49bd-97ed-29afbba9d34b" providerId="ADAL" clId="{3FB5D714-E125-4641-BF90-3447CB5D2DA3}" dt="2025-01-29T13:58:56.240" v="209" actId="1076"/>
          <ac:inkMkLst>
            <pc:docMk/>
            <pc:sldMk cId="4165276256" sldId="409"/>
            <ac:inkMk id="49" creationId="{B84A6D74-DF07-7EF3-3ED2-5B67264E8213}"/>
          </ac:inkMkLst>
        </pc:inkChg>
        <pc:inkChg chg="mod">
          <ac:chgData name="Johanna Marx" userId="f7883e6b-b8f5-49bd-97ed-29afbba9d34b" providerId="ADAL" clId="{3FB5D714-E125-4641-BF90-3447CB5D2DA3}" dt="2025-01-29T13:58:56.240" v="209" actId="1076"/>
          <ac:inkMkLst>
            <pc:docMk/>
            <pc:sldMk cId="4165276256" sldId="409"/>
            <ac:inkMk id="50" creationId="{BC899390-8EC0-5D70-AEF1-99D363B9806D}"/>
          </ac:inkMkLst>
        </pc:inkChg>
        <pc:inkChg chg="mod">
          <ac:chgData name="Johanna Marx" userId="f7883e6b-b8f5-49bd-97ed-29afbba9d34b" providerId="ADAL" clId="{3FB5D714-E125-4641-BF90-3447CB5D2DA3}" dt="2025-01-29T13:58:56.240" v="209" actId="1076"/>
          <ac:inkMkLst>
            <pc:docMk/>
            <pc:sldMk cId="4165276256" sldId="409"/>
            <ac:inkMk id="51" creationId="{0BF0940E-9912-15D0-D880-2EA8F64D1D78}"/>
          </ac:inkMkLst>
        </pc:inkChg>
        <pc:inkChg chg="mod">
          <ac:chgData name="Johanna Marx" userId="f7883e6b-b8f5-49bd-97ed-29afbba9d34b" providerId="ADAL" clId="{3FB5D714-E125-4641-BF90-3447CB5D2DA3}" dt="2025-01-29T13:58:56.240" v="209" actId="1076"/>
          <ac:inkMkLst>
            <pc:docMk/>
            <pc:sldMk cId="4165276256" sldId="409"/>
            <ac:inkMk id="53" creationId="{7964E81E-8B12-C682-A055-79D6459167A8}"/>
          </ac:inkMkLst>
        </pc:inkChg>
        <pc:inkChg chg="mod">
          <ac:chgData name="Johanna Marx" userId="f7883e6b-b8f5-49bd-97ed-29afbba9d34b" providerId="ADAL" clId="{3FB5D714-E125-4641-BF90-3447CB5D2DA3}" dt="2025-01-29T13:58:56.240" v="209" actId="1076"/>
          <ac:inkMkLst>
            <pc:docMk/>
            <pc:sldMk cId="4165276256" sldId="409"/>
            <ac:inkMk id="54" creationId="{14E7730D-2D52-2176-65A7-B177D1735405}"/>
          </ac:inkMkLst>
        </pc:inkChg>
      </pc:sldChg>
      <pc:sldChg chg="addSp delSp modSp mod">
        <pc:chgData name="Johanna Marx" userId="f7883e6b-b8f5-49bd-97ed-29afbba9d34b" providerId="ADAL" clId="{3FB5D714-E125-4641-BF90-3447CB5D2DA3}" dt="2025-02-02T11:12:10.774" v="9122" actId="255"/>
        <pc:sldMkLst>
          <pc:docMk/>
          <pc:sldMk cId="3374372959" sldId="410"/>
        </pc:sldMkLst>
        <pc:spChg chg="mod">
          <ac:chgData name="Johanna Marx" userId="f7883e6b-b8f5-49bd-97ed-29afbba9d34b" providerId="ADAL" clId="{3FB5D714-E125-4641-BF90-3447CB5D2DA3}" dt="2025-02-02T11:05:57.793" v="9068" actId="1076"/>
          <ac:spMkLst>
            <pc:docMk/>
            <pc:sldMk cId="3374372959" sldId="410"/>
            <ac:spMk id="2" creationId="{61FC4D4D-A852-3684-AEF3-B33B3F8311BC}"/>
          </ac:spMkLst>
        </pc:spChg>
        <pc:spChg chg="mod">
          <ac:chgData name="Johanna Marx" userId="f7883e6b-b8f5-49bd-97ed-29afbba9d34b" providerId="ADAL" clId="{3FB5D714-E125-4641-BF90-3447CB5D2DA3}" dt="2025-02-02T11:05:57.793" v="9068" actId="1076"/>
          <ac:spMkLst>
            <pc:docMk/>
            <pc:sldMk cId="3374372959" sldId="410"/>
            <ac:spMk id="3" creationId="{855A30B5-31EC-CF54-E7E3-4E2BE1B24C7A}"/>
          </ac:spMkLst>
        </pc:spChg>
        <pc:spChg chg="mod">
          <ac:chgData name="Johanna Marx" userId="f7883e6b-b8f5-49bd-97ed-29afbba9d34b" providerId="ADAL" clId="{3FB5D714-E125-4641-BF90-3447CB5D2DA3}" dt="2025-02-02T11:05:57.793" v="9068" actId="1076"/>
          <ac:spMkLst>
            <pc:docMk/>
            <pc:sldMk cId="3374372959" sldId="410"/>
            <ac:spMk id="5" creationId="{86D9B208-016D-11B1-A5B7-841961C1B3AD}"/>
          </ac:spMkLst>
        </pc:spChg>
        <pc:spChg chg="mod">
          <ac:chgData name="Johanna Marx" userId="f7883e6b-b8f5-49bd-97ed-29afbba9d34b" providerId="ADAL" clId="{3FB5D714-E125-4641-BF90-3447CB5D2DA3}" dt="2025-02-02T11:12:10.774" v="9122" actId="255"/>
          <ac:spMkLst>
            <pc:docMk/>
            <pc:sldMk cId="3374372959" sldId="410"/>
            <ac:spMk id="6" creationId="{EECBEFEB-9C0E-5927-15A7-351A5C54385E}"/>
          </ac:spMkLst>
        </pc:spChg>
        <pc:spChg chg="add mod">
          <ac:chgData name="Johanna Marx" userId="f7883e6b-b8f5-49bd-97ed-29afbba9d34b" providerId="ADAL" clId="{3FB5D714-E125-4641-BF90-3447CB5D2DA3}" dt="2025-02-02T11:06:47.292" v="9077" actId="207"/>
          <ac:spMkLst>
            <pc:docMk/>
            <pc:sldMk cId="3374372959" sldId="410"/>
            <ac:spMk id="12" creationId="{F1D95211-1D98-ACB5-0D97-B3CD20B1694A}"/>
          </ac:spMkLst>
        </pc:spChg>
        <pc:spChg chg="add mod">
          <ac:chgData name="Johanna Marx" userId="f7883e6b-b8f5-49bd-97ed-29afbba9d34b" providerId="ADAL" clId="{3FB5D714-E125-4641-BF90-3447CB5D2DA3}" dt="2025-02-02T11:05:52.671" v="9067" actId="14100"/>
          <ac:spMkLst>
            <pc:docMk/>
            <pc:sldMk cId="3374372959" sldId="410"/>
            <ac:spMk id="13" creationId="{471ED06A-7353-0A3F-662C-FC58BBB7C18B}"/>
          </ac:spMkLst>
        </pc:spChg>
        <pc:picChg chg="mod">
          <ac:chgData name="Johanna Marx" userId="f7883e6b-b8f5-49bd-97ed-29afbba9d34b" providerId="ADAL" clId="{3FB5D714-E125-4641-BF90-3447CB5D2DA3}" dt="2025-02-02T11:05:57.793" v="9068" actId="1076"/>
          <ac:picMkLst>
            <pc:docMk/>
            <pc:sldMk cId="3374372959" sldId="410"/>
            <ac:picMk id="20" creationId="{65CEF2F0-0EE8-EB62-7168-208D0FD3E6EB}"/>
          </ac:picMkLst>
        </pc:picChg>
      </pc:sldChg>
      <pc:sldChg chg="addSp delSp modSp mod modClrScheme chgLayout">
        <pc:chgData name="Johanna Marx" userId="f7883e6b-b8f5-49bd-97ed-29afbba9d34b" providerId="ADAL" clId="{3FB5D714-E125-4641-BF90-3447CB5D2DA3}" dt="2025-02-02T11:06:09.070" v="9069" actId="108"/>
        <pc:sldMkLst>
          <pc:docMk/>
          <pc:sldMk cId="3117399487" sldId="411"/>
        </pc:sldMkLst>
        <pc:spChg chg="add del mod ord">
          <ac:chgData name="Johanna Marx" userId="f7883e6b-b8f5-49bd-97ed-29afbba9d34b" providerId="ADAL" clId="{3FB5D714-E125-4641-BF90-3447CB5D2DA3}" dt="2025-02-02T10:46:26.510" v="8866" actId="478"/>
          <ac:spMkLst>
            <pc:docMk/>
            <pc:sldMk cId="3117399487" sldId="411"/>
            <ac:spMk id="2" creationId="{7F357822-7FCA-B9BE-70B2-7A697048924C}"/>
          </ac:spMkLst>
        </pc:spChg>
        <pc:spChg chg="add del mod ord">
          <ac:chgData name="Johanna Marx" userId="f7883e6b-b8f5-49bd-97ed-29afbba9d34b" providerId="ADAL" clId="{3FB5D714-E125-4641-BF90-3447CB5D2DA3}" dt="2025-02-02T10:46:26.510" v="8866" actId="478"/>
          <ac:spMkLst>
            <pc:docMk/>
            <pc:sldMk cId="3117399487" sldId="411"/>
            <ac:spMk id="4" creationId="{C49DE70A-37A1-8476-24BB-D6D51A89A531}"/>
          </ac:spMkLst>
        </pc:spChg>
        <pc:spChg chg="mod">
          <ac:chgData name="Johanna Marx" userId="f7883e6b-b8f5-49bd-97ed-29afbba9d34b" providerId="ADAL" clId="{3FB5D714-E125-4641-BF90-3447CB5D2DA3}" dt="2025-02-02T11:06:09.070" v="9069" actId="108"/>
          <ac:spMkLst>
            <pc:docMk/>
            <pc:sldMk cId="3117399487" sldId="411"/>
            <ac:spMk id="5" creationId="{47CB8B55-5221-8ED1-B020-5C92DCB4AE8A}"/>
          </ac:spMkLst>
        </pc:spChg>
        <pc:spChg chg="add del mod ord">
          <ac:chgData name="Johanna Marx" userId="f7883e6b-b8f5-49bd-97ed-29afbba9d34b" providerId="ADAL" clId="{3FB5D714-E125-4641-BF90-3447CB5D2DA3}" dt="2025-02-02T10:46:26.510" v="8866" actId="478"/>
          <ac:spMkLst>
            <pc:docMk/>
            <pc:sldMk cId="3117399487" sldId="411"/>
            <ac:spMk id="6" creationId="{A9C80379-031F-748B-64FC-D445E245361E}"/>
          </ac:spMkLst>
        </pc:spChg>
        <pc:spChg chg="add del mod ord">
          <ac:chgData name="Johanna Marx" userId="f7883e6b-b8f5-49bd-97ed-29afbba9d34b" providerId="ADAL" clId="{3FB5D714-E125-4641-BF90-3447CB5D2DA3}" dt="2025-02-02T10:46:26.510" v="8866" actId="478"/>
          <ac:spMkLst>
            <pc:docMk/>
            <pc:sldMk cId="3117399487" sldId="411"/>
            <ac:spMk id="8" creationId="{1EE79856-4D9B-A34D-92F9-5F4013D30BB9}"/>
          </ac:spMkLst>
        </pc:spChg>
        <pc:spChg chg="add del mod ord">
          <ac:chgData name="Johanna Marx" userId="f7883e6b-b8f5-49bd-97ed-29afbba9d34b" providerId="ADAL" clId="{3FB5D714-E125-4641-BF90-3447CB5D2DA3}" dt="2025-02-02T10:46:26.510" v="8866" actId="478"/>
          <ac:spMkLst>
            <pc:docMk/>
            <pc:sldMk cId="3117399487" sldId="411"/>
            <ac:spMk id="9" creationId="{CCE1E5F5-6E24-D267-507A-1BE3FD67583A}"/>
          </ac:spMkLst>
        </pc:spChg>
        <pc:spChg chg="add del mod ord">
          <ac:chgData name="Johanna Marx" userId="f7883e6b-b8f5-49bd-97ed-29afbba9d34b" providerId="ADAL" clId="{3FB5D714-E125-4641-BF90-3447CB5D2DA3}" dt="2025-02-02T10:46:26.510" v="8866" actId="478"/>
          <ac:spMkLst>
            <pc:docMk/>
            <pc:sldMk cId="3117399487" sldId="411"/>
            <ac:spMk id="11" creationId="{552BD0E8-1836-4D8A-C181-2E0DD7B2089D}"/>
          </ac:spMkLst>
        </pc:spChg>
        <pc:spChg chg="add del mod ord">
          <ac:chgData name="Johanna Marx" userId="f7883e6b-b8f5-49bd-97ed-29afbba9d34b" providerId="ADAL" clId="{3FB5D714-E125-4641-BF90-3447CB5D2DA3}" dt="2025-02-02T10:46:26.510" v="8866" actId="478"/>
          <ac:spMkLst>
            <pc:docMk/>
            <pc:sldMk cId="3117399487" sldId="411"/>
            <ac:spMk id="13" creationId="{B5CC7933-B569-603F-EBD2-F6D300466E6A}"/>
          </ac:spMkLst>
        </pc:spChg>
        <pc:spChg chg="add del mod ord">
          <ac:chgData name="Johanna Marx" userId="f7883e6b-b8f5-49bd-97ed-29afbba9d34b" providerId="ADAL" clId="{3FB5D714-E125-4641-BF90-3447CB5D2DA3}" dt="2025-02-02T10:46:26.510" v="8866" actId="478"/>
          <ac:spMkLst>
            <pc:docMk/>
            <pc:sldMk cId="3117399487" sldId="411"/>
            <ac:spMk id="14" creationId="{57ECB285-BE60-EECF-F215-903B5842C4E1}"/>
          </ac:spMkLst>
        </pc:spChg>
        <pc:spChg chg="add del mod ord">
          <ac:chgData name="Johanna Marx" userId="f7883e6b-b8f5-49bd-97ed-29afbba9d34b" providerId="ADAL" clId="{3FB5D714-E125-4641-BF90-3447CB5D2DA3}" dt="2025-02-02T10:46:26.510" v="8866" actId="478"/>
          <ac:spMkLst>
            <pc:docMk/>
            <pc:sldMk cId="3117399487" sldId="411"/>
            <ac:spMk id="15" creationId="{A2D241F0-BECF-3EAF-558C-F831C2812FCC}"/>
          </ac:spMkLst>
        </pc:spChg>
        <pc:spChg chg="add del mod ord">
          <ac:chgData name="Johanna Marx" userId="f7883e6b-b8f5-49bd-97ed-29afbba9d34b" providerId="ADAL" clId="{3FB5D714-E125-4641-BF90-3447CB5D2DA3}" dt="2025-02-02T10:46:26.510" v="8866" actId="478"/>
          <ac:spMkLst>
            <pc:docMk/>
            <pc:sldMk cId="3117399487" sldId="411"/>
            <ac:spMk id="16" creationId="{B9B696F9-DCF7-7EFB-CC3D-B1CA708FE344}"/>
          </ac:spMkLst>
        </pc:spChg>
      </pc:sldChg>
      <pc:sldChg chg="addSp delSp modSp mod modClrScheme chgLayout">
        <pc:chgData name="Johanna Marx" userId="f7883e6b-b8f5-49bd-97ed-29afbba9d34b" providerId="ADAL" clId="{3FB5D714-E125-4641-BF90-3447CB5D2DA3}" dt="2025-02-02T11:11:12.531" v="9105" actId="255"/>
        <pc:sldMkLst>
          <pc:docMk/>
          <pc:sldMk cId="374364369" sldId="413"/>
        </pc:sldMkLst>
        <pc:spChg chg="mod ord">
          <ac:chgData name="Johanna Marx" userId="f7883e6b-b8f5-49bd-97ed-29afbba9d34b" providerId="ADAL" clId="{3FB5D714-E125-4641-BF90-3447CB5D2DA3}" dt="2025-02-02T10:46:03.114" v="8864" actId="700"/>
          <ac:spMkLst>
            <pc:docMk/>
            <pc:sldMk cId="374364369" sldId="413"/>
            <ac:spMk id="3" creationId="{81C61E71-754B-E79D-FAEF-B7D9E0483FDF}"/>
          </ac:spMkLst>
        </pc:spChg>
        <pc:spChg chg="mod">
          <ac:chgData name="Johanna Marx" userId="f7883e6b-b8f5-49bd-97ed-29afbba9d34b" providerId="ADAL" clId="{3FB5D714-E125-4641-BF90-3447CB5D2DA3}" dt="2025-02-02T11:09:20.792" v="9093" actId="1036"/>
          <ac:spMkLst>
            <pc:docMk/>
            <pc:sldMk cId="374364369" sldId="413"/>
            <ac:spMk id="5" creationId="{3A4927C7-6F99-6A99-A6D9-2ABF34AB5092}"/>
          </ac:spMkLst>
        </pc:spChg>
        <pc:spChg chg="mod">
          <ac:chgData name="Johanna Marx" userId="f7883e6b-b8f5-49bd-97ed-29afbba9d34b" providerId="ADAL" clId="{3FB5D714-E125-4641-BF90-3447CB5D2DA3}" dt="2025-02-02T11:09:20.792" v="9093" actId="1036"/>
          <ac:spMkLst>
            <pc:docMk/>
            <pc:sldMk cId="374364369" sldId="413"/>
            <ac:spMk id="6" creationId="{941436FD-BCC1-69E9-3B63-65CED40F0E05}"/>
          </ac:spMkLst>
        </pc:spChg>
        <pc:spChg chg="mod">
          <ac:chgData name="Johanna Marx" userId="f7883e6b-b8f5-49bd-97ed-29afbba9d34b" providerId="ADAL" clId="{3FB5D714-E125-4641-BF90-3447CB5D2DA3}" dt="2025-02-02T11:09:20.792" v="9093" actId="1036"/>
          <ac:spMkLst>
            <pc:docMk/>
            <pc:sldMk cId="374364369" sldId="413"/>
            <ac:spMk id="8" creationId="{9E7759B4-AB88-1B15-8D80-4AE81F5B3F53}"/>
          </ac:spMkLst>
        </pc:spChg>
        <pc:spChg chg="add mod ord">
          <ac:chgData name="Johanna Marx" userId="f7883e6b-b8f5-49bd-97ed-29afbba9d34b" providerId="ADAL" clId="{3FB5D714-E125-4641-BF90-3447CB5D2DA3}" dt="2025-02-02T11:08:06.310" v="9086" actId="1076"/>
          <ac:spMkLst>
            <pc:docMk/>
            <pc:sldMk cId="374364369" sldId="413"/>
            <ac:spMk id="10" creationId="{CDD0F4D4-63C7-DB1E-5928-B11AC7445F27}"/>
          </ac:spMkLst>
        </pc:spChg>
        <pc:spChg chg="add del mod">
          <ac:chgData name="Johanna Marx" userId="f7883e6b-b8f5-49bd-97ed-29afbba9d34b" providerId="ADAL" clId="{3FB5D714-E125-4641-BF90-3447CB5D2DA3}" dt="2025-02-02T11:09:20.792" v="9093" actId="1036"/>
          <ac:spMkLst>
            <pc:docMk/>
            <pc:sldMk cId="374364369" sldId="413"/>
            <ac:spMk id="11" creationId="{C5107335-C559-E6D1-CF82-CCF7C8E26BC5}"/>
          </ac:spMkLst>
        </pc:spChg>
        <pc:spChg chg="mod">
          <ac:chgData name="Johanna Marx" userId="f7883e6b-b8f5-49bd-97ed-29afbba9d34b" providerId="ADAL" clId="{3FB5D714-E125-4641-BF90-3447CB5D2DA3}" dt="2025-02-01T09:02:58.507" v="8621" actId="14100"/>
          <ac:spMkLst>
            <pc:docMk/>
            <pc:sldMk cId="374364369" sldId="413"/>
            <ac:spMk id="23" creationId="{398755E3-11DE-4DE7-84A9-771248D82E97}"/>
          </ac:spMkLst>
        </pc:spChg>
        <pc:spChg chg="mod">
          <ac:chgData name="Johanna Marx" userId="f7883e6b-b8f5-49bd-97ed-29afbba9d34b" providerId="ADAL" clId="{3FB5D714-E125-4641-BF90-3447CB5D2DA3}" dt="2025-02-02T11:11:12.531" v="9105" actId="255"/>
          <ac:spMkLst>
            <pc:docMk/>
            <pc:sldMk cId="374364369" sldId="413"/>
            <ac:spMk id="24" creationId="{9EE61C21-2AA6-419B-A73E-1A606DEA4621}"/>
          </ac:spMkLst>
        </pc:spChg>
        <pc:graphicFrameChg chg="add mod ord modGraphic">
          <ac:chgData name="Johanna Marx" userId="f7883e6b-b8f5-49bd-97ed-29afbba9d34b" providerId="ADAL" clId="{3FB5D714-E125-4641-BF90-3447CB5D2DA3}" dt="2025-01-29T16:42:12.085" v="1375"/>
          <ac:graphicFrameMkLst>
            <pc:docMk/>
            <pc:sldMk cId="374364369" sldId="413"/>
            <ac:graphicFrameMk id="9" creationId="{997CC2AE-7AEE-FB9A-9D2A-5EDD08D09BCA}"/>
          </ac:graphicFrameMkLst>
        </pc:graphicFrameChg>
        <pc:picChg chg="mod">
          <ac:chgData name="Johanna Marx" userId="f7883e6b-b8f5-49bd-97ed-29afbba9d34b" providerId="ADAL" clId="{3FB5D714-E125-4641-BF90-3447CB5D2DA3}" dt="2025-02-02T11:09:20.792" v="9093" actId="1036"/>
          <ac:picMkLst>
            <pc:docMk/>
            <pc:sldMk cId="374364369" sldId="413"/>
            <ac:picMk id="7" creationId="{053319C3-33F1-5EED-9B62-C7544179C839}"/>
          </ac:picMkLst>
        </pc:picChg>
        <pc:picChg chg="mod">
          <ac:chgData name="Johanna Marx" userId="f7883e6b-b8f5-49bd-97ed-29afbba9d34b" providerId="ADAL" clId="{3FB5D714-E125-4641-BF90-3447CB5D2DA3}" dt="2025-01-29T14:11:18.960" v="762" actId="1076"/>
          <ac:picMkLst>
            <pc:docMk/>
            <pc:sldMk cId="374364369" sldId="413"/>
            <ac:picMk id="14" creationId="{FD7D6C19-F63D-3343-9780-FDDDAA55622A}"/>
          </ac:picMkLst>
        </pc:picChg>
      </pc:sldChg>
      <pc:sldChg chg="addSp delSp modSp mod modClrScheme chgLayout">
        <pc:chgData name="Johanna Marx" userId="f7883e6b-b8f5-49bd-97ed-29afbba9d34b" providerId="ADAL" clId="{3FB5D714-E125-4641-BF90-3447CB5D2DA3}" dt="2025-02-02T10:45:52.557" v="8863" actId="478"/>
        <pc:sldMkLst>
          <pc:docMk/>
          <pc:sldMk cId="3390966927" sldId="414"/>
        </pc:sldMkLst>
        <pc:spChg chg="mod ord">
          <ac:chgData name="Johanna Marx" userId="f7883e6b-b8f5-49bd-97ed-29afbba9d34b" providerId="ADAL" clId="{3FB5D714-E125-4641-BF90-3447CB5D2DA3}" dt="2025-02-02T10:45:42.148" v="8860" actId="700"/>
          <ac:spMkLst>
            <pc:docMk/>
            <pc:sldMk cId="3390966927" sldId="414"/>
            <ac:spMk id="3" creationId="{81C61E71-754B-E79D-FAEF-B7D9E0483FDF}"/>
          </ac:spMkLst>
        </pc:spChg>
        <pc:spChg chg="add mod ord">
          <ac:chgData name="Johanna Marx" userId="f7883e6b-b8f5-49bd-97ed-29afbba9d34b" providerId="ADAL" clId="{3FB5D714-E125-4641-BF90-3447CB5D2DA3}" dt="2025-02-02T10:45:38.211" v="8859" actId="700"/>
          <ac:spMkLst>
            <pc:docMk/>
            <pc:sldMk cId="3390966927" sldId="414"/>
            <ac:spMk id="5" creationId="{AE870424-EB27-A21D-F834-72350CF7A669}"/>
          </ac:spMkLst>
        </pc:spChg>
        <pc:spChg chg="del mod ord">
          <ac:chgData name="Johanna Marx" userId="f7883e6b-b8f5-49bd-97ed-29afbba9d34b" providerId="ADAL" clId="{3FB5D714-E125-4641-BF90-3447CB5D2DA3}" dt="2025-02-02T10:45:42.148" v="8860" actId="700"/>
          <ac:spMkLst>
            <pc:docMk/>
            <pc:sldMk cId="3390966927" sldId="414"/>
            <ac:spMk id="6" creationId="{D1E80481-4B59-FA4C-A916-39913B89F8AF}"/>
          </ac:spMkLst>
        </pc:spChg>
        <pc:spChg chg="add del mod ord">
          <ac:chgData name="Johanna Marx" userId="f7883e6b-b8f5-49bd-97ed-29afbba9d34b" providerId="ADAL" clId="{3FB5D714-E125-4641-BF90-3447CB5D2DA3}" dt="2025-02-02T10:45:42.148" v="8860" actId="700"/>
          <ac:spMkLst>
            <pc:docMk/>
            <pc:sldMk cId="3390966927" sldId="414"/>
            <ac:spMk id="7" creationId="{EDEAEE74-D09D-D156-F6D7-992A989A0BE7}"/>
          </ac:spMkLst>
        </pc:spChg>
        <pc:spChg chg="add mod ord">
          <ac:chgData name="Johanna Marx" userId="f7883e6b-b8f5-49bd-97ed-29afbba9d34b" providerId="ADAL" clId="{3FB5D714-E125-4641-BF90-3447CB5D2DA3}" dt="2025-02-02T10:45:38.211" v="8859" actId="700"/>
          <ac:spMkLst>
            <pc:docMk/>
            <pc:sldMk cId="3390966927" sldId="414"/>
            <ac:spMk id="8" creationId="{B1BE171F-032C-2EC9-673D-24EC76D5F109}"/>
          </ac:spMkLst>
        </pc:spChg>
        <pc:spChg chg="add mod ord">
          <ac:chgData name="Johanna Marx" userId="f7883e6b-b8f5-49bd-97ed-29afbba9d34b" providerId="ADAL" clId="{3FB5D714-E125-4641-BF90-3447CB5D2DA3}" dt="2025-02-02T10:45:38.211" v="8859" actId="700"/>
          <ac:spMkLst>
            <pc:docMk/>
            <pc:sldMk cId="3390966927" sldId="414"/>
            <ac:spMk id="9" creationId="{2F3D7658-F990-12DC-ED9A-8264B14102C7}"/>
          </ac:spMkLst>
        </pc:spChg>
        <pc:spChg chg="add del mod ord">
          <ac:chgData name="Johanna Marx" userId="f7883e6b-b8f5-49bd-97ed-29afbba9d34b" providerId="ADAL" clId="{3FB5D714-E125-4641-BF90-3447CB5D2DA3}" dt="2025-02-02T10:45:42.148" v="8860" actId="700"/>
          <ac:spMkLst>
            <pc:docMk/>
            <pc:sldMk cId="3390966927" sldId="414"/>
            <ac:spMk id="10" creationId="{99CCA959-7927-F753-B499-BBBD71AD32A0}"/>
          </ac:spMkLst>
        </pc:spChg>
        <pc:spChg chg="mod">
          <ac:chgData name="Johanna Marx" userId="f7883e6b-b8f5-49bd-97ed-29afbba9d34b" providerId="ADAL" clId="{3FB5D714-E125-4641-BF90-3447CB5D2DA3}" dt="2025-01-29T16:35:01.785" v="1176" actId="14100"/>
          <ac:spMkLst>
            <pc:docMk/>
            <pc:sldMk cId="3390966927" sldId="414"/>
            <ac:spMk id="11" creationId="{C5107335-C559-E6D1-CF82-CCF7C8E26BC5}"/>
          </ac:spMkLst>
        </pc:spChg>
        <pc:spChg chg="add mod ord">
          <ac:chgData name="Johanna Marx" userId="f7883e6b-b8f5-49bd-97ed-29afbba9d34b" providerId="ADAL" clId="{3FB5D714-E125-4641-BF90-3447CB5D2DA3}" dt="2025-02-02T10:45:38.211" v="8859" actId="700"/>
          <ac:spMkLst>
            <pc:docMk/>
            <pc:sldMk cId="3390966927" sldId="414"/>
            <ac:spMk id="12" creationId="{55E116E6-3548-5CA1-AA0A-88E46430C794}"/>
          </ac:spMkLst>
        </pc:spChg>
        <pc:spChg chg="add del mod ord">
          <ac:chgData name="Johanna Marx" userId="f7883e6b-b8f5-49bd-97ed-29afbba9d34b" providerId="ADAL" clId="{3FB5D714-E125-4641-BF90-3447CB5D2DA3}" dt="2025-02-02T10:45:42.148" v="8860" actId="700"/>
          <ac:spMkLst>
            <pc:docMk/>
            <pc:sldMk cId="3390966927" sldId="414"/>
            <ac:spMk id="14" creationId="{93E912E5-4F79-2B81-30ED-6D9FA2A024E7}"/>
          </ac:spMkLst>
        </pc:spChg>
        <pc:spChg chg="add mod ord">
          <ac:chgData name="Johanna Marx" userId="f7883e6b-b8f5-49bd-97ed-29afbba9d34b" providerId="ADAL" clId="{3FB5D714-E125-4641-BF90-3447CB5D2DA3}" dt="2025-02-02T10:45:38.211" v="8859" actId="700"/>
          <ac:spMkLst>
            <pc:docMk/>
            <pc:sldMk cId="3390966927" sldId="414"/>
            <ac:spMk id="15" creationId="{BA7829F0-139C-3034-4950-2D90FE4AA32F}"/>
          </ac:spMkLst>
        </pc:spChg>
        <pc:spChg chg="add mod ord">
          <ac:chgData name="Johanna Marx" userId="f7883e6b-b8f5-49bd-97ed-29afbba9d34b" providerId="ADAL" clId="{3FB5D714-E125-4641-BF90-3447CB5D2DA3}" dt="2025-02-02T10:45:38.211" v="8859" actId="700"/>
          <ac:spMkLst>
            <pc:docMk/>
            <pc:sldMk cId="3390966927" sldId="414"/>
            <ac:spMk id="16" creationId="{F484E21A-1AAB-74FC-55B2-DF9D8C856BD7}"/>
          </ac:spMkLst>
        </pc:spChg>
        <pc:spChg chg="add del mod ord">
          <ac:chgData name="Johanna Marx" userId="f7883e6b-b8f5-49bd-97ed-29afbba9d34b" providerId="ADAL" clId="{3FB5D714-E125-4641-BF90-3447CB5D2DA3}" dt="2025-02-02T10:45:42.148" v="8860" actId="700"/>
          <ac:spMkLst>
            <pc:docMk/>
            <pc:sldMk cId="3390966927" sldId="414"/>
            <ac:spMk id="17" creationId="{63538925-4781-1059-8FA6-F29D7983A1A4}"/>
          </ac:spMkLst>
        </pc:spChg>
        <pc:spChg chg="del">
          <ac:chgData name="Johanna Marx" userId="f7883e6b-b8f5-49bd-97ed-29afbba9d34b" providerId="ADAL" clId="{3FB5D714-E125-4641-BF90-3447CB5D2DA3}" dt="2025-02-02T10:45:52.557" v="8863" actId="478"/>
          <ac:spMkLst>
            <pc:docMk/>
            <pc:sldMk cId="3390966927" sldId="414"/>
            <ac:spMk id="18" creationId="{DC3A1B94-6C7D-6E57-1848-028FE0B86C19}"/>
          </ac:spMkLst>
        </pc:spChg>
        <pc:spChg chg="add del mod ord">
          <ac:chgData name="Johanna Marx" userId="f7883e6b-b8f5-49bd-97ed-29afbba9d34b" providerId="ADAL" clId="{3FB5D714-E125-4641-BF90-3447CB5D2DA3}" dt="2025-02-02T10:45:46.101" v="8861" actId="478"/>
          <ac:spMkLst>
            <pc:docMk/>
            <pc:sldMk cId="3390966927" sldId="414"/>
            <ac:spMk id="19" creationId="{FF8703F6-F4D3-B8B0-6A9B-2DF0D776103B}"/>
          </ac:spMkLst>
        </pc:spChg>
        <pc:spChg chg="del">
          <ac:chgData name="Johanna Marx" userId="f7883e6b-b8f5-49bd-97ed-29afbba9d34b" providerId="ADAL" clId="{3FB5D714-E125-4641-BF90-3447CB5D2DA3}" dt="2025-02-02T10:45:49.188" v="8862" actId="478"/>
          <ac:spMkLst>
            <pc:docMk/>
            <pc:sldMk cId="3390966927" sldId="414"/>
            <ac:spMk id="20" creationId="{97AB0947-8811-8D5A-858C-B3F95AE65CB2}"/>
          </ac:spMkLst>
        </pc:spChg>
        <pc:spChg chg="del">
          <ac:chgData name="Johanna Marx" userId="f7883e6b-b8f5-49bd-97ed-29afbba9d34b" providerId="ADAL" clId="{3FB5D714-E125-4641-BF90-3447CB5D2DA3}" dt="2025-02-02T10:45:46.101" v="8861" actId="478"/>
          <ac:spMkLst>
            <pc:docMk/>
            <pc:sldMk cId="3390966927" sldId="414"/>
            <ac:spMk id="21" creationId="{8E92EB51-50EC-19B6-28E3-1306A0E05C67}"/>
          </ac:spMkLst>
        </pc:spChg>
        <pc:spChg chg="del">
          <ac:chgData name="Johanna Marx" userId="f7883e6b-b8f5-49bd-97ed-29afbba9d34b" providerId="ADAL" clId="{3FB5D714-E125-4641-BF90-3447CB5D2DA3}" dt="2025-02-02T10:45:49.188" v="8862" actId="478"/>
          <ac:spMkLst>
            <pc:docMk/>
            <pc:sldMk cId="3390966927" sldId="414"/>
            <ac:spMk id="22" creationId="{EEC2079E-1D61-5C82-BFD4-00B47B10F6BD}"/>
          </ac:spMkLst>
        </pc:spChg>
        <pc:spChg chg="add del mod ord">
          <ac:chgData name="Johanna Marx" userId="f7883e6b-b8f5-49bd-97ed-29afbba9d34b" providerId="ADAL" clId="{3FB5D714-E125-4641-BF90-3447CB5D2DA3}" dt="2025-02-02T10:45:46.101" v="8861" actId="478"/>
          <ac:spMkLst>
            <pc:docMk/>
            <pc:sldMk cId="3390966927" sldId="414"/>
            <ac:spMk id="23" creationId="{E1EE47A1-7291-427A-2BA1-6B01F8DA430C}"/>
          </ac:spMkLst>
        </pc:spChg>
        <pc:spChg chg="del">
          <ac:chgData name="Johanna Marx" userId="f7883e6b-b8f5-49bd-97ed-29afbba9d34b" providerId="ADAL" clId="{3FB5D714-E125-4641-BF90-3447CB5D2DA3}" dt="2025-02-02T10:45:46.101" v="8861" actId="478"/>
          <ac:spMkLst>
            <pc:docMk/>
            <pc:sldMk cId="3390966927" sldId="414"/>
            <ac:spMk id="24" creationId="{10A70922-E98F-D43A-ABB0-67E01782A3F1}"/>
          </ac:spMkLst>
        </pc:spChg>
        <pc:spChg chg="add del mod ord">
          <ac:chgData name="Johanna Marx" userId="f7883e6b-b8f5-49bd-97ed-29afbba9d34b" providerId="ADAL" clId="{3FB5D714-E125-4641-BF90-3447CB5D2DA3}" dt="2025-02-02T10:45:46.101" v="8861" actId="478"/>
          <ac:spMkLst>
            <pc:docMk/>
            <pc:sldMk cId="3390966927" sldId="414"/>
            <ac:spMk id="25" creationId="{670AD2AE-7746-FD0C-10D6-DBDF882A9F86}"/>
          </ac:spMkLst>
        </pc:spChg>
        <pc:spChg chg="del">
          <ac:chgData name="Johanna Marx" userId="f7883e6b-b8f5-49bd-97ed-29afbba9d34b" providerId="ADAL" clId="{3FB5D714-E125-4641-BF90-3447CB5D2DA3}" dt="2025-02-02T10:45:46.101" v="8861" actId="478"/>
          <ac:spMkLst>
            <pc:docMk/>
            <pc:sldMk cId="3390966927" sldId="414"/>
            <ac:spMk id="26" creationId="{6DD9C9D8-73FE-895F-FE8D-3900F5DE923F}"/>
          </ac:spMkLst>
        </pc:spChg>
        <pc:spChg chg="del">
          <ac:chgData name="Johanna Marx" userId="f7883e6b-b8f5-49bd-97ed-29afbba9d34b" providerId="ADAL" clId="{3FB5D714-E125-4641-BF90-3447CB5D2DA3}" dt="2025-02-02T10:45:46.101" v="8861" actId="478"/>
          <ac:spMkLst>
            <pc:docMk/>
            <pc:sldMk cId="3390966927" sldId="414"/>
            <ac:spMk id="27" creationId="{AAD5CE3A-B5D8-EDAB-C3C3-A6F9021484B8}"/>
          </ac:spMkLst>
        </pc:spChg>
        <pc:spChg chg="del">
          <ac:chgData name="Johanna Marx" userId="f7883e6b-b8f5-49bd-97ed-29afbba9d34b" providerId="ADAL" clId="{3FB5D714-E125-4641-BF90-3447CB5D2DA3}" dt="2025-02-02T10:45:46.101" v="8861" actId="478"/>
          <ac:spMkLst>
            <pc:docMk/>
            <pc:sldMk cId="3390966927" sldId="414"/>
            <ac:spMk id="28" creationId="{22B95A6A-A2ED-D3B9-DD7C-E4BC80BCA20A}"/>
          </ac:spMkLst>
        </pc:spChg>
        <pc:spChg chg="del">
          <ac:chgData name="Johanna Marx" userId="f7883e6b-b8f5-49bd-97ed-29afbba9d34b" providerId="ADAL" clId="{3FB5D714-E125-4641-BF90-3447CB5D2DA3}" dt="2025-02-02T10:45:46.101" v="8861" actId="478"/>
          <ac:spMkLst>
            <pc:docMk/>
            <pc:sldMk cId="3390966927" sldId="414"/>
            <ac:spMk id="29" creationId="{E530BA85-3A58-3BBA-4B11-BD92BE83947A}"/>
          </ac:spMkLst>
        </pc:spChg>
        <pc:spChg chg="add del mod ord">
          <ac:chgData name="Johanna Marx" userId="f7883e6b-b8f5-49bd-97ed-29afbba9d34b" providerId="ADAL" clId="{3FB5D714-E125-4641-BF90-3447CB5D2DA3}" dt="2025-02-02T10:45:46.101" v="8861" actId="478"/>
          <ac:spMkLst>
            <pc:docMk/>
            <pc:sldMk cId="3390966927" sldId="414"/>
            <ac:spMk id="30" creationId="{2EE1C0FA-19E8-7AC5-73C2-2188BC16CE08}"/>
          </ac:spMkLst>
        </pc:spChg>
      </pc:sldChg>
      <pc:sldChg chg="addSp delSp modSp mod modClrScheme chgLayout">
        <pc:chgData name="Johanna Marx" userId="f7883e6b-b8f5-49bd-97ed-29afbba9d34b" providerId="ADAL" clId="{3FB5D714-E125-4641-BF90-3447CB5D2DA3}" dt="2025-02-02T10:45:30.673" v="8858" actId="478"/>
        <pc:sldMkLst>
          <pc:docMk/>
          <pc:sldMk cId="4042999223" sldId="415"/>
        </pc:sldMkLst>
        <pc:spChg chg="add del mod ord">
          <ac:chgData name="Johanna Marx" userId="f7883e6b-b8f5-49bd-97ed-29afbba9d34b" providerId="ADAL" clId="{3FB5D714-E125-4641-BF90-3447CB5D2DA3}" dt="2025-02-02T10:45:30.673" v="8858" actId="478"/>
          <ac:spMkLst>
            <pc:docMk/>
            <pc:sldMk cId="4042999223" sldId="415"/>
            <ac:spMk id="2" creationId="{AD02D9C6-412C-0637-9C24-D3E2CCB14041}"/>
          </ac:spMkLst>
        </pc:spChg>
        <pc:spChg chg="mod ord">
          <ac:chgData name="Johanna Marx" userId="f7883e6b-b8f5-49bd-97ed-29afbba9d34b" providerId="ADAL" clId="{3FB5D714-E125-4641-BF90-3447CB5D2DA3}" dt="2025-02-02T10:45:28.413" v="8857" actId="700"/>
          <ac:spMkLst>
            <pc:docMk/>
            <pc:sldMk cId="4042999223" sldId="415"/>
            <ac:spMk id="3" creationId="{81C61E71-754B-E79D-FAEF-B7D9E0483FDF}"/>
          </ac:spMkLst>
        </pc:spChg>
        <pc:spChg chg="mod">
          <ac:chgData name="Johanna Marx" userId="f7883e6b-b8f5-49bd-97ed-29afbba9d34b" providerId="ADAL" clId="{3FB5D714-E125-4641-BF90-3447CB5D2DA3}" dt="2025-01-29T16:35:10.794" v="1177" actId="14100"/>
          <ac:spMkLst>
            <pc:docMk/>
            <pc:sldMk cId="4042999223" sldId="415"/>
            <ac:spMk id="11" creationId="{C5107335-C559-E6D1-CF82-CCF7C8E26BC5}"/>
          </ac:spMkLst>
        </pc:spChg>
      </pc:sldChg>
      <pc:sldChg chg="modSp mod">
        <pc:chgData name="Johanna Marx" userId="f7883e6b-b8f5-49bd-97ed-29afbba9d34b" providerId="ADAL" clId="{3FB5D714-E125-4641-BF90-3447CB5D2DA3}" dt="2025-01-31T10:33:08.523" v="2541" actId="207"/>
        <pc:sldMkLst>
          <pc:docMk/>
          <pc:sldMk cId="1748707832" sldId="418"/>
        </pc:sldMkLst>
        <pc:spChg chg="mod">
          <ac:chgData name="Johanna Marx" userId="f7883e6b-b8f5-49bd-97ed-29afbba9d34b" providerId="ADAL" clId="{3FB5D714-E125-4641-BF90-3447CB5D2DA3}" dt="2025-01-31T10:33:08.523" v="2541" actId="207"/>
          <ac:spMkLst>
            <pc:docMk/>
            <pc:sldMk cId="1748707832" sldId="418"/>
            <ac:spMk id="327" creationId="{00000000-0000-0000-0000-000000000000}"/>
          </ac:spMkLst>
        </pc:spChg>
      </pc:sldChg>
      <pc:sldChg chg="addSp delSp modSp mod">
        <pc:chgData name="Johanna Marx" userId="f7883e6b-b8f5-49bd-97ed-29afbba9d34b" providerId="ADAL" clId="{3FB5D714-E125-4641-BF90-3447CB5D2DA3}" dt="2025-02-02T11:32:46.072" v="9416" actId="1036"/>
        <pc:sldMkLst>
          <pc:docMk/>
          <pc:sldMk cId="380781371" sldId="419"/>
        </pc:sldMkLst>
        <pc:spChg chg="mod">
          <ac:chgData name="Johanna Marx" userId="f7883e6b-b8f5-49bd-97ed-29afbba9d34b" providerId="ADAL" clId="{3FB5D714-E125-4641-BF90-3447CB5D2DA3}" dt="2025-02-02T10:33:52.504" v="8726" actId="1076"/>
          <ac:spMkLst>
            <pc:docMk/>
            <pc:sldMk cId="380781371" sldId="419"/>
            <ac:spMk id="2" creationId="{5A8A5A9A-0737-638D-FAF8-54A054A85B51}"/>
          </ac:spMkLst>
        </pc:spChg>
        <pc:spChg chg="mod">
          <ac:chgData name="Johanna Marx" userId="f7883e6b-b8f5-49bd-97ed-29afbba9d34b" providerId="ADAL" clId="{3FB5D714-E125-4641-BF90-3447CB5D2DA3}" dt="2025-01-31T11:16:22.234" v="3969" actId="14100"/>
          <ac:spMkLst>
            <pc:docMk/>
            <pc:sldMk cId="380781371" sldId="419"/>
            <ac:spMk id="3" creationId="{CE08FECA-0BAF-9D0E-C810-D24DA73619EB}"/>
          </ac:spMkLst>
        </pc:spChg>
        <pc:spChg chg="add mod">
          <ac:chgData name="Johanna Marx" userId="f7883e6b-b8f5-49bd-97ed-29afbba9d34b" providerId="ADAL" clId="{3FB5D714-E125-4641-BF90-3447CB5D2DA3}" dt="2025-02-02T11:32:23.617" v="9408" actId="1036"/>
          <ac:spMkLst>
            <pc:docMk/>
            <pc:sldMk cId="380781371" sldId="419"/>
            <ac:spMk id="7" creationId="{A91118FE-A261-8DE7-223C-62E76010DC92}"/>
          </ac:spMkLst>
        </pc:spChg>
        <pc:spChg chg="add mod">
          <ac:chgData name="Johanna Marx" userId="f7883e6b-b8f5-49bd-97ed-29afbba9d34b" providerId="ADAL" clId="{3FB5D714-E125-4641-BF90-3447CB5D2DA3}" dt="2025-02-02T11:32:23.617" v="9408" actId="1036"/>
          <ac:spMkLst>
            <pc:docMk/>
            <pc:sldMk cId="380781371" sldId="419"/>
            <ac:spMk id="10" creationId="{C0B36AA4-1247-BF13-E0C0-9C9E8E9EA4A7}"/>
          </ac:spMkLst>
        </pc:spChg>
        <pc:spChg chg="add mod">
          <ac:chgData name="Johanna Marx" userId="f7883e6b-b8f5-49bd-97ed-29afbba9d34b" providerId="ADAL" clId="{3FB5D714-E125-4641-BF90-3447CB5D2DA3}" dt="2025-02-02T11:32:23.617" v="9408" actId="1036"/>
          <ac:spMkLst>
            <pc:docMk/>
            <pc:sldMk cId="380781371" sldId="419"/>
            <ac:spMk id="16" creationId="{59FE6BE6-CBD9-013E-6F22-2A3BAA2545A5}"/>
          </ac:spMkLst>
        </pc:spChg>
        <pc:spChg chg="add mod">
          <ac:chgData name="Johanna Marx" userId="f7883e6b-b8f5-49bd-97ed-29afbba9d34b" providerId="ADAL" clId="{3FB5D714-E125-4641-BF90-3447CB5D2DA3}" dt="2025-02-02T11:32:23.617" v="9408" actId="1036"/>
          <ac:spMkLst>
            <pc:docMk/>
            <pc:sldMk cId="380781371" sldId="419"/>
            <ac:spMk id="17" creationId="{BDC8A6CB-F00E-F93D-737E-1C1FD241D494}"/>
          </ac:spMkLst>
        </pc:spChg>
        <pc:spChg chg="add mod">
          <ac:chgData name="Johanna Marx" userId="f7883e6b-b8f5-49bd-97ed-29afbba9d34b" providerId="ADAL" clId="{3FB5D714-E125-4641-BF90-3447CB5D2DA3}" dt="2025-02-02T11:32:09.994" v="9398" actId="1076"/>
          <ac:spMkLst>
            <pc:docMk/>
            <pc:sldMk cId="380781371" sldId="419"/>
            <ac:spMk id="33" creationId="{88D91EA2-74A1-2DB0-57A7-3457990195EF}"/>
          </ac:spMkLst>
        </pc:spChg>
        <pc:spChg chg="add del mod">
          <ac:chgData name="Johanna Marx" userId="f7883e6b-b8f5-49bd-97ed-29afbba9d34b" providerId="ADAL" clId="{3FB5D714-E125-4641-BF90-3447CB5D2DA3}" dt="2025-02-02T10:33:59.087" v="8727" actId="478"/>
          <ac:spMkLst>
            <pc:docMk/>
            <pc:sldMk cId="380781371" sldId="419"/>
            <ac:spMk id="34" creationId="{7C7A7413-0363-407D-0AE3-A223F52C4D2F}"/>
          </ac:spMkLst>
        </pc:spChg>
        <pc:picChg chg="add mod">
          <ac:chgData name="Johanna Marx" userId="f7883e6b-b8f5-49bd-97ed-29afbba9d34b" providerId="ADAL" clId="{3FB5D714-E125-4641-BF90-3447CB5D2DA3}" dt="2025-02-02T11:32:23.617" v="9408" actId="1036"/>
          <ac:picMkLst>
            <pc:docMk/>
            <pc:sldMk cId="380781371" sldId="419"/>
            <ac:picMk id="11" creationId="{74BB7865-3B38-E6DA-9D02-1723462AD9FA}"/>
          </ac:picMkLst>
        </pc:picChg>
        <pc:picChg chg="mod">
          <ac:chgData name="Johanna Marx" userId="f7883e6b-b8f5-49bd-97ed-29afbba9d34b" providerId="ADAL" clId="{3FB5D714-E125-4641-BF90-3447CB5D2DA3}" dt="2025-02-02T11:32:46.072" v="9416" actId="1036"/>
          <ac:picMkLst>
            <pc:docMk/>
            <pc:sldMk cId="380781371" sldId="419"/>
            <ac:picMk id="12" creationId="{E58B577C-CAF2-2048-5111-DEEFDA708E31}"/>
          </ac:picMkLst>
        </pc:picChg>
        <pc:picChg chg="mod modCrop">
          <ac:chgData name="Johanna Marx" userId="f7883e6b-b8f5-49bd-97ed-29afbba9d34b" providerId="ADAL" clId="{3FB5D714-E125-4641-BF90-3447CB5D2DA3}" dt="2025-02-02T11:32:46.072" v="9416" actId="1036"/>
          <ac:picMkLst>
            <pc:docMk/>
            <pc:sldMk cId="380781371" sldId="419"/>
            <ac:picMk id="13" creationId="{50D6FC7E-BFA5-8D16-02AC-4BC9BC529B47}"/>
          </ac:picMkLst>
        </pc:picChg>
        <pc:picChg chg="mod">
          <ac:chgData name="Johanna Marx" userId="f7883e6b-b8f5-49bd-97ed-29afbba9d34b" providerId="ADAL" clId="{3FB5D714-E125-4641-BF90-3447CB5D2DA3}" dt="2025-02-02T11:32:23.617" v="9408" actId="1036"/>
          <ac:picMkLst>
            <pc:docMk/>
            <pc:sldMk cId="380781371" sldId="419"/>
            <ac:picMk id="15" creationId="{96986701-2623-81B2-9EE0-88CBD377EF04}"/>
          </ac:picMkLst>
        </pc:picChg>
        <pc:cxnChg chg="mod">
          <ac:chgData name="Johanna Marx" userId="f7883e6b-b8f5-49bd-97ed-29afbba9d34b" providerId="ADAL" clId="{3FB5D714-E125-4641-BF90-3447CB5D2DA3}" dt="2025-02-02T11:32:46.072" v="9416" actId="1036"/>
          <ac:cxnSpMkLst>
            <pc:docMk/>
            <pc:sldMk cId="380781371" sldId="419"/>
            <ac:cxnSpMk id="20" creationId="{71B10211-6E0A-B76D-CAAD-EF889FF33EC3}"/>
          </ac:cxnSpMkLst>
        </pc:cxnChg>
        <pc:cxnChg chg="mod">
          <ac:chgData name="Johanna Marx" userId="f7883e6b-b8f5-49bd-97ed-29afbba9d34b" providerId="ADAL" clId="{3FB5D714-E125-4641-BF90-3447CB5D2DA3}" dt="2025-02-02T11:32:46.072" v="9416" actId="1036"/>
          <ac:cxnSpMkLst>
            <pc:docMk/>
            <pc:sldMk cId="380781371" sldId="419"/>
            <ac:cxnSpMk id="22" creationId="{9D2EFFD8-D8C8-9661-4999-9B5BF07DDD95}"/>
          </ac:cxnSpMkLst>
        </pc:cxnChg>
        <pc:cxnChg chg="mod">
          <ac:chgData name="Johanna Marx" userId="f7883e6b-b8f5-49bd-97ed-29afbba9d34b" providerId="ADAL" clId="{3FB5D714-E125-4641-BF90-3447CB5D2DA3}" dt="2025-02-02T11:32:23.617" v="9408" actId="1036"/>
          <ac:cxnSpMkLst>
            <pc:docMk/>
            <pc:sldMk cId="380781371" sldId="419"/>
            <ac:cxnSpMk id="23" creationId="{29F35381-D905-69F2-AC17-476B748F005A}"/>
          </ac:cxnSpMkLst>
        </pc:cxnChg>
      </pc:sldChg>
      <pc:sldChg chg="addSp delSp modSp mod modClrScheme chgLayout">
        <pc:chgData name="Johanna Marx" userId="f7883e6b-b8f5-49bd-97ed-29afbba9d34b" providerId="ADAL" clId="{3FB5D714-E125-4641-BF90-3447CB5D2DA3}" dt="2025-02-02T11:23:06.895" v="9347" actId="207"/>
        <pc:sldMkLst>
          <pc:docMk/>
          <pc:sldMk cId="1722066996" sldId="420"/>
        </pc:sldMkLst>
        <pc:spChg chg="mod ord">
          <ac:chgData name="Johanna Marx" userId="f7883e6b-b8f5-49bd-97ed-29afbba9d34b" providerId="ADAL" clId="{3FB5D714-E125-4641-BF90-3447CB5D2DA3}" dt="2025-02-02T10:43:12.524" v="8851" actId="700"/>
          <ac:spMkLst>
            <pc:docMk/>
            <pc:sldMk cId="1722066996" sldId="420"/>
            <ac:spMk id="7" creationId="{26900DB9-ED99-E2E2-04B6-E1B0CDCDAA93}"/>
          </ac:spMkLst>
        </pc:spChg>
        <pc:spChg chg="mod ord">
          <ac:chgData name="Johanna Marx" userId="f7883e6b-b8f5-49bd-97ed-29afbba9d34b" providerId="ADAL" clId="{3FB5D714-E125-4641-BF90-3447CB5D2DA3}" dt="2025-02-02T11:22:37.825" v="9341" actId="1076"/>
          <ac:spMkLst>
            <pc:docMk/>
            <pc:sldMk cId="1722066996" sldId="420"/>
            <ac:spMk id="8" creationId="{EAE65E17-24BD-9146-7605-4AD45B45C364}"/>
          </ac:spMkLst>
        </pc:spChg>
        <pc:spChg chg="mod ord">
          <ac:chgData name="Johanna Marx" userId="f7883e6b-b8f5-49bd-97ed-29afbba9d34b" providerId="ADAL" clId="{3FB5D714-E125-4641-BF90-3447CB5D2DA3}" dt="2025-02-02T11:23:00.743" v="9345" actId="14100"/>
          <ac:spMkLst>
            <pc:docMk/>
            <pc:sldMk cId="1722066996" sldId="420"/>
            <ac:spMk id="13" creationId="{37B1975D-5314-EF92-0D9E-E2A606B471A6}"/>
          </ac:spMkLst>
        </pc:spChg>
        <pc:spChg chg="mod">
          <ac:chgData name="Johanna Marx" userId="f7883e6b-b8f5-49bd-97ed-29afbba9d34b" providerId="ADAL" clId="{3FB5D714-E125-4641-BF90-3447CB5D2DA3}" dt="2025-02-02T11:23:04.080" v="9346" actId="1076"/>
          <ac:spMkLst>
            <pc:docMk/>
            <pc:sldMk cId="1722066996" sldId="420"/>
            <ac:spMk id="14" creationId="{70D8283B-838F-7304-E20E-E3F94B3F6925}"/>
          </ac:spMkLst>
        </pc:spChg>
        <pc:spChg chg="mod">
          <ac:chgData name="Johanna Marx" userId="f7883e6b-b8f5-49bd-97ed-29afbba9d34b" providerId="ADAL" clId="{3FB5D714-E125-4641-BF90-3447CB5D2DA3}" dt="2025-02-02T11:23:06.895" v="9347" actId="207"/>
          <ac:spMkLst>
            <pc:docMk/>
            <pc:sldMk cId="1722066996" sldId="420"/>
            <ac:spMk id="15" creationId="{D11F5D38-E76B-2625-D4C9-29A036A7C2F9}"/>
          </ac:spMkLst>
        </pc:spChg>
      </pc:sldChg>
      <pc:sldChg chg="addSp delSp modSp mod">
        <pc:chgData name="Johanna Marx" userId="f7883e6b-b8f5-49bd-97ed-29afbba9d34b" providerId="ADAL" clId="{3FB5D714-E125-4641-BF90-3447CB5D2DA3}" dt="2025-02-02T11:34:17.284" v="9446" actId="1036"/>
        <pc:sldMkLst>
          <pc:docMk/>
          <pc:sldMk cId="4205909830" sldId="421"/>
        </pc:sldMkLst>
        <pc:spChg chg="mod">
          <ac:chgData name="Johanna Marx" userId="f7883e6b-b8f5-49bd-97ed-29afbba9d34b" providerId="ADAL" clId="{3FB5D714-E125-4641-BF90-3447CB5D2DA3}" dt="2025-01-31T11:36:45.888" v="4919" actId="1076"/>
          <ac:spMkLst>
            <pc:docMk/>
            <pc:sldMk cId="4205909830" sldId="421"/>
            <ac:spMk id="11" creationId="{23CC8457-06D3-D223-AEA0-721518433E75}"/>
          </ac:spMkLst>
        </pc:spChg>
        <pc:spChg chg="mod">
          <ac:chgData name="Johanna Marx" userId="f7883e6b-b8f5-49bd-97ed-29afbba9d34b" providerId="ADAL" clId="{3FB5D714-E125-4641-BF90-3447CB5D2DA3}" dt="2025-01-31T11:36:56.090" v="4920" actId="1076"/>
          <ac:spMkLst>
            <pc:docMk/>
            <pc:sldMk cId="4205909830" sldId="421"/>
            <ac:spMk id="13" creationId="{C4327A5A-CA25-443E-3790-CA71A4612C94}"/>
          </ac:spMkLst>
        </pc:spChg>
        <pc:spChg chg="add mod">
          <ac:chgData name="Johanna Marx" userId="f7883e6b-b8f5-49bd-97ed-29afbba9d34b" providerId="ADAL" clId="{3FB5D714-E125-4641-BF90-3447CB5D2DA3}" dt="2025-02-02T11:34:17.284" v="9446" actId="1036"/>
          <ac:spMkLst>
            <pc:docMk/>
            <pc:sldMk cId="4205909830" sldId="421"/>
            <ac:spMk id="15" creationId="{E548A658-8600-B9F5-A29C-F28DBE09F7DA}"/>
          </ac:spMkLst>
        </pc:spChg>
        <pc:spChg chg="add mod">
          <ac:chgData name="Johanna Marx" userId="f7883e6b-b8f5-49bd-97ed-29afbba9d34b" providerId="ADAL" clId="{3FB5D714-E125-4641-BF90-3447CB5D2DA3}" dt="2025-02-02T11:34:17.284" v="9446" actId="1036"/>
          <ac:spMkLst>
            <pc:docMk/>
            <pc:sldMk cId="4205909830" sldId="421"/>
            <ac:spMk id="16" creationId="{86B785D2-1F14-9085-2B09-DE9AD66A0EDC}"/>
          </ac:spMkLst>
        </pc:spChg>
        <pc:spChg chg="add mod">
          <ac:chgData name="Johanna Marx" userId="f7883e6b-b8f5-49bd-97ed-29afbba9d34b" providerId="ADAL" clId="{3FB5D714-E125-4641-BF90-3447CB5D2DA3}" dt="2025-02-02T11:34:17.284" v="9446" actId="1036"/>
          <ac:spMkLst>
            <pc:docMk/>
            <pc:sldMk cId="4205909830" sldId="421"/>
            <ac:spMk id="18" creationId="{C0F7339B-E2DD-461B-54AE-2CCA49BF28A0}"/>
          </ac:spMkLst>
        </pc:spChg>
        <pc:spChg chg="add mod">
          <ac:chgData name="Johanna Marx" userId="f7883e6b-b8f5-49bd-97ed-29afbba9d34b" providerId="ADAL" clId="{3FB5D714-E125-4641-BF90-3447CB5D2DA3}" dt="2025-02-02T11:34:09.783" v="9436" actId="1038"/>
          <ac:spMkLst>
            <pc:docMk/>
            <pc:sldMk cId="4205909830" sldId="421"/>
            <ac:spMk id="20" creationId="{6605FA36-BADC-1217-9C53-C1D3AD0BBA39}"/>
          </ac:spMkLst>
        </pc:spChg>
        <pc:spChg chg="add mod">
          <ac:chgData name="Johanna Marx" userId="f7883e6b-b8f5-49bd-97ed-29afbba9d34b" providerId="ADAL" clId="{3FB5D714-E125-4641-BF90-3447CB5D2DA3}" dt="2025-02-02T11:34:17.284" v="9446" actId="1036"/>
          <ac:spMkLst>
            <pc:docMk/>
            <pc:sldMk cId="4205909830" sldId="421"/>
            <ac:spMk id="21" creationId="{8EF1CBC8-C5B4-938F-2E0A-921052B59EAA}"/>
          </ac:spMkLst>
        </pc:spChg>
        <pc:spChg chg="add mod">
          <ac:chgData name="Johanna Marx" userId="f7883e6b-b8f5-49bd-97ed-29afbba9d34b" providerId="ADAL" clId="{3FB5D714-E125-4641-BF90-3447CB5D2DA3}" dt="2025-01-31T11:36:27.052" v="4916" actId="113"/>
          <ac:spMkLst>
            <pc:docMk/>
            <pc:sldMk cId="4205909830" sldId="421"/>
            <ac:spMk id="23" creationId="{F6FE830C-012D-AD08-29DF-338146506CC3}"/>
          </ac:spMkLst>
        </pc:spChg>
        <pc:picChg chg="mod">
          <ac:chgData name="Johanna Marx" userId="f7883e6b-b8f5-49bd-97ed-29afbba9d34b" providerId="ADAL" clId="{3FB5D714-E125-4641-BF90-3447CB5D2DA3}" dt="2025-01-31T11:36:45.888" v="4919" actId="1076"/>
          <ac:picMkLst>
            <pc:docMk/>
            <pc:sldMk cId="4205909830" sldId="421"/>
            <ac:picMk id="2" creationId="{4B66E856-76B2-DF2D-4095-D9A43D3D9FA0}"/>
          </ac:picMkLst>
        </pc:picChg>
        <pc:picChg chg="mod">
          <ac:chgData name="Johanna Marx" userId="f7883e6b-b8f5-49bd-97ed-29afbba9d34b" providerId="ADAL" clId="{3FB5D714-E125-4641-BF90-3447CB5D2DA3}" dt="2025-01-31T11:36:56.090" v="4920" actId="1076"/>
          <ac:picMkLst>
            <pc:docMk/>
            <pc:sldMk cId="4205909830" sldId="421"/>
            <ac:picMk id="12" creationId="{AB676831-8CBF-27A6-EC02-458C9D8256E8}"/>
          </ac:picMkLst>
        </pc:picChg>
        <pc:picChg chg="add mod">
          <ac:chgData name="Johanna Marx" userId="f7883e6b-b8f5-49bd-97ed-29afbba9d34b" providerId="ADAL" clId="{3FB5D714-E125-4641-BF90-3447CB5D2DA3}" dt="2025-02-02T11:34:17.284" v="9446" actId="1036"/>
          <ac:picMkLst>
            <pc:docMk/>
            <pc:sldMk cId="4205909830" sldId="421"/>
            <ac:picMk id="17" creationId="{F71EBE87-8E8B-1FD1-0A65-F8A9BA03BDB1}"/>
          </ac:picMkLst>
        </pc:picChg>
        <pc:cxnChg chg="mod">
          <ac:chgData name="Johanna Marx" userId="f7883e6b-b8f5-49bd-97ed-29afbba9d34b" providerId="ADAL" clId="{3FB5D714-E125-4641-BF90-3447CB5D2DA3}" dt="2025-01-31T11:36:45.888" v="4919" actId="1076"/>
          <ac:cxnSpMkLst>
            <pc:docMk/>
            <pc:sldMk cId="4205909830" sldId="421"/>
            <ac:cxnSpMk id="7" creationId="{09A89F02-4D33-1036-DEC9-54EF6879E466}"/>
          </ac:cxnSpMkLst>
        </pc:cxnChg>
        <pc:cxnChg chg="mod">
          <ac:chgData name="Johanna Marx" userId="f7883e6b-b8f5-49bd-97ed-29afbba9d34b" providerId="ADAL" clId="{3FB5D714-E125-4641-BF90-3447CB5D2DA3}" dt="2025-01-31T11:36:56.090" v="4920" actId="1076"/>
          <ac:cxnSpMkLst>
            <pc:docMk/>
            <pc:sldMk cId="4205909830" sldId="421"/>
            <ac:cxnSpMk id="14" creationId="{07FE6EDD-0CD9-2626-9727-E2D79F34A0DA}"/>
          </ac:cxnSpMkLst>
        </pc:cxnChg>
      </pc:sldChg>
      <pc:sldChg chg="addSp delSp modSp mod setBg">
        <pc:chgData name="Johanna Marx" userId="f7883e6b-b8f5-49bd-97ed-29afbba9d34b" providerId="ADAL" clId="{3FB5D714-E125-4641-BF90-3447CB5D2DA3}" dt="2025-02-02T13:20:32.414" v="9795" actId="478"/>
        <pc:sldMkLst>
          <pc:docMk/>
          <pc:sldMk cId="2184080923" sldId="422"/>
        </pc:sldMkLst>
        <pc:spChg chg="mod">
          <ac:chgData name="Johanna Marx" userId="f7883e6b-b8f5-49bd-97ed-29afbba9d34b" providerId="ADAL" clId="{3FB5D714-E125-4641-BF90-3447CB5D2DA3}" dt="2025-01-31T12:00:41.477" v="5550" actId="1076"/>
          <ac:spMkLst>
            <pc:docMk/>
            <pc:sldMk cId="2184080923" sldId="422"/>
            <ac:spMk id="2" creationId="{8DF91FA9-194B-187E-AF19-D03625582856}"/>
          </ac:spMkLst>
        </pc:spChg>
        <pc:spChg chg="mod">
          <ac:chgData name="Johanna Marx" userId="f7883e6b-b8f5-49bd-97ed-29afbba9d34b" providerId="ADAL" clId="{3FB5D714-E125-4641-BF90-3447CB5D2DA3}" dt="2025-01-31T12:00:41.477" v="5550" actId="1076"/>
          <ac:spMkLst>
            <pc:docMk/>
            <pc:sldMk cId="2184080923" sldId="422"/>
            <ac:spMk id="7" creationId="{15F9DA44-5138-2324-896A-CE1AC4EECEB5}"/>
          </ac:spMkLst>
        </pc:spChg>
        <pc:spChg chg="mod">
          <ac:chgData name="Johanna Marx" userId="f7883e6b-b8f5-49bd-97ed-29afbba9d34b" providerId="ADAL" clId="{3FB5D714-E125-4641-BF90-3447CB5D2DA3}" dt="2025-02-02T11:38:19.225" v="9490" actId="1036"/>
          <ac:spMkLst>
            <pc:docMk/>
            <pc:sldMk cId="2184080923" sldId="422"/>
            <ac:spMk id="10" creationId="{FFE52F3F-8C8B-1F03-70F2-7FFDAEA10D3D}"/>
          </ac:spMkLst>
        </pc:spChg>
        <pc:spChg chg="mod">
          <ac:chgData name="Johanna Marx" userId="f7883e6b-b8f5-49bd-97ed-29afbba9d34b" providerId="ADAL" clId="{3FB5D714-E125-4641-BF90-3447CB5D2DA3}" dt="2025-02-02T11:38:19.225" v="9490" actId="1036"/>
          <ac:spMkLst>
            <pc:docMk/>
            <pc:sldMk cId="2184080923" sldId="422"/>
            <ac:spMk id="11" creationId="{A4BD3A12-7EA5-D5C3-CB04-EA0BD842AAD0}"/>
          </ac:spMkLst>
        </pc:spChg>
        <pc:spChg chg="mod">
          <ac:chgData name="Johanna Marx" userId="f7883e6b-b8f5-49bd-97ed-29afbba9d34b" providerId="ADAL" clId="{3FB5D714-E125-4641-BF90-3447CB5D2DA3}" dt="2025-02-02T11:38:19.225" v="9490" actId="1036"/>
          <ac:spMkLst>
            <pc:docMk/>
            <pc:sldMk cId="2184080923" sldId="422"/>
            <ac:spMk id="12" creationId="{958A8A82-7D13-394C-AAF6-33CE8FEC1297}"/>
          </ac:spMkLst>
        </pc:spChg>
        <pc:spChg chg="mod">
          <ac:chgData name="Johanna Marx" userId="f7883e6b-b8f5-49bd-97ed-29afbba9d34b" providerId="ADAL" clId="{3FB5D714-E125-4641-BF90-3447CB5D2DA3}" dt="2025-02-02T11:38:19.225" v="9490" actId="1036"/>
          <ac:spMkLst>
            <pc:docMk/>
            <pc:sldMk cId="2184080923" sldId="422"/>
            <ac:spMk id="13" creationId="{D9A213EC-57EB-9A97-7374-0FA658EC8A87}"/>
          </ac:spMkLst>
        </pc:spChg>
        <pc:spChg chg="mod">
          <ac:chgData name="Johanna Marx" userId="f7883e6b-b8f5-49bd-97ed-29afbba9d34b" providerId="ADAL" clId="{3FB5D714-E125-4641-BF90-3447CB5D2DA3}" dt="2025-02-02T11:38:19.225" v="9490" actId="1036"/>
          <ac:spMkLst>
            <pc:docMk/>
            <pc:sldMk cId="2184080923" sldId="422"/>
            <ac:spMk id="14" creationId="{1A9595D0-0EDE-AE8C-CDD6-7183393EC758}"/>
          </ac:spMkLst>
        </pc:spChg>
        <pc:spChg chg="mod">
          <ac:chgData name="Johanna Marx" userId="f7883e6b-b8f5-49bd-97ed-29afbba9d34b" providerId="ADAL" clId="{3FB5D714-E125-4641-BF90-3447CB5D2DA3}" dt="2025-01-31T12:00:51.883" v="5551" actId="1076"/>
          <ac:spMkLst>
            <pc:docMk/>
            <pc:sldMk cId="2184080923" sldId="422"/>
            <ac:spMk id="15" creationId="{17C3873C-EC78-2740-5E01-6896B5F07254}"/>
          </ac:spMkLst>
        </pc:spChg>
        <pc:spChg chg="mod">
          <ac:chgData name="Johanna Marx" userId="f7883e6b-b8f5-49bd-97ed-29afbba9d34b" providerId="ADAL" clId="{3FB5D714-E125-4641-BF90-3447CB5D2DA3}" dt="2025-02-02T11:38:19.225" v="9490" actId="1036"/>
          <ac:spMkLst>
            <pc:docMk/>
            <pc:sldMk cId="2184080923" sldId="422"/>
            <ac:spMk id="16" creationId="{9B7E8834-E0F0-0B8C-14E8-4024EECA1F8C}"/>
          </ac:spMkLst>
        </pc:spChg>
        <pc:spChg chg="mod">
          <ac:chgData name="Johanna Marx" userId="f7883e6b-b8f5-49bd-97ed-29afbba9d34b" providerId="ADAL" clId="{3FB5D714-E125-4641-BF90-3447CB5D2DA3}" dt="2025-01-31T12:01:15.972" v="5553" actId="1076"/>
          <ac:spMkLst>
            <pc:docMk/>
            <pc:sldMk cId="2184080923" sldId="422"/>
            <ac:spMk id="17" creationId="{C046C142-CEC9-230D-300A-01E539620B8E}"/>
          </ac:spMkLst>
        </pc:spChg>
        <pc:spChg chg="add del mod">
          <ac:chgData name="Johanna Marx" userId="f7883e6b-b8f5-49bd-97ed-29afbba9d34b" providerId="ADAL" clId="{3FB5D714-E125-4641-BF90-3447CB5D2DA3}" dt="2025-02-02T10:26:19.133" v="8627" actId="478"/>
          <ac:spMkLst>
            <pc:docMk/>
            <pc:sldMk cId="2184080923" sldId="422"/>
            <ac:spMk id="29" creationId="{6D540D71-11CD-136C-BB55-25626414A2D6}"/>
          </ac:spMkLst>
        </pc:spChg>
        <pc:spChg chg="add del mod">
          <ac:chgData name="Johanna Marx" userId="f7883e6b-b8f5-49bd-97ed-29afbba9d34b" providerId="ADAL" clId="{3FB5D714-E125-4641-BF90-3447CB5D2DA3}" dt="2025-02-02T10:26:19.133" v="8627" actId="478"/>
          <ac:spMkLst>
            <pc:docMk/>
            <pc:sldMk cId="2184080923" sldId="422"/>
            <ac:spMk id="30" creationId="{1982144E-DB38-7EA7-A5AF-57057E6F57DF}"/>
          </ac:spMkLst>
        </pc:spChg>
        <pc:spChg chg="add mod">
          <ac:chgData name="Johanna Marx" userId="f7883e6b-b8f5-49bd-97ed-29afbba9d34b" providerId="ADAL" clId="{3FB5D714-E125-4641-BF90-3447CB5D2DA3}" dt="2025-02-02T11:38:19.225" v="9490" actId="1036"/>
          <ac:spMkLst>
            <pc:docMk/>
            <pc:sldMk cId="2184080923" sldId="422"/>
            <ac:spMk id="32" creationId="{F7F143E8-3797-6FF8-F3C2-F4FEA1A998DB}"/>
          </ac:spMkLst>
        </pc:spChg>
        <pc:spChg chg="add mod">
          <ac:chgData name="Johanna Marx" userId="f7883e6b-b8f5-49bd-97ed-29afbba9d34b" providerId="ADAL" clId="{3FB5D714-E125-4641-BF90-3447CB5D2DA3}" dt="2025-02-02T11:38:35.051" v="9491" actId="108"/>
          <ac:spMkLst>
            <pc:docMk/>
            <pc:sldMk cId="2184080923" sldId="422"/>
            <ac:spMk id="33" creationId="{2C19F560-4FB5-A806-49F2-6F8812117B62}"/>
          </ac:spMkLst>
        </pc:spChg>
        <pc:spChg chg="add mod">
          <ac:chgData name="Johanna Marx" userId="f7883e6b-b8f5-49bd-97ed-29afbba9d34b" providerId="ADAL" clId="{3FB5D714-E125-4641-BF90-3447CB5D2DA3}" dt="2025-02-02T11:38:12.725" v="9481" actId="1036"/>
          <ac:spMkLst>
            <pc:docMk/>
            <pc:sldMk cId="2184080923" sldId="422"/>
            <ac:spMk id="34" creationId="{2613E4B2-C69C-39C1-482C-3B37FADC65C2}"/>
          </ac:spMkLst>
        </pc:spChg>
        <pc:spChg chg="add mod">
          <ac:chgData name="Johanna Marx" userId="f7883e6b-b8f5-49bd-97ed-29afbba9d34b" providerId="ADAL" clId="{3FB5D714-E125-4641-BF90-3447CB5D2DA3}" dt="2025-02-02T11:38:19.225" v="9490" actId="1036"/>
          <ac:spMkLst>
            <pc:docMk/>
            <pc:sldMk cId="2184080923" sldId="422"/>
            <ac:spMk id="35" creationId="{C0CC801E-6AE3-A2CA-23D8-3C01A87457ED}"/>
          </ac:spMkLst>
        </pc:spChg>
        <pc:spChg chg="add mod">
          <ac:chgData name="Johanna Marx" userId="f7883e6b-b8f5-49bd-97ed-29afbba9d34b" providerId="ADAL" clId="{3FB5D714-E125-4641-BF90-3447CB5D2DA3}" dt="2025-02-02T11:38:41.435" v="9492" actId="108"/>
          <ac:spMkLst>
            <pc:docMk/>
            <pc:sldMk cId="2184080923" sldId="422"/>
            <ac:spMk id="36" creationId="{237786D9-9468-8729-45B6-0C39F15C7DE0}"/>
          </ac:spMkLst>
        </pc:spChg>
        <pc:spChg chg="add del mod">
          <ac:chgData name="Johanna Marx" userId="f7883e6b-b8f5-49bd-97ed-29afbba9d34b" providerId="ADAL" clId="{3FB5D714-E125-4641-BF90-3447CB5D2DA3}" dt="2025-02-02T13:20:32.414" v="9795" actId="478"/>
          <ac:spMkLst>
            <pc:docMk/>
            <pc:sldMk cId="2184080923" sldId="422"/>
            <ac:spMk id="40" creationId="{EE128098-A389-2D1E-19EA-67D8BBB9CCA6}"/>
          </ac:spMkLst>
        </pc:spChg>
        <pc:picChg chg="add del mod">
          <ac:chgData name="Johanna Marx" userId="f7883e6b-b8f5-49bd-97ed-29afbba9d34b" providerId="ADAL" clId="{3FB5D714-E125-4641-BF90-3447CB5D2DA3}" dt="2025-02-02T10:26:19.133" v="8627" actId="478"/>
          <ac:picMkLst>
            <pc:docMk/>
            <pc:sldMk cId="2184080923" sldId="422"/>
            <ac:picMk id="31" creationId="{BE032497-FCF0-C4A0-4D4D-E39B6A95CE71}"/>
          </ac:picMkLst>
        </pc:picChg>
        <pc:inkChg chg="mod">
          <ac:chgData name="Johanna Marx" userId="f7883e6b-b8f5-49bd-97ed-29afbba9d34b" providerId="ADAL" clId="{3FB5D714-E125-4641-BF90-3447CB5D2DA3}" dt="2025-01-31T12:01:24.881" v="5554" actId="1076"/>
          <ac:inkMkLst>
            <pc:docMk/>
            <pc:sldMk cId="2184080923" sldId="422"/>
            <ac:inkMk id="21" creationId="{D87F246B-D4A5-BC47-30B1-D15397521698}"/>
          </ac:inkMkLst>
        </pc:inkChg>
        <pc:inkChg chg="mod">
          <ac:chgData name="Johanna Marx" userId="f7883e6b-b8f5-49bd-97ed-29afbba9d34b" providerId="ADAL" clId="{3FB5D714-E125-4641-BF90-3447CB5D2DA3}" dt="2025-01-31T12:01:24.881" v="5554" actId="1076"/>
          <ac:inkMkLst>
            <pc:docMk/>
            <pc:sldMk cId="2184080923" sldId="422"/>
            <ac:inkMk id="22" creationId="{2F3BC88F-11D6-D396-4509-0F950C67F54C}"/>
          </ac:inkMkLst>
        </pc:inkChg>
        <pc:inkChg chg="mod">
          <ac:chgData name="Johanna Marx" userId="f7883e6b-b8f5-49bd-97ed-29afbba9d34b" providerId="ADAL" clId="{3FB5D714-E125-4641-BF90-3447CB5D2DA3}" dt="2025-01-31T12:01:15.972" v="5553" actId="1076"/>
          <ac:inkMkLst>
            <pc:docMk/>
            <pc:sldMk cId="2184080923" sldId="422"/>
            <ac:inkMk id="23" creationId="{E94C07AD-6FE0-7474-CD29-A8F0CB177DE1}"/>
          </ac:inkMkLst>
        </pc:inkChg>
        <pc:inkChg chg="mod">
          <ac:chgData name="Johanna Marx" userId="f7883e6b-b8f5-49bd-97ed-29afbba9d34b" providerId="ADAL" clId="{3FB5D714-E125-4641-BF90-3447CB5D2DA3}" dt="2025-01-31T12:01:15.972" v="5553" actId="1076"/>
          <ac:inkMkLst>
            <pc:docMk/>
            <pc:sldMk cId="2184080923" sldId="422"/>
            <ac:inkMk id="24" creationId="{6E4B759B-1007-A20E-0504-29E0A61BC948}"/>
          </ac:inkMkLst>
        </pc:inkChg>
        <pc:inkChg chg="mod">
          <ac:chgData name="Johanna Marx" userId="f7883e6b-b8f5-49bd-97ed-29afbba9d34b" providerId="ADAL" clId="{3FB5D714-E125-4641-BF90-3447CB5D2DA3}" dt="2025-01-31T12:01:05.743" v="5552" actId="1076"/>
          <ac:inkMkLst>
            <pc:docMk/>
            <pc:sldMk cId="2184080923" sldId="422"/>
            <ac:inkMk id="25" creationId="{639CDF51-93E7-22AD-9F85-EEEC3DF2179E}"/>
          </ac:inkMkLst>
        </pc:inkChg>
        <pc:inkChg chg="mod">
          <ac:chgData name="Johanna Marx" userId="f7883e6b-b8f5-49bd-97ed-29afbba9d34b" providerId="ADAL" clId="{3FB5D714-E125-4641-BF90-3447CB5D2DA3}" dt="2025-01-31T12:01:05.743" v="5552" actId="1076"/>
          <ac:inkMkLst>
            <pc:docMk/>
            <pc:sldMk cId="2184080923" sldId="422"/>
            <ac:inkMk id="26" creationId="{BA485899-61F8-B3B9-7B5D-54E5E1FD770A}"/>
          </ac:inkMkLst>
        </pc:inkChg>
        <pc:inkChg chg="mod">
          <ac:chgData name="Johanna Marx" userId="f7883e6b-b8f5-49bd-97ed-29afbba9d34b" providerId="ADAL" clId="{3FB5D714-E125-4641-BF90-3447CB5D2DA3}" dt="2025-01-31T12:00:51.883" v="5551" actId="1076"/>
          <ac:inkMkLst>
            <pc:docMk/>
            <pc:sldMk cId="2184080923" sldId="422"/>
            <ac:inkMk id="27" creationId="{04631351-EC26-6174-9468-C44407B4E9E9}"/>
          </ac:inkMkLst>
        </pc:inkChg>
        <pc:inkChg chg="mod">
          <ac:chgData name="Johanna Marx" userId="f7883e6b-b8f5-49bd-97ed-29afbba9d34b" providerId="ADAL" clId="{3FB5D714-E125-4641-BF90-3447CB5D2DA3}" dt="2025-01-31T12:00:51.883" v="5551" actId="1076"/>
          <ac:inkMkLst>
            <pc:docMk/>
            <pc:sldMk cId="2184080923" sldId="422"/>
            <ac:inkMk id="28" creationId="{AF723341-60E9-4AF0-1863-C6FA44A81E3B}"/>
          </ac:inkMkLst>
        </pc:inkChg>
      </pc:sldChg>
      <pc:sldChg chg="addSp delSp modSp mod">
        <pc:chgData name="Johanna Marx" userId="f7883e6b-b8f5-49bd-97ed-29afbba9d34b" providerId="ADAL" clId="{3FB5D714-E125-4641-BF90-3447CB5D2DA3}" dt="2025-02-02T11:55:07.165" v="9618" actId="1038"/>
        <pc:sldMkLst>
          <pc:docMk/>
          <pc:sldMk cId="2492418948" sldId="431"/>
        </pc:sldMkLst>
        <pc:spChg chg="mod">
          <ac:chgData name="Johanna Marx" userId="f7883e6b-b8f5-49bd-97ed-29afbba9d34b" providerId="ADAL" clId="{3FB5D714-E125-4641-BF90-3447CB5D2DA3}" dt="2025-02-02T11:54:44.792" v="9609" actId="14100"/>
          <ac:spMkLst>
            <pc:docMk/>
            <pc:sldMk cId="2492418948" sldId="431"/>
            <ac:spMk id="8" creationId="{CE749D75-BB64-EA3F-4A37-8B6B98B5B366}"/>
          </ac:spMkLst>
        </pc:spChg>
        <pc:spChg chg="mod">
          <ac:chgData name="Johanna Marx" userId="f7883e6b-b8f5-49bd-97ed-29afbba9d34b" providerId="ADAL" clId="{3FB5D714-E125-4641-BF90-3447CB5D2DA3}" dt="2025-01-31T13:48:37.979" v="7198" actId="14100"/>
          <ac:spMkLst>
            <pc:docMk/>
            <pc:sldMk cId="2492418948" sldId="431"/>
            <ac:spMk id="9" creationId="{BC21C8CF-539D-E464-29F1-01ECBED7D0F4}"/>
          </ac:spMkLst>
        </pc:spChg>
        <pc:spChg chg="add mod">
          <ac:chgData name="Johanna Marx" userId="f7883e6b-b8f5-49bd-97ed-29afbba9d34b" providerId="ADAL" clId="{3FB5D714-E125-4641-BF90-3447CB5D2DA3}" dt="2025-02-02T11:54:49.365" v="9610" actId="14100"/>
          <ac:spMkLst>
            <pc:docMk/>
            <pc:sldMk cId="2492418948" sldId="431"/>
            <ac:spMk id="11" creationId="{0C60DA22-5098-2FC7-44AA-497ECF417164}"/>
          </ac:spMkLst>
        </pc:spChg>
        <pc:spChg chg="add mod">
          <ac:chgData name="Johanna Marx" userId="f7883e6b-b8f5-49bd-97ed-29afbba9d34b" providerId="ADAL" clId="{3FB5D714-E125-4641-BF90-3447CB5D2DA3}" dt="2025-02-02T11:54:44.792" v="9609" actId="14100"/>
          <ac:spMkLst>
            <pc:docMk/>
            <pc:sldMk cId="2492418948" sldId="431"/>
            <ac:spMk id="12" creationId="{BBA254BF-C801-08F3-B13A-86C26D158A6B}"/>
          </ac:spMkLst>
        </pc:spChg>
        <pc:spChg chg="mod">
          <ac:chgData name="Johanna Marx" userId="f7883e6b-b8f5-49bd-97ed-29afbba9d34b" providerId="ADAL" clId="{3FB5D714-E125-4641-BF90-3447CB5D2DA3}" dt="2025-02-02T11:54:52.785" v="9611" actId="14100"/>
          <ac:spMkLst>
            <pc:docMk/>
            <pc:sldMk cId="2492418948" sldId="431"/>
            <ac:spMk id="18" creationId="{A6C3DFE2-1650-D046-8C5B-F8C5382E8E92}"/>
          </ac:spMkLst>
        </pc:spChg>
        <pc:spChg chg="add mod">
          <ac:chgData name="Johanna Marx" userId="f7883e6b-b8f5-49bd-97ed-29afbba9d34b" providerId="ADAL" clId="{3FB5D714-E125-4641-BF90-3447CB5D2DA3}" dt="2025-01-31T13:49:36.560" v="7221" actId="14100"/>
          <ac:spMkLst>
            <pc:docMk/>
            <pc:sldMk cId="2492418948" sldId="431"/>
            <ac:spMk id="19" creationId="{CE9B38BC-44B5-91F3-A456-074207677E6C}"/>
          </ac:spMkLst>
        </pc:spChg>
        <pc:spChg chg="add mod">
          <ac:chgData name="Johanna Marx" userId="f7883e6b-b8f5-49bd-97ed-29afbba9d34b" providerId="ADAL" clId="{3FB5D714-E125-4641-BF90-3447CB5D2DA3}" dt="2025-02-02T11:55:07.165" v="9618" actId="1038"/>
          <ac:spMkLst>
            <pc:docMk/>
            <pc:sldMk cId="2492418948" sldId="431"/>
            <ac:spMk id="24" creationId="{91616D87-8FFD-7DDB-8DD2-32FB1FB09021}"/>
          </ac:spMkLst>
        </pc:spChg>
        <pc:spChg chg="add mod">
          <ac:chgData name="Johanna Marx" userId="f7883e6b-b8f5-49bd-97ed-29afbba9d34b" providerId="ADAL" clId="{3FB5D714-E125-4641-BF90-3447CB5D2DA3}" dt="2025-02-02T11:55:07.165" v="9618" actId="1038"/>
          <ac:spMkLst>
            <pc:docMk/>
            <pc:sldMk cId="2492418948" sldId="431"/>
            <ac:spMk id="25" creationId="{DD555C94-A431-9591-0427-8E7A7F2377E2}"/>
          </ac:spMkLst>
        </pc:spChg>
        <pc:spChg chg="add mod">
          <ac:chgData name="Johanna Marx" userId="f7883e6b-b8f5-49bd-97ed-29afbba9d34b" providerId="ADAL" clId="{3FB5D714-E125-4641-BF90-3447CB5D2DA3}" dt="2025-02-02T11:55:07.165" v="9618" actId="1038"/>
          <ac:spMkLst>
            <pc:docMk/>
            <pc:sldMk cId="2492418948" sldId="431"/>
            <ac:spMk id="27" creationId="{8736F5B0-E2AE-E591-8080-23A1600C98C0}"/>
          </ac:spMkLst>
        </pc:spChg>
        <pc:spChg chg="add mod">
          <ac:chgData name="Johanna Marx" userId="f7883e6b-b8f5-49bd-97ed-29afbba9d34b" providerId="ADAL" clId="{3FB5D714-E125-4641-BF90-3447CB5D2DA3}" dt="2025-02-02T11:55:07.165" v="9618" actId="1038"/>
          <ac:spMkLst>
            <pc:docMk/>
            <pc:sldMk cId="2492418948" sldId="431"/>
            <ac:spMk id="28" creationId="{9AB17986-7B9F-EFF3-6FEE-E5E8F42EC295}"/>
          </ac:spMkLst>
        </pc:spChg>
        <pc:spChg chg="add mod">
          <ac:chgData name="Johanna Marx" userId="f7883e6b-b8f5-49bd-97ed-29afbba9d34b" providerId="ADAL" clId="{3FB5D714-E125-4641-BF90-3447CB5D2DA3}" dt="2025-02-02T11:55:07.165" v="9618" actId="1038"/>
          <ac:spMkLst>
            <pc:docMk/>
            <pc:sldMk cId="2492418948" sldId="431"/>
            <ac:spMk id="30" creationId="{A8420004-1790-CD47-B95D-EB7AF963E833}"/>
          </ac:spMkLst>
        </pc:spChg>
        <pc:picChg chg="add mod">
          <ac:chgData name="Johanna Marx" userId="f7883e6b-b8f5-49bd-97ed-29afbba9d34b" providerId="ADAL" clId="{3FB5D714-E125-4641-BF90-3447CB5D2DA3}" dt="2025-02-02T11:55:07.165" v="9618" actId="1038"/>
          <ac:picMkLst>
            <pc:docMk/>
            <pc:sldMk cId="2492418948" sldId="431"/>
            <ac:picMk id="26" creationId="{AE9E4F6F-B7D5-6250-3BDE-6729D5F35440}"/>
          </ac:picMkLst>
        </pc:picChg>
      </pc:sldChg>
      <pc:sldChg chg="addSp delSp modSp mod">
        <pc:chgData name="Johanna Marx" userId="f7883e6b-b8f5-49bd-97ed-29afbba9d34b" providerId="ADAL" clId="{3FB5D714-E125-4641-BF90-3447CB5D2DA3}" dt="2025-02-02T12:03:26.531" v="9659" actId="20577"/>
        <pc:sldMkLst>
          <pc:docMk/>
          <pc:sldMk cId="1100900693" sldId="432"/>
        </pc:sldMkLst>
        <pc:spChg chg="add mod">
          <ac:chgData name="Johanna Marx" userId="f7883e6b-b8f5-49bd-97ed-29afbba9d34b" providerId="ADAL" clId="{3FB5D714-E125-4641-BF90-3447CB5D2DA3}" dt="2025-02-02T12:03:26.531" v="9659" actId="20577"/>
          <ac:spMkLst>
            <pc:docMk/>
            <pc:sldMk cId="1100900693" sldId="432"/>
            <ac:spMk id="11" creationId="{50AC8B4B-9417-984C-8FA3-84C7E9C6BE89}"/>
          </ac:spMkLst>
        </pc:spChg>
        <pc:spChg chg="add mod">
          <ac:chgData name="Johanna Marx" userId="f7883e6b-b8f5-49bd-97ed-29afbba9d34b" providerId="ADAL" clId="{3FB5D714-E125-4641-BF90-3447CB5D2DA3}" dt="2025-02-02T11:55:46.692" v="9637" actId="1036"/>
          <ac:spMkLst>
            <pc:docMk/>
            <pc:sldMk cId="1100900693" sldId="432"/>
            <ac:spMk id="16" creationId="{897B6AE6-6A2C-6646-7A46-386F5CCFEE0D}"/>
          </ac:spMkLst>
        </pc:spChg>
        <pc:spChg chg="add mod">
          <ac:chgData name="Johanna Marx" userId="f7883e6b-b8f5-49bd-97ed-29afbba9d34b" providerId="ADAL" clId="{3FB5D714-E125-4641-BF90-3447CB5D2DA3}" dt="2025-02-02T11:55:46.692" v="9637" actId="1036"/>
          <ac:spMkLst>
            <pc:docMk/>
            <pc:sldMk cId="1100900693" sldId="432"/>
            <ac:spMk id="17" creationId="{2B00FC76-BDF5-9F1B-7D1E-72AC6E319F88}"/>
          </ac:spMkLst>
        </pc:spChg>
        <pc:spChg chg="add mod">
          <ac:chgData name="Johanna Marx" userId="f7883e6b-b8f5-49bd-97ed-29afbba9d34b" providerId="ADAL" clId="{3FB5D714-E125-4641-BF90-3447CB5D2DA3}" dt="2025-02-02T11:55:46.692" v="9637" actId="1036"/>
          <ac:spMkLst>
            <pc:docMk/>
            <pc:sldMk cId="1100900693" sldId="432"/>
            <ac:spMk id="19" creationId="{2CE08C33-F166-9046-CDB2-B39F928AA948}"/>
          </ac:spMkLst>
        </pc:spChg>
        <pc:spChg chg="add mod">
          <ac:chgData name="Johanna Marx" userId="f7883e6b-b8f5-49bd-97ed-29afbba9d34b" providerId="ADAL" clId="{3FB5D714-E125-4641-BF90-3447CB5D2DA3}" dt="2025-02-02T11:55:46.692" v="9637" actId="1036"/>
          <ac:spMkLst>
            <pc:docMk/>
            <pc:sldMk cId="1100900693" sldId="432"/>
            <ac:spMk id="20" creationId="{DB5B4144-2985-5EA3-AD6E-710885391E58}"/>
          </ac:spMkLst>
        </pc:spChg>
        <pc:spChg chg="add mod">
          <ac:chgData name="Johanna Marx" userId="f7883e6b-b8f5-49bd-97ed-29afbba9d34b" providerId="ADAL" clId="{3FB5D714-E125-4641-BF90-3447CB5D2DA3}" dt="2025-02-02T11:55:46.692" v="9637" actId="1036"/>
          <ac:spMkLst>
            <pc:docMk/>
            <pc:sldMk cId="1100900693" sldId="432"/>
            <ac:spMk id="21" creationId="{C232631C-3BC5-C37D-FDD0-6DF440BC32DA}"/>
          </ac:spMkLst>
        </pc:spChg>
        <pc:spChg chg="mod">
          <ac:chgData name="Johanna Marx" userId="f7883e6b-b8f5-49bd-97ed-29afbba9d34b" providerId="ADAL" clId="{3FB5D714-E125-4641-BF90-3447CB5D2DA3}" dt="2025-01-31T13:52:35.398" v="7435"/>
          <ac:spMkLst>
            <pc:docMk/>
            <pc:sldMk cId="1100900693" sldId="432"/>
            <ac:spMk id="23" creationId="{CAE6546F-F38E-23C2-A5DC-FC48E4427B63}"/>
          </ac:spMkLst>
        </pc:spChg>
        <pc:spChg chg="add mod">
          <ac:chgData name="Johanna Marx" userId="f7883e6b-b8f5-49bd-97ed-29afbba9d34b" providerId="ADAL" clId="{3FB5D714-E125-4641-BF90-3447CB5D2DA3}" dt="2025-02-02T11:55:46.692" v="9637" actId="1036"/>
          <ac:spMkLst>
            <pc:docMk/>
            <pc:sldMk cId="1100900693" sldId="432"/>
            <ac:spMk id="25" creationId="{817BB6A0-0639-AAA9-B660-032968B2E89E}"/>
          </ac:spMkLst>
        </pc:spChg>
        <pc:grpChg chg="add mod">
          <ac:chgData name="Johanna Marx" userId="f7883e6b-b8f5-49bd-97ed-29afbba9d34b" providerId="ADAL" clId="{3FB5D714-E125-4641-BF90-3447CB5D2DA3}" dt="2025-02-02T11:55:46.692" v="9637" actId="1036"/>
          <ac:grpSpMkLst>
            <pc:docMk/>
            <pc:sldMk cId="1100900693" sldId="432"/>
            <ac:grpSpMk id="22" creationId="{3C033682-B386-5EA3-2970-A4DA4807A211}"/>
          </ac:grpSpMkLst>
        </pc:grpChg>
        <pc:picChg chg="add mod">
          <ac:chgData name="Johanna Marx" userId="f7883e6b-b8f5-49bd-97ed-29afbba9d34b" providerId="ADAL" clId="{3FB5D714-E125-4641-BF90-3447CB5D2DA3}" dt="2025-02-02T11:55:46.692" v="9637" actId="1036"/>
          <ac:picMkLst>
            <pc:docMk/>
            <pc:sldMk cId="1100900693" sldId="432"/>
            <ac:picMk id="18" creationId="{D92A1D2F-99DB-66EE-B1F3-34608DACEB27}"/>
          </ac:picMkLst>
        </pc:picChg>
        <pc:picChg chg="mod">
          <ac:chgData name="Johanna Marx" userId="f7883e6b-b8f5-49bd-97ed-29afbba9d34b" providerId="ADAL" clId="{3FB5D714-E125-4641-BF90-3447CB5D2DA3}" dt="2025-01-31T13:52:35.398" v="7435"/>
          <ac:picMkLst>
            <pc:docMk/>
            <pc:sldMk cId="1100900693" sldId="432"/>
            <ac:picMk id="24" creationId="{DDD82124-4DE3-5F30-C549-4823689A3676}"/>
          </ac:picMkLst>
        </pc:picChg>
      </pc:sldChg>
      <pc:sldChg chg="addSp delSp modSp mod">
        <pc:chgData name="Johanna Marx" userId="f7883e6b-b8f5-49bd-97ed-29afbba9d34b" providerId="ADAL" clId="{3FB5D714-E125-4641-BF90-3447CB5D2DA3}" dt="2025-02-02T11:59:28.772" v="9644" actId="1038"/>
        <pc:sldMkLst>
          <pc:docMk/>
          <pc:sldMk cId="3629467396" sldId="433"/>
        </pc:sldMkLst>
        <pc:spChg chg="add mod">
          <ac:chgData name="Johanna Marx" userId="f7883e6b-b8f5-49bd-97ed-29afbba9d34b" providerId="ADAL" clId="{3FB5D714-E125-4641-BF90-3447CB5D2DA3}" dt="2025-01-31T13:59:53.855" v="7809" actId="20577"/>
          <ac:spMkLst>
            <pc:docMk/>
            <pc:sldMk cId="3629467396" sldId="433"/>
            <ac:spMk id="6" creationId="{10457F42-C2AC-145D-6203-E3C97996E23C}"/>
          </ac:spMkLst>
        </pc:spChg>
        <pc:spChg chg="add mod">
          <ac:chgData name="Johanna Marx" userId="f7883e6b-b8f5-49bd-97ed-29afbba9d34b" providerId="ADAL" clId="{3FB5D714-E125-4641-BF90-3447CB5D2DA3}" dt="2025-01-31T14:00:07.495" v="7812"/>
          <ac:spMkLst>
            <pc:docMk/>
            <pc:sldMk cId="3629467396" sldId="433"/>
            <ac:spMk id="7" creationId="{205E71E6-75C7-224B-C21D-208410A0629E}"/>
          </ac:spMkLst>
        </pc:spChg>
        <pc:spChg chg="add mod">
          <ac:chgData name="Johanna Marx" userId="f7883e6b-b8f5-49bd-97ed-29afbba9d34b" providerId="ADAL" clId="{3FB5D714-E125-4641-BF90-3447CB5D2DA3}" dt="2025-01-31T14:00:31.800" v="7814" actId="14100"/>
          <ac:spMkLst>
            <pc:docMk/>
            <pc:sldMk cId="3629467396" sldId="433"/>
            <ac:spMk id="8" creationId="{BBA79177-893F-10EA-0375-4CD1014AC4CE}"/>
          </ac:spMkLst>
        </pc:spChg>
        <pc:spChg chg="add mod">
          <ac:chgData name="Johanna Marx" userId="f7883e6b-b8f5-49bd-97ed-29afbba9d34b" providerId="ADAL" clId="{3FB5D714-E125-4641-BF90-3447CB5D2DA3}" dt="2025-01-31T14:03:09.328" v="7902" actId="1035"/>
          <ac:spMkLst>
            <pc:docMk/>
            <pc:sldMk cId="3629467396" sldId="433"/>
            <ac:spMk id="10" creationId="{FF9C9A49-A1C5-F765-EC09-918FB526E4EC}"/>
          </ac:spMkLst>
        </pc:spChg>
        <pc:spChg chg="add mod">
          <ac:chgData name="Johanna Marx" userId="f7883e6b-b8f5-49bd-97ed-29afbba9d34b" providerId="ADAL" clId="{3FB5D714-E125-4641-BF90-3447CB5D2DA3}" dt="2025-01-31T14:03:09.328" v="7902" actId="1035"/>
          <ac:spMkLst>
            <pc:docMk/>
            <pc:sldMk cId="3629467396" sldId="433"/>
            <ac:spMk id="12" creationId="{A69E8AD1-5375-61D4-8F44-447DBB90F2E4}"/>
          </ac:spMkLst>
        </pc:spChg>
        <pc:spChg chg="add mod">
          <ac:chgData name="Johanna Marx" userId="f7883e6b-b8f5-49bd-97ed-29afbba9d34b" providerId="ADAL" clId="{3FB5D714-E125-4641-BF90-3447CB5D2DA3}" dt="2025-01-31T14:03:09.328" v="7902" actId="1035"/>
          <ac:spMkLst>
            <pc:docMk/>
            <pc:sldMk cId="3629467396" sldId="433"/>
            <ac:spMk id="14" creationId="{28DD4178-0938-DE2F-7894-483746DF996E}"/>
          </ac:spMkLst>
        </pc:spChg>
        <pc:spChg chg="add mod">
          <ac:chgData name="Johanna Marx" userId="f7883e6b-b8f5-49bd-97ed-29afbba9d34b" providerId="ADAL" clId="{3FB5D714-E125-4641-BF90-3447CB5D2DA3}" dt="2025-01-31T14:03:13.767" v="7911" actId="1035"/>
          <ac:spMkLst>
            <pc:docMk/>
            <pc:sldMk cId="3629467396" sldId="433"/>
            <ac:spMk id="16" creationId="{3A870641-DD6A-2B91-1497-E4073C6C4C5E}"/>
          </ac:spMkLst>
        </pc:spChg>
        <pc:spChg chg="add mod">
          <ac:chgData name="Johanna Marx" userId="f7883e6b-b8f5-49bd-97ed-29afbba9d34b" providerId="ADAL" clId="{3FB5D714-E125-4641-BF90-3447CB5D2DA3}" dt="2025-01-31T14:03:13.767" v="7911" actId="1035"/>
          <ac:spMkLst>
            <pc:docMk/>
            <pc:sldMk cId="3629467396" sldId="433"/>
            <ac:spMk id="17" creationId="{ABBC0D8B-4761-A37D-D23A-B58B5569E192}"/>
          </ac:spMkLst>
        </pc:spChg>
        <pc:spChg chg="add mod">
          <ac:chgData name="Johanna Marx" userId="f7883e6b-b8f5-49bd-97ed-29afbba9d34b" providerId="ADAL" clId="{3FB5D714-E125-4641-BF90-3447CB5D2DA3}" dt="2025-01-31T14:03:13.767" v="7911" actId="1035"/>
          <ac:spMkLst>
            <pc:docMk/>
            <pc:sldMk cId="3629467396" sldId="433"/>
            <ac:spMk id="18" creationId="{8279762B-D1AF-5206-44FE-79911041332B}"/>
          </ac:spMkLst>
        </pc:spChg>
        <pc:spChg chg="add mod">
          <ac:chgData name="Johanna Marx" userId="f7883e6b-b8f5-49bd-97ed-29afbba9d34b" providerId="ADAL" clId="{3FB5D714-E125-4641-BF90-3447CB5D2DA3}" dt="2025-02-02T11:59:28.772" v="9644" actId="1038"/>
          <ac:spMkLst>
            <pc:docMk/>
            <pc:sldMk cId="3629467396" sldId="433"/>
            <ac:spMk id="20" creationId="{6E85FBEE-BA83-FBD1-45E5-AE38BA6E4F27}"/>
          </ac:spMkLst>
        </pc:spChg>
        <pc:spChg chg="add mod">
          <ac:chgData name="Johanna Marx" userId="f7883e6b-b8f5-49bd-97ed-29afbba9d34b" providerId="ADAL" clId="{3FB5D714-E125-4641-BF90-3447CB5D2DA3}" dt="2025-02-02T11:59:28.772" v="9644" actId="1038"/>
          <ac:spMkLst>
            <pc:docMk/>
            <pc:sldMk cId="3629467396" sldId="433"/>
            <ac:spMk id="21" creationId="{AFA3AF47-65D2-F716-F373-36884249EC03}"/>
          </ac:spMkLst>
        </pc:spChg>
        <pc:spChg chg="add mod">
          <ac:chgData name="Johanna Marx" userId="f7883e6b-b8f5-49bd-97ed-29afbba9d34b" providerId="ADAL" clId="{3FB5D714-E125-4641-BF90-3447CB5D2DA3}" dt="2025-02-02T11:59:28.772" v="9644" actId="1038"/>
          <ac:spMkLst>
            <pc:docMk/>
            <pc:sldMk cId="3629467396" sldId="433"/>
            <ac:spMk id="23" creationId="{9F5E4FF9-6C0E-A9CA-4038-0FC5FC8AB464}"/>
          </ac:spMkLst>
        </pc:spChg>
        <pc:spChg chg="add mod">
          <ac:chgData name="Johanna Marx" userId="f7883e6b-b8f5-49bd-97ed-29afbba9d34b" providerId="ADAL" clId="{3FB5D714-E125-4641-BF90-3447CB5D2DA3}" dt="2025-02-02T11:59:28.772" v="9644" actId="1038"/>
          <ac:spMkLst>
            <pc:docMk/>
            <pc:sldMk cId="3629467396" sldId="433"/>
            <ac:spMk id="24" creationId="{AFBF135F-DA3D-7EFC-B1E8-48F22E06DF77}"/>
          </ac:spMkLst>
        </pc:spChg>
        <pc:spChg chg="add mod">
          <ac:chgData name="Johanna Marx" userId="f7883e6b-b8f5-49bd-97ed-29afbba9d34b" providerId="ADAL" clId="{3FB5D714-E125-4641-BF90-3447CB5D2DA3}" dt="2025-01-31T14:03:22.741" v="7921" actId="1035"/>
          <ac:spMkLst>
            <pc:docMk/>
            <pc:sldMk cId="3629467396" sldId="433"/>
            <ac:spMk id="25" creationId="{3258169D-FE3D-0FEC-D9C6-ED907D82A6FD}"/>
          </ac:spMkLst>
        </pc:spChg>
        <pc:picChg chg="add mod">
          <ac:chgData name="Johanna Marx" userId="f7883e6b-b8f5-49bd-97ed-29afbba9d34b" providerId="ADAL" clId="{3FB5D714-E125-4641-BF90-3447CB5D2DA3}" dt="2025-02-02T11:59:28.772" v="9644" actId="1038"/>
          <ac:picMkLst>
            <pc:docMk/>
            <pc:sldMk cId="3629467396" sldId="433"/>
            <ac:picMk id="22" creationId="{13342BF9-732C-D617-C5F9-676AC4A1EF6A}"/>
          </ac:picMkLst>
        </pc:picChg>
      </pc:sldChg>
      <pc:sldChg chg="addSp delSp modSp mod">
        <pc:chgData name="Johanna Marx" userId="f7883e6b-b8f5-49bd-97ed-29afbba9d34b" providerId="ADAL" clId="{3FB5D714-E125-4641-BF90-3447CB5D2DA3}" dt="2025-02-02T12:41:25.455" v="9794" actId="255"/>
        <pc:sldMkLst>
          <pc:docMk/>
          <pc:sldMk cId="2283035292" sldId="439"/>
        </pc:sldMkLst>
        <pc:spChg chg="add mod">
          <ac:chgData name="Johanna Marx" userId="f7883e6b-b8f5-49bd-97ed-29afbba9d34b" providerId="ADAL" clId="{3FB5D714-E125-4641-BF90-3447CB5D2DA3}" dt="2025-02-02T12:40:50.355" v="9787"/>
          <ac:spMkLst>
            <pc:docMk/>
            <pc:sldMk cId="2283035292" sldId="439"/>
            <ac:spMk id="2" creationId="{F410C21B-1EB7-A3A0-DCD5-077D308A69A8}"/>
          </ac:spMkLst>
        </pc:spChg>
        <pc:spChg chg="add mod">
          <ac:chgData name="Johanna Marx" userId="f7883e6b-b8f5-49bd-97ed-29afbba9d34b" providerId="ADAL" clId="{3FB5D714-E125-4641-BF90-3447CB5D2DA3}" dt="2025-02-02T12:40:50.355" v="9787"/>
          <ac:spMkLst>
            <pc:docMk/>
            <pc:sldMk cId="2283035292" sldId="439"/>
            <ac:spMk id="5" creationId="{3C07CA45-88AB-8415-C23C-B57330927634}"/>
          </ac:spMkLst>
        </pc:spChg>
        <pc:spChg chg="add mod">
          <ac:chgData name="Johanna Marx" userId="f7883e6b-b8f5-49bd-97ed-29afbba9d34b" providerId="ADAL" clId="{3FB5D714-E125-4641-BF90-3447CB5D2DA3}" dt="2025-02-02T12:40:50.355" v="9787"/>
          <ac:spMkLst>
            <pc:docMk/>
            <pc:sldMk cId="2283035292" sldId="439"/>
            <ac:spMk id="7" creationId="{2F4BCFAE-0CBC-B0D0-132A-EB569AAAFA9D}"/>
          </ac:spMkLst>
        </pc:spChg>
        <pc:spChg chg="mod">
          <ac:chgData name="Johanna Marx" userId="f7883e6b-b8f5-49bd-97ed-29afbba9d34b" providerId="ADAL" clId="{3FB5D714-E125-4641-BF90-3447CB5D2DA3}" dt="2025-02-02T12:41:25.455" v="9794" actId="255"/>
          <ac:spMkLst>
            <pc:docMk/>
            <pc:sldMk cId="2283035292" sldId="439"/>
            <ac:spMk id="10" creationId="{9550A66F-F2E4-1942-A8B1-E2E67986ED34}"/>
          </ac:spMkLst>
        </pc:spChg>
        <pc:spChg chg="add mod">
          <ac:chgData name="Johanna Marx" userId="f7883e6b-b8f5-49bd-97ed-29afbba9d34b" providerId="ADAL" clId="{3FB5D714-E125-4641-BF90-3447CB5D2DA3}" dt="2025-02-02T11:10:46.648" v="9094" actId="1076"/>
          <ac:spMkLst>
            <pc:docMk/>
            <pc:sldMk cId="2283035292" sldId="439"/>
            <ac:spMk id="11" creationId="{1550BF28-5685-65C0-E56F-456CBF7EF8A5}"/>
          </ac:spMkLst>
        </pc:spChg>
        <pc:spChg chg="add del mod">
          <ac:chgData name="Johanna Marx" userId="f7883e6b-b8f5-49bd-97ed-29afbba9d34b" providerId="ADAL" clId="{3FB5D714-E125-4641-BF90-3447CB5D2DA3}" dt="2025-02-02T12:40:49.398" v="9786" actId="478"/>
          <ac:spMkLst>
            <pc:docMk/>
            <pc:sldMk cId="2283035292" sldId="439"/>
            <ac:spMk id="12" creationId="{02DB88F9-8540-183A-F993-124FE8A850EB}"/>
          </ac:spMkLst>
        </pc:spChg>
        <pc:spChg chg="add del mod">
          <ac:chgData name="Johanna Marx" userId="f7883e6b-b8f5-49bd-97ed-29afbba9d34b" providerId="ADAL" clId="{3FB5D714-E125-4641-BF90-3447CB5D2DA3}" dt="2025-02-02T12:40:49.398" v="9786" actId="478"/>
          <ac:spMkLst>
            <pc:docMk/>
            <pc:sldMk cId="2283035292" sldId="439"/>
            <ac:spMk id="14" creationId="{4805563D-39B4-4860-D22D-994949B33939}"/>
          </ac:spMkLst>
        </pc:spChg>
        <pc:spChg chg="add del mod">
          <ac:chgData name="Johanna Marx" userId="f7883e6b-b8f5-49bd-97ed-29afbba9d34b" providerId="ADAL" clId="{3FB5D714-E125-4641-BF90-3447CB5D2DA3}" dt="2025-02-02T12:40:49.398" v="9786" actId="478"/>
          <ac:spMkLst>
            <pc:docMk/>
            <pc:sldMk cId="2283035292" sldId="439"/>
            <ac:spMk id="20" creationId="{67FA8A8A-7EAF-6946-3E1D-226F76EB5BFC}"/>
          </ac:spMkLst>
        </pc:spChg>
        <pc:spChg chg="add mod">
          <ac:chgData name="Johanna Marx" userId="f7883e6b-b8f5-49bd-97ed-29afbba9d34b" providerId="ADAL" clId="{3FB5D714-E125-4641-BF90-3447CB5D2DA3}" dt="2025-02-02T12:41:19.700" v="9793" actId="14100"/>
          <ac:spMkLst>
            <pc:docMk/>
            <pc:sldMk cId="2283035292" sldId="439"/>
            <ac:spMk id="21" creationId="{947682F6-087A-D022-9662-9405CB44E2AF}"/>
          </ac:spMkLst>
        </pc:spChg>
        <pc:picChg chg="add mod">
          <ac:chgData name="Johanna Marx" userId="f7883e6b-b8f5-49bd-97ed-29afbba9d34b" providerId="ADAL" clId="{3FB5D714-E125-4641-BF90-3447CB5D2DA3}" dt="2025-02-02T12:40:50.355" v="9787"/>
          <ac:picMkLst>
            <pc:docMk/>
            <pc:sldMk cId="2283035292" sldId="439"/>
            <ac:picMk id="6" creationId="{88A3BF7B-397C-15D5-30F6-ED796359DB03}"/>
          </ac:picMkLst>
        </pc:picChg>
        <pc:picChg chg="mod">
          <ac:chgData name="Johanna Marx" userId="f7883e6b-b8f5-49bd-97ed-29afbba9d34b" providerId="ADAL" clId="{3FB5D714-E125-4641-BF90-3447CB5D2DA3}" dt="2025-02-02T11:12:54.304" v="9153" actId="1036"/>
          <ac:picMkLst>
            <pc:docMk/>
            <pc:sldMk cId="2283035292" sldId="439"/>
            <ac:picMk id="13" creationId="{E24A9847-0A6B-F8AF-0BEC-345917925388}"/>
          </ac:picMkLst>
        </pc:picChg>
        <pc:picChg chg="add del mod">
          <ac:chgData name="Johanna Marx" userId="f7883e6b-b8f5-49bd-97ed-29afbba9d34b" providerId="ADAL" clId="{3FB5D714-E125-4641-BF90-3447CB5D2DA3}" dt="2025-02-02T12:40:49.398" v="9786" actId="478"/>
          <ac:picMkLst>
            <pc:docMk/>
            <pc:sldMk cId="2283035292" sldId="439"/>
            <ac:picMk id="15" creationId="{D5BF763C-BE33-C9B4-C323-6E4293CE71E5}"/>
          </ac:picMkLst>
        </pc:picChg>
        <pc:picChg chg="mod">
          <ac:chgData name="Johanna Marx" userId="f7883e6b-b8f5-49bd-97ed-29afbba9d34b" providerId="ADAL" clId="{3FB5D714-E125-4641-BF90-3447CB5D2DA3}" dt="2025-02-02T11:12:54.304" v="9153" actId="1036"/>
          <ac:picMkLst>
            <pc:docMk/>
            <pc:sldMk cId="2283035292" sldId="439"/>
            <ac:picMk id="16" creationId="{BE3F39E9-572F-5E57-1A62-4279A1451959}"/>
          </ac:picMkLst>
        </pc:picChg>
        <pc:picChg chg="mod">
          <ac:chgData name="Johanna Marx" userId="f7883e6b-b8f5-49bd-97ed-29afbba9d34b" providerId="ADAL" clId="{3FB5D714-E125-4641-BF90-3447CB5D2DA3}" dt="2025-02-02T11:12:54.304" v="9153" actId="1036"/>
          <ac:picMkLst>
            <pc:docMk/>
            <pc:sldMk cId="2283035292" sldId="439"/>
            <ac:picMk id="17" creationId="{558120E0-FAED-CBDE-9732-1C43C480678F}"/>
          </ac:picMkLst>
        </pc:picChg>
        <pc:picChg chg="mod">
          <ac:chgData name="Johanna Marx" userId="f7883e6b-b8f5-49bd-97ed-29afbba9d34b" providerId="ADAL" clId="{3FB5D714-E125-4641-BF90-3447CB5D2DA3}" dt="2025-02-02T11:12:54.304" v="9153" actId="1036"/>
          <ac:picMkLst>
            <pc:docMk/>
            <pc:sldMk cId="2283035292" sldId="439"/>
            <ac:picMk id="18" creationId="{D7501EDF-1D35-24AF-8E94-2E87A5FCBD2D}"/>
          </ac:picMkLst>
        </pc:picChg>
        <pc:picChg chg="mod">
          <ac:chgData name="Johanna Marx" userId="f7883e6b-b8f5-49bd-97ed-29afbba9d34b" providerId="ADAL" clId="{3FB5D714-E125-4641-BF90-3447CB5D2DA3}" dt="2025-02-02T11:12:54.304" v="9153" actId="1036"/>
          <ac:picMkLst>
            <pc:docMk/>
            <pc:sldMk cId="2283035292" sldId="439"/>
            <ac:picMk id="19" creationId="{2433D8EE-85E0-0BFC-D575-8B439E22672E}"/>
          </ac:picMkLst>
        </pc:picChg>
      </pc:sldChg>
      <pc:sldChg chg="modSp mod">
        <pc:chgData name="Johanna Marx" userId="f7883e6b-b8f5-49bd-97ed-29afbba9d34b" providerId="ADAL" clId="{3FB5D714-E125-4641-BF90-3447CB5D2DA3}" dt="2025-02-02T11:20:07.969" v="9308" actId="113"/>
        <pc:sldMkLst>
          <pc:docMk/>
          <pc:sldMk cId="1009469891" sldId="440"/>
        </pc:sldMkLst>
        <pc:spChg chg="mod">
          <ac:chgData name="Johanna Marx" userId="f7883e6b-b8f5-49bd-97ed-29afbba9d34b" providerId="ADAL" clId="{3FB5D714-E125-4641-BF90-3447CB5D2DA3}" dt="2025-02-02T11:19:24.860" v="9302" actId="113"/>
          <ac:spMkLst>
            <pc:docMk/>
            <pc:sldMk cId="1009469891" sldId="440"/>
            <ac:spMk id="2" creationId="{BF4A43F6-3684-F5A5-85F1-EEDC996D624E}"/>
          </ac:spMkLst>
        </pc:spChg>
        <pc:spChg chg="mod">
          <ac:chgData name="Johanna Marx" userId="f7883e6b-b8f5-49bd-97ed-29afbba9d34b" providerId="ADAL" clId="{3FB5D714-E125-4641-BF90-3447CB5D2DA3}" dt="2025-02-02T11:19:04.555" v="9296" actId="1076"/>
          <ac:spMkLst>
            <pc:docMk/>
            <pc:sldMk cId="1009469891" sldId="440"/>
            <ac:spMk id="3" creationId="{F6F5A270-E5B3-1C34-7F0A-AEC95FE0FDDA}"/>
          </ac:spMkLst>
        </pc:spChg>
        <pc:spChg chg="mod">
          <ac:chgData name="Johanna Marx" userId="f7883e6b-b8f5-49bd-97ed-29afbba9d34b" providerId="ADAL" clId="{3FB5D714-E125-4641-BF90-3447CB5D2DA3}" dt="2025-02-02T11:18:45.890" v="9292" actId="1076"/>
          <ac:spMkLst>
            <pc:docMk/>
            <pc:sldMk cId="1009469891" sldId="440"/>
            <ac:spMk id="8" creationId="{EAE65E17-24BD-9146-7605-4AD45B45C364}"/>
          </ac:spMkLst>
        </pc:spChg>
        <pc:spChg chg="mod">
          <ac:chgData name="Johanna Marx" userId="f7883e6b-b8f5-49bd-97ed-29afbba9d34b" providerId="ADAL" clId="{3FB5D714-E125-4641-BF90-3447CB5D2DA3}" dt="2025-02-02T11:20:07.969" v="9308" actId="113"/>
          <ac:spMkLst>
            <pc:docMk/>
            <pc:sldMk cId="1009469891" sldId="440"/>
            <ac:spMk id="9" creationId="{B6B497AA-972B-9F4E-E175-1E7500A7D45E}"/>
          </ac:spMkLst>
        </pc:spChg>
        <pc:spChg chg="mod">
          <ac:chgData name="Johanna Marx" userId="f7883e6b-b8f5-49bd-97ed-29afbba9d34b" providerId="ADAL" clId="{3FB5D714-E125-4641-BF90-3447CB5D2DA3}" dt="2025-02-02T11:19:45.351" v="9304" actId="948"/>
          <ac:spMkLst>
            <pc:docMk/>
            <pc:sldMk cId="1009469891" sldId="440"/>
            <ac:spMk id="10" creationId="{524DDB5D-2C36-2D8F-EE1D-A2D0A61EFFA9}"/>
          </ac:spMkLst>
        </pc:spChg>
      </pc:sldChg>
      <pc:sldChg chg="addSp delSp modSp mod modClrScheme chgLayout">
        <pc:chgData name="Johanna Marx" userId="f7883e6b-b8f5-49bd-97ed-29afbba9d34b" providerId="ADAL" clId="{3FB5D714-E125-4641-BF90-3447CB5D2DA3}" dt="2025-02-02T11:14:48.163" v="9199" actId="1076"/>
        <pc:sldMkLst>
          <pc:docMk/>
          <pc:sldMk cId="3703175277" sldId="441"/>
        </pc:sldMkLst>
        <pc:spChg chg="mod ord">
          <ac:chgData name="Johanna Marx" userId="f7883e6b-b8f5-49bd-97ed-29afbba9d34b" providerId="ADAL" clId="{3FB5D714-E125-4641-BF90-3447CB5D2DA3}" dt="2025-02-02T10:45:13.393" v="8856" actId="700"/>
          <ac:spMkLst>
            <pc:docMk/>
            <pc:sldMk cId="3703175277" sldId="441"/>
            <ac:spMk id="3" creationId="{2E720F74-6C21-BE3B-855D-75E2441BE21D}"/>
          </ac:spMkLst>
        </pc:spChg>
        <pc:spChg chg="mod ord">
          <ac:chgData name="Johanna Marx" userId="f7883e6b-b8f5-49bd-97ed-29afbba9d34b" providerId="ADAL" clId="{3FB5D714-E125-4641-BF90-3447CB5D2DA3}" dt="2025-02-02T11:14:12.585" v="9187" actId="1076"/>
          <ac:spMkLst>
            <pc:docMk/>
            <pc:sldMk cId="3703175277" sldId="441"/>
            <ac:spMk id="4" creationId="{69B63D2F-BFD4-A1F4-6400-2D37EFA79895}"/>
          </ac:spMkLst>
        </pc:spChg>
        <pc:spChg chg="mod">
          <ac:chgData name="Johanna Marx" userId="f7883e6b-b8f5-49bd-97ed-29afbba9d34b" providerId="ADAL" clId="{3FB5D714-E125-4641-BF90-3447CB5D2DA3}" dt="2025-02-02T11:14:27.755" v="9196" actId="14100"/>
          <ac:spMkLst>
            <pc:docMk/>
            <pc:sldMk cId="3703175277" sldId="441"/>
            <ac:spMk id="7" creationId="{07040397-228E-6D70-AECA-AD5770BA7339}"/>
          </ac:spMkLst>
        </pc:spChg>
        <pc:spChg chg="del mod">
          <ac:chgData name="Johanna Marx" userId="f7883e6b-b8f5-49bd-97ed-29afbba9d34b" providerId="ADAL" clId="{3FB5D714-E125-4641-BF90-3447CB5D2DA3}" dt="2025-02-02T11:14:37.087" v="9198" actId="478"/>
          <ac:spMkLst>
            <pc:docMk/>
            <pc:sldMk cId="3703175277" sldId="441"/>
            <ac:spMk id="17" creationId="{95B4223F-CAFF-D66C-4B7C-D1F3986CE40C}"/>
          </ac:spMkLst>
        </pc:spChg>
        <pc:spChg chg="add mod">
          <ac:chgData name="Johanna Marx" userId="f7883e6b-b8f5-49bd-97ed-29afbba9d34b" providerId="ADAL" clId="{3FB5D714-E125-4641-BF90-3447CB5D2DA3}" dt="2025-02-02T11:14:16.692" v="9194" actId="1036"/>
          <ac:spMkLst>
            <pc:docMk/>
            <pc:sldMk cId="3703175277" sldId="441"/>
            <ac:spMk id="36" creationId="{1B56DA0A-8DC8-4E5B-B8B8-BA81B06A5006}"/>
          </ac:spMkLst>
        </pc:spChg>
        <pc:spChg chg="add mod">
          <ac:chgData name="Johanna Marx" userId="f7883e6b-b8f5-49bd-97ed-29afbba9d34b" providerId="ADAL" clId="{3FB5D714-E125-4641-BF90-3447CB5D2DA3}" dt="2025-02-02T11:14:16.692" v="9194" actId="1036"/>
          <ac:spMkLst>
            <pc:docMk/>
            <pc:sldMk cId="3703175277" sldId="441"/>
            <ac:spMk id="37" creationId="{2B663831-CA58-431E-8CA0-AF47141BC716}"/>
          </ac:spMkLst>
        </pc:spChg>
        <pc:spChg chg="add mod">
          <ac:chgData name="Johanna Marx" userId="f7883e6b-b8f5-49bd-97ed-29afbba9d34b" providerId="ADAL" clId="{3FB5D714-E125-4641-BF90-3447CB5D2DA3}" dt="2025-02-02T11:14:16.692" v="9194" actId="1036"/>
          <ac:spMkLst>
            <pc:docMk/>
            <pc:sldMk cId="3703175277" sldId="441"/>
            <ac:spMk id="39" creationId="{2A52BB96-EE15-A5C8-1965-3DEAD68C3932}"/>
          </ac:spMkLst>
        </pc:spChg>
        <pc:spChg chg="add mod">
          <ac:chgData name="Johanna Marx" userId="f7883e6b-b8f5-49bd-97ed-29afbba9d34b" providerId="ADAL" clId="{3FB5D714-E125-4641-BF90-3447CB5D2DA3}" dt="2025-02-02T11:14:16.692" v="9194" actId="1036"/>
          <ac:spMkLst>
            <pc:docMk/>
            <pc:sldMk cId="3703175277" sldId="441"/>
            <ac:spMk id="40" creationId="{77BA5F43-F74D-346C-6678-CC06F06FF1BA}"/>
          </ac:spMkLst>
        </pc:spChg>
        <pc:spChg chg="add mod">
          <ac:chgData name="Johanna Marx" userId="f7883e6b-b8f5-49bd-97ed-29afbba9d34b" providerId="ADAL" clId="{3FB5D714-E125-4641-BF90-3447CB5D2DA3}" dt="2025-02-02T11:14:16.692" v="9194" actId="1036"/>
          <ac:spMkLst>
            <pc:docMk/>
            <pc:sldMk cId="3703175277" sldId="441"/>
            <ac:spMk id="41" creationId="{C8856F70-8E42-97E7-DBF9-C54906FD2E2A}"/>
          </ac:spMkLst>
        </pc:spChg>
        <pc:spChg chg="mod">
          <ac:chgData name="Johanna Marx" userId="f7883e6b-b8f5-49bd-97ed-29afbba9d34b" providerId="ADAL" clId="{3FB5D714-E125-4641-BF90-3447CB5D2DA3}" dt="2025-01-29T16:54:08.344" v="1937"/>
          <ac:spMkLst>
            <pc:docMk/>
            <pc:sldMk cId="3703175277" sldId="441"/>
            <ac:spMk id="43" creationId="{393BDA72-96F9-60FE-6734-CE1010771BF5}"/>
          </ac:spMkLst>
        </pc:spChg>
        <pc:spChg chg="add mod">
          <ac:chgData name="Johanna Marx" userId="f7883e6b-b8f5-49bd-97ed-29afbba9d34b" providerId="ADAL" clId="{3FB5D714-E125-4641-BF90-3447CB5D2DA3}" dt="2025-02-02T11:14:16.692" v="9194" actId="1036"/>
          <ac:spMkLst>
            <pc:docMk/>
            <pc:sldMk cId="3703175277" sldId="441"/>
            <ac:spMk id="45" creationId="{69797BFC-036B-2843-CD72-D59C41514EC4}"/>
          </ac:spMkLst>
        </pc:spChg>
        <pc:grpChg chg="add mod">
          <ac:chgData name="Johanna Marx" userId="f7883e6b-b8f5-49bd-97ed-29afbba9d34b" providerId="ADAL" clId="{3FB5D714-E125-4641-BF90-3447CB5D2DA3}" dt="2025-02-02T11:14:16.692" v="9194" actId="1036"/>
          <ac:grpSpMkLst>
            <pc:docMk/>
            <pc:sldMk cId="3703175277" sldId="441"/>
            <ac:grpSpMk id="42" creationId="{EBFE4383-EEA4-8B3A-633F-715FB3A36DE1}"/>
          </ac:grpSpMkLst>
        </pc:grpChg>
        <pc:graphicFrameChg chg="add mod modGraphic">
          <ac:chgData name="Johanna Marx" userId="f7883e6b-b8f5-49bd-97ed-29afbba9d34b" providerId="ADAL" clId="{3FB5D714-E125-4641-BF90-3447CB5D2DA3}" dt="2025-02-02T11:14:48.163" v="9199" actId="1076"/>
          <ac:graphicFrameMkLst>
            <pc:docMk/>
            <pc:sldMk cId="3703175277" sldId="441"/>
            <ac:graphicFrameMk id="24" creationId="{A64D5381-0B55-4FBC-0604-5FBB8EFE34EE}"/>
          </ac:graphicFrameMkLst>
        </pc:graphicFrameChg>
        <pc:picChg chg="add mod">
          <ac:chgData name="Johanna Marx" userId="f7883e6b-b8f5-49bd-97ed-29afbba9d34b" providerId="ADAL" clId="{3FB5D714-E125-4641-BF90-3447CB5D2DA3}" dt="2025-02-02T11:14:16.692" v="9194" actId="1036"/>
          <ac:picMkLst>
            <pc:docMk/>
            <pc:sldMk cId="3703175277" sldId="441"/>
            <ac:picMk id="38" creationId="{3E27CE3D-00A3-26DE-6855-D5685C2B9543}"/>
          </ac:picMkLst>
        </pc:picChg>
        <pc:picChg chg="mod">
          <ac:chgData name="Johanna Marx" userId="f7883e6b-b8f5-49bd-97ed-29afbba9d34b" providerId="ADAL" clId="{3FB5D714-E125-4641-BF90-3447CB5D2DA3}" dt="2025-01-29T16:54:08.344" v="1937"/>
          <ac:picMkLst>
            <pc:docMk/>
            <pc:sldMk cId="3703175277" sldId="441"/>
            <ac:picMk id="44" creationId="{AB27DE1D-6FB4-1E89-7B7D-74861A93EA04}"/>
          </ac:picMkLst>
        </pc:picChg>
      </pc:sldChg>
      <pc:sldChg chg="addSp delSp modSp mod">
        <pc:chgData name="Johanna Marx" userId="f7883e6b-b8f5-49bd-97ed-29afbba9d34b" providerId="ADAL" clId="{3FB5D714-E125-4641-BF90-3447CB5D2DA3}" dt="2025-02-02T11:31:38.451" v="9397" actId="1076"/>
        <pc:sldMkLst>
          <pc:docMk/>
          <pc:sldMk cId="2161542675" sldId="443"/>
        </pc:sldMkLst>
        <pc:spChg chg="mod ord">
          <ac:chgData name="Johanna Marx" userId="f7883e6b-b8f5-49bd-97ed-29afbba9d34b" providerId="ADAL" clId="{3FB5D714-E125-4641-BF90-3447CB5D2DA3}" dt="2025-02-02T11:31:38.451" v="9397" actId="1076"/>
          <ac:spMkLst>
            <pc:docMk/>
            <pc:sldMk cId="2161542675" sldId="443"/>
            <ac:spMk id="8" creationId="{05F98F18-E122-0D7D-F115-4F947744DAF8}"/>
          </ac:spMkLst>
        </pc:spChg>
        <pc:spChg chg="mod topLvl">
          <ac:chgData name="Johanna Marx" userId="f7883e6b-b8f5-49bd-97ed-29afbba9d34b" providerId="ADAL" clId="{3FB5D714-E125-4641-BF90-3447CB5D2DA3}" dt="2025-01-31T11:09:04.526" v="3823" actId="165"/>
          <ac:spMkLst>
            <pc:docMk/>
            <pc:sldMk cId="2161542675" sldId="443"/>
            <ac:spMk id="10" creationId="{D3DCE5C9-309C-EB72-77C5-9F9F7226E956}"/>
          </ac:spMkLst>
        </pc:spChg>
        <pc:spChg chg="mod topLvl">
          <ac:chgData name="Johanna Marx" userId="f7883e6b-b8f5-49bd-97ed-29afbba9d34b" providerId="ADAL" clId="{3FB5D714-E125-4641-BF90-3447CB5D2DA3}" dt="2025-01-31T11:09:04.526" v="3823" actId="165"/>
          <ac:spMkLst>
            <pc:docMk/>
            <pc:sldMk cId="2161542675" sldId="443"/>
            <ac:spMk id="11" creationId="{15105156-EA42-4204-7CEA-2C34DDC9F965}"/>
          </ac:spMkLst>
        </pc:spChg>
        <pc:spChg chg="mod topLvl">
          <ac:chgData name="Johanna Marx" userId="f7883e6b-b8f5-49bd-97ed-29afbba9d34b" providerId="ADAL" clId="{3FB5D714-E125-4641-BF90-3447CB5D2DA3}" dt="2025-01-31T11:09:04.526" v="3823" actId="165"/>
          <ac:spMkLst>
            <pc:docMk/>
            <pc:sldMk cId="2161542675" sldId="443"/>
            <ac:spMk id="12" creationId="{4365DAFF-7F0A-59DA-3DB5-ACA5E40F77D3}"/>
          </ac:spMkLst>
        </pc:spChg>
        <pc:spChg chg="mod topLvl">
          <ac:chgData name="Johanna Marx" userId="f7883e6b-b8f5-49bd-97ed-29afbba9d34b" providerId="ADAL" clId="{3FB5D714-E125-4641-BF90-3447CB5D2DA3}" dt="2025-01-31T11:09:04.526" v="3823" actId="165"/>
          <ac:spMkLst>
            <pc:docMk/>
            <pc:sldMk cId="2161542675" sldId="443"/>
            <ac:spMk id="16" creationId="{35575719-D2CF-61D5-E851-E011B87C7DE9}"/>
          </ac:spMkLst>
        </pc:spChg>
        <pc:spChg chg="mod topLvl">
          <ac:chgData name="Johanna Marx" userId="f7883e6b-b8f5-49bd-97ed-29afbba9d34b" providerId="ADAL" clId="{3FB5D714-E125-4641-BF90-3447CB5D2DA3}" dt="2025-01-31T11:09:04.526" v="3823" actId="165"/>
          <ac:spMkLst>
            <pc:docMk/>
            <pc:sldMk cId="2161542675" sldId="443"/>
            <ac:spMk id="17" creationId="{06BCB1F9-9216-DDAA-B85B-080B098309C0}"/>
          </ac:spMkLst>
        </pc:spChg>
        <pc:spChg chg="mod topLvl">
          <ac:chgData name="Johanna Marx" userId="f7883e6b-b8f5-49bd-97ed-29afbba9d34b" providerId="ADAL" clId="{3FB5D714-E125-4641-BF90-3447CB5D2DA3}" dt="2025-01-31T11:09:04.526" v="3823" actId="165"/>
          <ac:spMkLst>
            <pc:docMk/>
            <pc:sldMk cId="2161542675" sldId="443"/>
            <ac:spMk id="19" creationId="{E5323FBE-D6B8-546D-A78E-764727B6D58A}"/>
          </ac:spMkLst>
        </pc:spChg>
        <pc:spChg chg="add mod">
          <ac:chgData name="Johanna Marx" userId="f7883e6b-b8f5-49bd-97ed-29afbba9d34b" providerId="ADAL" clId="{3FB5D714-E125-4641-BF90-3447CB5D2DA3}" dt="2025-01-31T11:12:25.338" v="3874" actId="14100"/>
          <ac:spMkLst>
            <pc:docMk/>
            <pc:sldMk cId="2161542675" sldId="443"/>
            <ac:spMk id="32" creationId="{734D938D-F272-CA10-147D-DE3A60800377}"/>
          </ac:spMkLst>
        </pc:spChg>
        <pc:spChg chg="add mod">
          <ac:chgData name="Johanna Marx" userId="f7883e6b-b8f5-49bd-97ed-29afbba9d34b" providerId="ADAL" clId="{3FB5D714-E125-4641-BF90-3447CB5D2DA3}" dt="2025-01-31T11:10:48.070" v="3850" actId="1076"/>
          <ac:spMkLst>
            <pc:docMk/>
            <pc:sldMk cId="2161542675" sldId="443"/>
            <ac:spMk id="40" creationId="{4E6D9957-4097-7A69-2FB5-866BD7458012}"/>
          </ac:spMkLst>
        </pc:spChg>
        <pc:spChg chg="add mod">
          <ac:chgData name="Johanna Marx" userId="f7883e6b-b8f5-49bd-97ed-29afbba9d34b" providerId="ADAL" clId="{3FB5D714-E125-4641-BF90-3447CB5D2DA3}" dt="2025-01-31T11:11:05.583" v="3857" actId="1076"/>
          <ac:spMkLst>
            <pc:docMk/>
            <pc:sldMk cId="2161542675" sldId="443"/>
            <ac:spMk id="44" creationId="{28641160-0E33-2B23-29D4-77AE5F363B3B}"/>
          </ac:spMkLst>
        </pc:spChg>
        <pc:spChg chg="add mod">
          <ac:chgData name="Johanna Marx" userId="f7883e6b-b8f5-49bd-97ed-29afbba9d34b" providerId="ADAL" clId="{3FB5D714-E125-4641-BF90-3447CB5D2DA3}" dt="2025-01-31T11:11:52.579" v="3870" actId="1076"/>
          <ac:spMkLst>
            <pc:docMk/>
            <pc:sldMk cId="2161542675" sldId="443"/>
            <ac:spMk id="50" creationId="{16A49EC7-8ED2-8493-61B8-FDA4A81843C5}"/>
          </ac:spMkLst>
        </pc:spChg>
        <pc:spChg chg="add mod">
          <ac:chgData name="Johanna Marx" userId="f7883e6b-b8f5-49bd-97ed-29afbba9d34b" providerId="ADAL" clId="{3FB5D714-E125-4641-BF90-3447CB5D2DA3}" dt="2025-02-02T11:31:36.343" v="9396" actId="1076"/>
          <ac:spMkLst>
            <pc:docMk/>
            <pc:sldMk cId="2161542675" sldId="443"/>
            <ac:spMk id="54" creationId="{0B775031-F62F-2AEE-99B3-CF324293D5D2}"/>
          </ac:spMkLst>
        </pc:spChg>
        <pc:picChg chg="mod topLvl modCrop">
          <ac:chgData name="Johanna Marx" userId="f7883e6b-b8f5-49bd-97ed-29afbba9d34b" providerId="ADAL" clId="{3FB5D714-E125-4641-BF90-3447CB5D2DA3}" dt="2025-01-31T11:12:16.583" v="3873" actId="732"/>
          <ac:picMkLst>
            <pc:docMk/>
            <pc:sldMk cId="2161542675" sldId="443"/>
            <ac:picMk id="3" creationId="{BE94C0F2-1A09-DDED-4BDE-B3708FCB8F1E}"/>
          </ac:picMkLst>
        </pc:picChg>
        <pc:picChg chg="add mod topLvl">
          <ac:chgData name="Johanna Marx" userId="f7883e6b-b8f5-49bd-97ed-29afbba9d34b" providerId="ADAL" clId="{3FB5D714-E125-4641-BF90-3447CB5D2DA3}" dt="2025-01-31T11:11:30.100" v="3865" actId="478"/>
          <ac:picMkLst>
            <pc:docMk/>
            <pc:sldMk cId="2161542675" sldId="443"/>
            <ac:picMk id="35" creationId="{58EABD8B-D3AA-061C-3201-28A0B4F28C75}"/>
          </ac:picMkLst>
        </pc:picChg>
        <pc:cxnChg chg="mod">
          <ac:chgData name="Johanna Marx" userId="f7883e6b-b8f5-49bd-97ed-29afbba9d34b" providerId="ADAL" clId="{3FB5D714-E125-4641-BF90-3447CB5D2DA3}" dt="2025-01-31T10:37:51.743" v="2576" actId="14100"/>
          <ac:cxnSpMkLst>
            <pc:docMk/>
            <pc:sldMk cId="2161542675" sldId="443"/>
            <ac:cxnSpMk id="5" creationId="{E5329174-AC25-9D2F-5612-75B5A28BC1C2}"/>
          </ac:cxnSpMkLst>
        </pc:cxnChg>
        <pc:cxnChg chg="mod">
          <ac:chgData name="Johanna Marx" userId="f7883e6b-b8f5-49bd-97ed-29afbba9d34b" providerId="ADAL" clId="{3FB5D714-E125-4641-BF90-3447CB5D2DA3}" dt="2025-01-31T11:07:55.864" v="3807" actId="14100"/>
          <ac:cxnSpMkLst>
            <pc:docMk/>
            <pc:sldMk cId="2161542675" sldId="443"/>
            <ac:cxnSpMk id="13" creationId="{C989B777-85BE-89BC-BAC0-E2ED8FDACA6A}"/>
          </ac:cxnSpMkLst>
        </pc:cxnChg>
        <pc:cxnChg chg="mod">
          <ac:chgData name="Johanna Marx" userId="f7883e6b-b8f5-49bd-97ed-29afbba9d34b" providerId="ADAL" clId="{3FB5D714-E125-4641-BF90-3447CB5D2DA3}" dt="2025-01-31T11:07:58.865" v="3808" actId="14100"/>
          <ac:cxnSpMkLst>
            <pc:docMk/>
            <pc:sldMk cId="2161542675" sldId="443"/>
            <ac:cxnSpMk id="14" creationId="{21E7AA92-D03B-CD29-C2DB-1BA4A448FFA5}"/>
          </ac:cxnSpMkLst>
        </pc:cxnChg>
        <pc:cxnChg chg="mod topLvl">
          <ac:chgData name="Johanna Marx" userId="f7883e6b-b8f5-49bd-97ed-29afbba9d34b" providerId="ADAL" clId="{3FB5D714-E125-4641-BF90-3447CB5D2DA3}" dt="2025-01-31T11:09:04.526" v="3823" actId="165"/>
          <ac:cxnSpMkLst>
            <pc:docMk/>
            <pc:sldMk cId="2161542675" sldId="443"/>
            <ac:cxnSpMk id="15" creationId="{F134E2CA-A90D-40C8-A794-EA41F0EE2542}"/>
          </ac:cxnSpMkLst>
        </pc:cxnChg>
        <pc:cxnChg chg="mod topLvl">
          <ac:chgData name="Johanna Marx" userId="f7883e6b-b8f5-49bd-97ed-29afbba9d34b" providerId="ADAL" clId="{3FB5D714-E125-4641-BF90-3447CB5D2DA3}" dt="2025-01-31T11:09:04.526" v="3823" actId="165"/>
          <ac:cxnSpMkLst>
            <pc:docMk/>
            <pc:sldMk cId="2161542675" sldId="443"/>
            <ac:cxnSpMk id="18" creationId="{56E07693-FC01-2BF3-D345-A92FD5842606}"/>
          </ac:cxnSpMkLst>
        </pc:cxnChg>
        <pc:cxnChg chg="mod">
          <ac:chgData name="Johanna Marx" userId="f7883e6b-b8f5-49bd-97ed-29afbba9d34b" providerId="ADAL" clId="{3FB5D714-E125-4641-BF90-3447CB5D2DA3}" dt="2025-01-31T10:38:48.987" v="2586" actId="1076"/>
          <ac:cxnSpMkLst>
            <pc:docMk/>
            <pc:sldMk cId="2161542675" sldId="443"/>
            <ac:cxnSpMk id="20" creationId="{4DA86BB1-2E39-F0AE-78D3-448D2B83EE74}"/>
          </ac:cxnSpMkLst>
        </pc:cxnChg>
        <pc:cxnChg chg="add mod">
          <ac:chgData name="Johanna Marx" userId="f7883e6b-b8f5-49bd-97ed-29afbba9d34b" providerId="ADAL" clId="{3FB5D714-E125-4641-BF90-3447CB5D2DA3}" dt="2025-01-31T11:10:59.035" v="3854" actId="14100"/>
          <ac:cxnSpMkLst>
            <pc:docMk/>
            <pc:sldMk cId="2161542675" sldId="443"/>
            <ac:cxnSpMk id="41" creationId="{9756E366-3231-05FA-73B2-1B930B79D8DA}"/>
          </ac:cxnSpMkLst>
        </pc:cxnChg>
        <pc:cxnChg chg="add mod">
          <ac:chgData name="Johanna Marx" userId="f7883e6b-b8f5-49bd-97ed-29afbba9d34b" providerId="ADAL" clId="{3FB5D714-E125-4641-BF90-3447CB5D2DA3}" dt="2025-01-31T11:11:09.416" v="3858" actId="14100"/>
          <ac:cxnSpMkLst>
            <pc:docMk/>
            <pc:sldMk cId="2161542675" sldId="443"/>
            <ac:cxnSpMk id="45" creationId="{82ECCD0D-DF02-111E-4657-E1D264A1D881}"/>
          </ac:cxnSpMkLst>
        </pc:cxnChg>
        <pc:cxnChg chg="add mod">
          <ac:chgData name="Johanna Marx" userId="f7883e6b-b8f5-49bd-97ed-29afbba9d34b" providerId="ADAL" clId="{3FB5D714-E125-4641-BF90-3447CB5D2DA3}" dt="2025-01-31T11:11:56.982" v="3872" actId="14100"/>
          <ac:cxnSpMkLst>
            <pc:docMk/>
            <pc:sldMk cId="2161542675" sldId="443"/>
            <ac:cxnSpMk id="51" creationId="{E8170481-1D1B-7FA7-8D9B-9D4239D4A81B}"/>
          </ac:cxnSpMkLst>
        </pc:cxnChg>
      </pc:sldChg>
      <pc:sldChg chg="modSp mod">
        <pc:chgData name="Johanna Marx" userId="f7883e6b-b8f5-49bd-97ed-29afbba9d34b" providerId="ADAL" clId="{3FB5D714-E125-4641-BF90-3447CB5D2DA3}" dt="2025-02-02T11:27:53.360" v="9393" actId="1036"/>
        <pc:sldMkLst>
          <pc:docMk/>
          <pc:sldMk cId="1116173053" sldId="444"/>
        </pc:sldMkLst>
        <pc:spChg chg="mod">
          <ac:chgData name="Johanna Marx" userId="f7883e6b-b8f5-49bd-97ed-29afbba9d34b" providerId="ADAL" clId="{3FB5D714-E125-4641-BF90-3447CB5D2DA3}" dt="2025-02-02T11:25:15.965" v="9361" actId="1076"/>
          <ac:spMkLst>
            <pc:docMk/>
            <pc:sldMk cId="1116173053" sldId="444"/>
            <ac:spMk id="2" creationId="{FE3A5165-8DD7-B00A-7B51-96C83EC80066}"/>
          </ac:spMkLst>
        </pc:spChg>
        <pc:spChg chg="mod">
          <ac:chgData name="Johanna Marx" userId="f7883e6b-b8f5-49bd-97ed-29afbba9d34b" providerId="ADAL" clId="{3FB5D714-E125-4641-BF90-3447CB5D2DA3}" dt="2025-02-02T11:27:53.360" v="9393" actId="1036"/>
          <ac:spMkLst>
            <pc:docMk/>
            <pc:sldMk cId="1116173053" sldId="444"/>
            <ac:spMk id="18" creationId="{9D402FC9-B003-6ABB-29C8-CFE131F86AFE}"/>
          </ac:spMkLst>
        </pc:spChg>
        <pc:spChg chg="mod">
          <ac:chgData name="Johanna Marx" userId="f7883e6b-b8f5-49bd-97ed-29afbba9d34b" providerId="ADAL" clId="{3FB5D714-E125-4641-BF90-3447CB5D2DA3}" dt="2025-02-02T11:27:53.360" v="9393" actId="1036"/>
          <ac:spMkLst>
            <pc:docMk/>
            <pc:sldMk cId="1116173053" sldId="444"/>
            <ac:spMk id="19" creationId="{14F227C7-A804-2912-72FE-C68256D689CF}"/>
          </ac:spMkLst>
        </pc:spChg>
        <pc:spChg chg="mod">
          <ac:chgData name="Johanna Marx" userId="f7883e6b-b8f5-49bd-97ed-29afbba9d34b" providerId="ADAL" clId="{3FB5D714-E125-4641-BF90-3447CB5D2DA3}" dt="2025-02-02T11:27:53.360" v="9393" actId="1036"/>
          <ac:spMkLst>
            <pc:docMk/>
            <pc:sldMk cId="1116173053" sldId="444"/>
            <ac:spMk id="20" creationId="{ADB275A6-C53A-7E16-0F8B-E7526A30BE8E}"/>
          </ac:spMkLst>
        </pc:spChg>
        <pc:spChg chg="mod">
          <ac:chgData name="Johanna Marx" userId="f7883e6b-b8f5-49bd-97ed-29afbba9d34b" providerId="ADAL" clId="{3FB5D714-E125-4641-BF90-3447CB5D2DA3}" dt="2025-02-02T11:27:53.360" v="9393" actId="1036"/>
          <ac:spMkLst>
            <pc:docMk/>
            <pc:sldMk cId="1116173053" sldId="444"/>
            <ac:spMk id="21" creationId="{E66736C9-2D9B-3583-01F1-392C5ADBE345}"/>
          </ac:spMkLst>
        </pc:spChg>
        <pc:spChg chg="mod">
          <ac:chgData name="Johanna Marx" userId="f7883e6b-b8f5-49bd-97ed-29afbba9d34b" providerId="ADAL" clId="{3FB5D714-E125-4641-BF90-3447CB5D2DA3}" dt="2025-02-02T11:27:53.360" v="9393" actId="1036"/>
          <ac:spMkLst>
            <pc:docMk/>
            <pc:sldMk cId="1116173053" sldId="444"/>
            <ac:spMk id="23" creationId="{2785BB2D-B0B1-8459-16E4-9FAEC5F1B39C}"/>
          </ac:spMkLst>
        </pc:spChg>
        <pc:spChg chg="mod">
          <ac:chgData name="Johanna Marx" userId="f7883e6b-b8f5-49bd-97ed-29afbba9d34b" providerId="ADAL" clId="{3FB5D714-E125-4641-BF90-3447CB5D2DA3}" dt="2025-02-02T11:27:53.360" v="9393" actId="1036"/>
          <ac:spMkLst>
            <pc:docMk/>
            <pc:sldMk cId="1116173053" sldId="444"/>
            <ac:spMk id="24" creationId="{8BB4E438-D041-97D3-C1DF-91CB8C7B1078}"/>
          </ac:spMkLst>
        </pc:spChg>
        <pc:grpChg chg="mod">
          <ac:chgData name="Johanna Marx" userId="f7883e6b-b8f5-49bd-97ed-29afbba9d34b" providerId="ADAL" clId="{3FB5D714-E125-4641-BF90-3447CB5D2DA3}" dt="2025-02-02T11:27:53.360" v="9393" actId="1036"/>
          <ac:grpSpMkLst>
            <pc:docMk/>
            <pc:sldMk cId="1116173053" sldId="444"/>
            <ac:grpSpMk id="4" creationId="{B5C85380-1F79-1428-7E8B-6D4110420C15}"/>
          </ac:grpSpMkLst>
        </pc:grpChg>
        <pc:picChg chg="mod">
          <ac:chgData name="Johanna Marx" userId="f7883e6b-b8f5-49bd-97ed-29afbba9d34b" providerId="ADAL" clId="{3FB5D714-E125-4641-BF90-3447CB5D2DA3}" dt="2025-02-02T11:27:53.360" v="9393" actId="1036"/>
          <ac:picMkLst>
            <pc:docMk/>
            <pc:sldMk cId="1116173053" sldId="444"/>
            <ac:picMk id="22" creationId="{0D108504-4CE1-D8E9-1280-D9A916ABDF4F}"/>
          </ac:picMkLst>
        </pc:picChg>
      </pc:sldChg>
      <pc:sldChg chg="addSp delSp modSp mod">
        <pc:chgData name="Johanna Marx" userId="f7883e6b-b8f5-49bd-97ed-29afbba9d34b" providerId="ADAL" clId="{3FB5D714-E125-4641-BF90-3447CB5D2DA3}" dt="2025-02-02T11:33:11.391" v="9418" actId="255"/>
        <pc:sldMkLst>
          <pc:docMk/>
          <pc:sldMk cId="1246978811" sldId="445"/>
        </pc:sldMkLst>
        <pc:spChg chg="mod">
          <ac:chgData name="Johanna Marx" userId="f7883e6b-b8f5-49bd-97ed-29afbba9d34b" providerId="ADAL" clId="{3FB5D714-E125-4641-BF90-3447CB5D2DA3}" dt="2025-02-02T11:33:06.072" v="9417" actId="255"/>
          <ac:spMkLst>
            <pc:docMk/>
            <pc:sldMk cId="1246978811" sldId="445"/>
            <ac:spMk id="7" creationId="{07040397-228E-6D70-AECA-AD5770BA7339}"/>
          </ac:spMkLst>
        </pc:spChg>
        <pc:spChg chg="mod">
          <ac:chgData name="Johanna Marx" userId="f7883e6b-b8f5-49bd-97ed-29afbba9d34b" providerId="ADAL" clId="{3FB5D714-E125-4641-BF90-3447CB5D2DA3}" dt="2025-02-02T11:33:11.391" v="9418" actId="255"/>
          <ac:spMkLst>
            <pc:docMk/>
            <pc:sldMk cId="1246978811" sldId="445"/>
            <ac:spMk id="17" creationId="{95B4223F-CAFF-D66C-4B7C-D1F3986CE40C}"/>
          </ac:spMkLst>
        </pc:spChg>
        <pc:spChg chg="add mod">
          <ac:chgData name="Johanna Marx" userId="f7883e6b-b8f5-49bd-97ed-29afbba9d34b" providerId="ADAL" clId="{3FB5D714-E125-4641-BF90-3447CB5D2DA3}" dt="2025-01-31T11:21:24.710" v="4133" actId="1035"/>
          <ac:spMkLst>
            <pc:docMk/>
            <pc:sldMk cId="1246978811" sldId="445"/>
            <ac:spMk id="29" creationId="{88B1E8D9-37D3-3F1F-DE2A-EDE78129D40E}"/>
          </ac:spMkLst>
        </pc:spChg>
        <pc:spChg chg="add mod">
          <ac:chgData name="Johanna Marx" userId="f7883e6b-b8f5-49bd-97ed-29afbba9d34b" providerId="ADAL" clId="{3FB5D714-E125-4641-BF90-3447CB5D2DA3}" dt="2025-01-31T11:21:24.710" v="4133" actId="1035"/>
          <ac:spMkLst>
            <pc:docMk/>
            <pc:sldMk cId="1246978811" sldId="445"/>
            <ac:spMk id="30" creationId="{16BE239E-AC64-4B4F-8F21-59622B62EF1C}"/>
          </ac:spMkLst>
        </pc:spChg>
        <pc:spChg chg="add mod">
          <ac:chgData name="Johanna Marx" userId="f7883e6b-b8f5-49bd-97ed-29afbba9d34b" providerId="ADAL" clId="{3FB5D714-E125-4641-BF90-3447CB5D2DA3}" dt="2025-01-31T11:21:41.064" v="4136" actId="14100"/>
          <ac:spMkLst>
            <pc:docMk/>
            <pc:sldMk cId="1246978811" sldId="445"/>
            <ac:spMk id="33" creationId="{30EE6C56-2356-B6A7-48AA-4D6544E3BCEA}"/>
          </ac:spMkLst>
        </pc:spChg>
        <pc:spChg chg="add mod">
          <ac:chgData name="Johanna Marx" userId="f7883e6b-b8f5-49bd-97ed-29afbba9d34b" providerId="ADAL" clId="{3FB5D714-E125-4641-BF90-3447CB5D2DA3}" dt="2025-01-31T11:21:38.470" v="4135" actId="14100"/>
          <ac:spMkLst>
            <pc:docMk/>
            <pc:sldMk cId="1246978811" sldId="445"/>
            <ac:spMk id="34" creationId="{FB0BB605-A574-39B7-D8B3-E5286C3B21FF}"/>
          </ac:spMkLst>
        </pc:spChg>
        <pc:spChg chg="add mod">
          <ac:chgData name="Johanna Marx" userId="f7883e6b-b8f5-49bd-97ed-29afbba9d34b" providerId="ADAL" clId="{3FB5D714-E125-4641-BF90-3447CB5D2DA3}" dt="2025-01-31T11:21:24.710" v="4133" actId="1035"/>
          <ac:spMkLst>
            <pc:docMk/>
            <pc:sldMk cId="1246978811" sldId="445"/>
            <ac:spMk id="35" creationId="{1DBB5545-8CCF-59B3-4A90-BFF7D12DEAB3}"/>
          </ac:spMkLst>
        </pc:spChg>
        <pc:spChg chg="mod">
          <ac:chgData name="Johanna Marx" userId="f7883e6b-b8f5-49bd-97ed-29afbba9d34b" providerId="ADAL" clId="{3FB5D714-E125-4641-BF90-3447CB5D2DA3}" dt="2025-01-31T11:21:05.930" v="4081"/>
          <ac:spMkLst>
            <pc:docMk/>
            <pc:sldMk cId="1246978811" sldId="445"/>
            <ac:spMk id="37" creationId="{6B864C80-39C4-9E1B-3362-D931CB23DD66}"/>
          </ac:spMkLst>
        </pc:spChg>
        <pc:grpChg chg="add mod">
          <ac:chgData name="Johanna Marx" userId="f7883e6b-b8f5-49bd-97ed-29afbba9d34b" providerId="ADAL" clId="{3FB5D714-E125-4641-BF90-3447CB5D2DA3}" dt="2025-01-31T11:21:24.710" v="4133" actId="1035"/>
          <ac:grpSpMkLst>
            <pc:docMk/>
            <pc:sldMk cId="1246978811" sldId="445"/>
            <ac:grpSpMk id="36" creationId="{65B92FC9-2A9E-55CA-042C-CCD67408425F}"/>
          </ac:grpSpMkLst>
        </pc:grpChg>
        <pc:picChg chg="add mod">
          <ac:chgData name="Johanna Marx" userId="f7883e6b-b8f5-49bd-97ed-29afbba9d34b" providerId="ADAL" clId="{3FB5D714-E125-4641-BF90-3447CB5D2DA3}" dt="2025-01-31T11:21:24.710" v="4133" actId="1035"/>
          <ac:picMkLst>
            <pc:docMk/>
            <pc:sldMk cId="1246978811" sldId="445"/>
            <ac:picMk id="32" creationId="{89811C3F-5D05-0FC2-2D5C-86E4A4124486}"/>
          </ac:picMkLst>
        </pc:picChg>
        <pc:picChg chg="mod">
          <ac:chgData name="Johanna Marx" userId="f7883e6b-b8f5-49bd-97ed-29afbba9d34b" providerId="ADAL" clId="{3FB5D714-E125-4641-BF90-3447CB5D2DA3}" dt="2025-01-31T11:21:05.930" v="4081"/>
          <ac:picMkLst>
            <pc:docMk/>
            <pc:sldMk cId="1246978811" sldId="445"/>
            <ac:picMk id="38" creationId="{04146092-3429-4350-24A9-B3AECB1F58E4}"/>
          </ac:picMkLst>
        </pc:picChg>
      </pc:sldChg>
      <pc:sldChg chg="addSp delSp modSp mod">
        <pc:chgData name="Johanna Marx" userId="f7883e6b-b8f5-49bd-97ed-29afbba9d34b" providerId="ADAL" clId="{3FB5D714-E125-4641-BF90-3447CB5D2DA3}" dt="2025-02-02T11:33:28.473" v="9419" actId="255"/>
        <pc:sldMkLst>
          <pc:docMk/>
          <pc:sldMk cId="2173768082" sldId="446"/>
        </pc:sldMkLst>
        <pc:spChg chg="add mod">
          <ac:chgData name="Johanna Marx" userId="f7883e6b-b8f5-49bd-97ed-29afbba9d34b" providerId="ADAL" clId="{3FB5D714-E125-4641-BF90-3447CB5D2DA3}" dt="2025-01-31T11:31:53.433" v="4667" actId="1035"/>
          <ac:spMkLst>
            <pc:docMk/>
            <pc:sldMk cId="2173768082" sldId="446"/>
            <ac:spMk id="8" creationId="{BD1090D1-9F70-1974-E855-F1D67A8044FF}"/>
          </ac:spMkLst>
        </pc:spChg>
        <pc:spChg chg="add mod">
          <ac:chgData name="Johanna Marx" userId="f7883e6b-b8f5-49bd-97ed-29afbba9d34b" providerId="ADAL" clId="{3FB5D714-E125-4641-BF90-3447CB5D2DA3}" dt="2025-01-31T11:31:53.433" v="4667" actId="1035"/>
          <ac:spMkLst>
            <pc:docMk/>
            <pc:sldMk cId="2173768082" sldId="446"/>
            <ac:spMk id="9" creationId="{35B3D283-268E-C499-803E-BDCB808EAE02}"/>
          </ac:spMkLst>
        </pc:spChg>
        <pc:spChg chg="add mod">
          <ac:chgData name="Johanna Marx" userId="f7883e6b-b8f5-49bd-97ed-29afbba9d34b" providerId="ADAL" clId="{3FB5D714-E125-4641-BF90-3447CB5D2DA3}" dt="2025-02-02T11:33:28.473" v="9419" actId="255"/>
          <ac:spMkLst>
            <pc:docMk/>
            <pc:sldMk cId="2173768082" sldId="446"/>
            <ac:spMk id="12" creationId="{D5C3C06F-FDAE-D38B-F384-875235F6AE3F}"/>
          </ac:spMkLst>
        </pc:spChg>
        <pc:spChg chg="add mod">
          <ac:chgData name="Johanna Marx" userId="f7883e6b-b8f5-49bd-97ed-29afbba9d34b" providerId="ADAL" clId="{3FB5D714-E125-4641-BF90-3447CB5D2DA3}" dt="2025-01-31T11:32:42.035" v="4752" actId="20577"/>
          <ac:spMkLst>
            <pc:docMk/>
            <pc:sldMk cId="2173768082" sldId="446"/>
            <ac:spMk id="13" creationId="{6998F017-BEC8-2D1B-9D4F-372C0AE95952}"/>
          </ac:spMkLst>
        </pc:spChg>
        <pc:spChg chg="add mod">
          <ac:chgData name="Johanna Marx" userId="f7883e6b-b8f5-49bd-97ed-29afbba9d34b" providerId="ADAL" clId="{3FB5D714-E125-4641-BF90-3447CB5D2DA3}" dt="2025-01-31T11:33:17.106" v="4809" actId="1035"/>
          <ac:spMkLst>
            <pc:docMk/>
            <pc:sldMk cId="2173768082" sldId="446"/>
            <ac:spMk id="14" creationId="{96D02769-BE21-8E78-7ED1-CAD577B2D5AC}"/>
          </ac:spMkLst>
        </pc:spChg>
        <pc:graphicFrameChg chg="add mod modGraphic">
          <ac:chgData name="Johanna Marx" userId="f7883e6b-b8f5-49bd-97ed-29afbba9d34b" providerId="ADAL" clId="{3FB5D714-E125-4641-BF90-3447CB5D2DA3}" dt="2025-01-31T11:30:00.632" v="4558"/>
          <ac:graphicFrameMkLst>
            <pc:docMk/>
            <pc:sldMk cId="2173768082" sldId="446"/>
            <ac:graphicFrameMk id="6" creationId="{BB12A092-1811-8CE6-30C0-20D7061E4525}"/>
          </ac:graphicFrameMkLst>
        </pc:graphicFrameChg>
        <pc:picChg chg="add mod">
          <ac:chgData name="Johanna Marx" userId="f7883e6b-b8f5-49bd-97ed-29afbba9d34b" providerId="ADAL" clId="{3FB5D714-E125-4641-BF90-3447CB5D2DA3}" dt="2025-01-31T11:31:53.433" v="4667" actId="1035"/>
          <ac:picMkLst>
            <pc:docMk/>
            <pc:sldMk cId="2173768082" sldId="446"/>
            <ac:picMk id="10" creationId="{E237EB81-56B8-04C5-E3AB-FAFCEEAADFD5}"/>
          </ac:picMkLst>
        </pc:picChg>
      </pc:sldChg>
      <pc:sldChg chg="addSp delSp modSp mod">
        <pc:chgData name="Johanna Marx" userId="f7883e6b-b8f5-49bd-97ed-29afbba9d34b" providerId="ADAL" clId="{3FB5D714-E125-4641-BF90-3447CB5D2DA3}" dt="2025-02-02T11:35:26.825" v="9468" actId="255"/>
        <pc:sldMkLst>
          <pc:docMk/>
          <pc:sldMk cId="1795976439" sldId="447"/>
        </pc:sldMkLst>
        <pc:spChg chg="add mod">
          <ac:chgData name="Johanna Marx" userId="f7883e6b-b8f5-49bd-97ed-29afbba9d34b" providerId="ADAL" clId="{3FB5D714-E125-4641-BF90-3447CB5D2DA3}" dt="2025-02-02T11:34:50.770" v="9455" actId="1038"/>
          <ac:spMkLst>
            <pc:docMk/>
            <pc:sldMk cId="1795976439" sldId="447"/>
            <ac:spMk id="2" creationId="{E4BEE234-0181-4CDF-4B9C-30D8BBDC3893}"/>
          </ac:spMkLst>
        </pc:spChg>
        <pc:spChg chg="mod">
          <ac:chgData name="Johanna Marx" userId="f7883e6b-b8f5-49bd-97ed-29afbba9d34b" providerId="ADAL" clId="{3FB5D714-E125-4641-BF90-3447CB5D2DA3}" dt="2025-02-02T11:35:09.753" v="9467" actId="1076"/>
          <ac:spMkLst>
            <pc:docMk/>
            <pc:sldMk cId="1795976439" sldId="447"/>
            <ac:spMk id="7" creationId="{07040397-228E-6D70-AECA-AD5770BA7339}"/>
          </ac:spMkLst>
        </pc:spChg>
        <pc:spChg chg="add mod">
          <ac:chgData name="Johanna Marx" userId="f7883e6b-b8f5-49bd-97ed-29afbba9d34b" providerId="ADAL" clId="{3FB5D714-E125-4641-BF90-3447CB5D2DA3}" dt="2025-02-02T11:35:01.223" v="9465" actId="1036"/>
          <ac:spMkLst>
            <pc:docMk/>
            <pc:sldMk cId="1795976439" sldId="447"/>
            <ac:spMk id="11" creationId="{26D2C7C1-BD28-11E7-AF0A-F425C5E6AC9E}"/>
          </ac:spMkLst>
        </pc:spChg>
        <pc:spChg chg="add mod">
          <ac:chgData name="Johanna Marx" userId="f7883e6b-b8f5-49bd-97ed-29afbba9d34b" providerId="ADAL" clId="{3FB5D714-E125-4641-BF90-3447CB5D2DA3}" dt="2025-02-02T11:35:01.223" v="9465" actId="1036"/>
          <ac:spMkLst>
            <pc:docMk/>
            <pc:sldMk cId="1795976439" sldId="447"/>
            <ac:spMk id="17" creationId="{F2920F26-A097-8C1A-B954-06672661E69E}"/>
          </ac:spMkLst>
        </pc:spChg>
        <pc:spChg chg="add mod">
          <ac:chgData name="Johanna Marx" userId="f7883e6b-b8f5-49bd-97ed-29afbba9d34b" providerId="ADAL" clId="{3FB5D714-E125-4641-BF90-3447CB5D2DA3}" dt="2025-02-02T11:35:01.223" v="9465" actId="1036"/>
          <ac:spMkLst>
            <pc:docMk/>
            <pc:sldMk cId="1795976439" sldId="447"/>
            <ac:spMk id="20" creationId="{C2C0C8CF-1DF9-8889-7D91-BDE71E748980}"/>
          </ac:spMkLst>
        </pc:spChg>
        <pc:spChg chg="add mod">
          <ac:chgData name="Johanna Marx" userId="f7883e6b-b8f5-49bd-97ed-29afbba9d34b" providerId="ADAL" clId="{3FB5D714-E125-4641-BF90-3447CB5D2DA3}" dt="2025-02-02T11:35:01.223" v="9465" actId="1036"/>
          <ac:spMkLst>
            <pc:docMk/>
            <pc:sldMk cId="1795976439" sldId="447"/>
            <ac:spMk id="22" creationId="{495D73BF-1B0D-CA60-EBA2-1EF73218FA51}"/>
          </ac:spMkLst>
        </pc:spChg>
        <pc:spChg chg="add mod">
          <ac:chgData name="Johanna Marx" userId="f7883e6b-b8f5-49bd-97ed-29afbba9d34b" providerId="ADAL" clId="{3FB5D714-E125-4641-BF90-3447CB5D2DA3}" dt="2025-02-02T11:35:01.223" v="9465" actId="1036"/>
          <ac:spMkLst>
            <pc:docMk/>
            <pc:sldMk cId="1795976439" sldId="447"/>
            <ac:spMk id="23" creationId="{0CC4F261-8730-5092-41EC-80CA6A0D2380}"/>
          </ac:spMkLst>
        </pc:spChg>
        <pc:spChg chg="mod">
          <ac:chgData name="Johanna Marx" userId="f7883e6b-b8f5-49bd-97ed-29afbba9d34b" providerId="ADAL" clId="{3FB5D714-E125-4641-BF90-3447CB5D2DA3}" dt="2025-01-31T11:38:05.820" v="4922"/>
          <ac:spMkLst>
            <pc:docMk/>
            <pc:sldMk cId="1795976439" sldId="447"/>
            <ac:spMk id="25" creationId="{CC364115-12CD-38BE-5661-BBF90640CF84}"/>
          </ac:spMkLst>
        </pc:spChg>
        <pc:spChg chg="add mod">
          <ac:chgData name="Johanna Marx" userId="f7883e6b-b8f5-49bd-97ed-29afbba9d34b" providerId="ADAL" clId="{3FB5D714-E125-4641-BF90-3447CB5D2DA3}" dt="2025-02-02T11:35:26.825" v="9468" actId="255"/>
          <ac:spMkLst>
            <pc:docMk/>
            <pc:sldMk cId="1795976439" sldId="447"/>
            <ac:spMk id="30" creationId="{1EA168AD-D855-0491-A5FC-14C7D9AEBF5A}"/>
          </ac:spMkLst>
        </pc:spChg>
        <pc:spChg chg="add mod">
          <ac:chgData name="Johanna Marx" userId="f7883e6b-b8f5-49bd-97ed-29afbba9d34b" providerId="ADAL" clId="{3FB5D714-E125-4641-BF90-3447CB5D2DA3}" dt="2025-02-02T11:35:26.825" v="9468" actId="255"/>
          <ac:spMkLst>
            <pc:docMk/>
            <pc:sldMk cId="1795976439" sldId="447"/>
            <ac:spMk id="32" creationId="{2CE4547D-2AFC-783C-EB1E-9EE25F775F14}"/>
          </ac:spMkLst>
        </pc:spChg>
        <pc:grpChg chg="mod">
          <ac:chgData name="Johanna Marx" userId="f7883e6b-b8f5-49bd-97ed-29afbba9d34b" providerId="ADAL" clId="{3FB5D714-E125-4641-BF90-3447CB5D2DA3}" dt="2025-02-02T11:35:01.223" v="9465" actId="1036"/>
          <ac:grpSpMkLst>
            <pc:docMk/>
            <pc:sldMk cId="1795976439" sldId="447"/>
            <ac:grpSpMk id="24" creationId="{3E581880-7FEC-EA5F-997E-F6257C0C31DE}"/>
          </ac:grpSpMkLst>
        </pc:grpChg>
        <pc:picChg chg="mod">
          <ac:chgData name="Johanna Marx" userId="f7883e6b-b8f5-49bd-97ed-29afbba9d34b" providerId="ADAL" clId="{3FB5D714-E125-4641-BF90-3447CB5D2DA3}" dt="2025-01-31T11:46:02.329" v="5024" actId="1076"/>
          <ac:picMkLst>
            <pc:docMk/>
            <pc:sldMk cId="1795976439" sldId="447"/>
            <ac:picMk id="18" creationId="{08B5F847-9091-BAEC-60BE-D408D73E5947}"/>
          </ac:picMkLst>
        </pc:picChg>
        <pc:picChg chg="add mod">
          <ac:chgData name="Johanna Marx" userId="f7883e6b-b8f5-49bd-97ed-29afbba9d34b" providerId="ADAL" clId="{3FB5D714-E125-4641-BF90-3447CB5D2DA3}" dt="2025-02-02T11:35:01.223" v="9465" actId="1036"/>
          <ac:picMkLst>
            <pc:docMk/>
            <pc:sldMk cId="1795976439" sldId="447"/>
            <ac:picMk id="19" creationId="{7AB31A8B-835F-AFBB-A160-30B7C754DCC3}"/>
          </ac:picMkLst>
        </pc:picChg>
        <pc:picChg chg="mod">
          <ac:chgData name="Johanna Marx" userId="f7883e6b-b8f5-49bd-97ed-29afbba9d34b" providerId="ADAL" clId="{3FB5D714-E125-4641-BF90-3447CB5D2DA3}" dt="2025-01-31T11:46:02.329" v="5024" actId="1076"/>
          <ac:picMkLst>
            <pc:docMk/>
            <pc:sldMk cId="1795976439" sldId="447"/>
            <ac:picMk id="21" creationId="{9507CA95-70C2-518D-D37D-990F195973BA}"/>
          </ac:picMkLst>
        </pc:picChg>
        <pc:picChg chg="mod">
          <ac:chgData name="Johanna Marx" userId="f7883e6b-b8f5-49bd-97ed-29afbba9d34b" providerId="ADAL" clId="{3FB5D714-E125-4641-BF90-3447CB5D2DA3}" dt="2025-01-31T11:38:05.820" v="4922"/>
          <ac:picMkLst>
            <pc:docMk/>
            <pc:sldMk cId="1795976439" sldId="447"/>
            <ac:picMk id="26" creationId="{622CDB58-5868-8EEF-B79D-AE01CAA19671}"/>
          </ac:picMkLst>
        </pc:picChg>
      </pc:sldChg>
      <pc:sldChg chg="addSp delSp modSp mod modClrScheme chgLayout">
        <pc:chgData name="Johanna Marx" userId="f7883e6b-b8f5-49bd-97ed-29afbba9d34b" providerId="ADAL" clId="{3FB5D714-E125-4641-BF90-3447CB5D2DA3}" dt="2025-02-02T11:37:01.681" v="9472" actId="1076"/>
        <pc:sldMkLst>
          <pc:docMk/>
          <pc:sldMk cId="40871408" sldId="449"/>
        </pc:sldMkLst>
        <pc:spChg chg="add mod">
          <ac:chgData name="Johanna Marx" userId="f7883e6b-b8f5-49bd-97ed-29afbba9d34b" providerId="ADAL" clId="{3FB5D714-E125-4641-BF90-3447CB5D2DA3}" dt="2025-01-31T11:46:51.549" v="5026"/>
          <ac:spMkLst>
            <pc:docMk/>
            <pc:sldMk cId="40871408" sldId="449"/>
            <ac:spMk id="2" creationId="{3E4644F9-F74E-9ED3-24AD-4CDF9EB0160C}"/>
          </ac:spMkLst>
        </pc:spChg>
        <pc:spChg chg="add mod">
          <ac:chgData name="Johanna Marx" userId="f7883e6b-b8f5-49bd-97ed-29afbba9d34b" providerId="ADAL" clId="{3FB5D714-E125-4641-BF90-3447CB5D2DA3}" dt="2025-01-31T11:49:49.661" v="5181" actId="1036"/>
          <ac:spMkLst>
            <pc:docMk/>
            <pc:sldMk cId="40871408" sldId="449"/>
            <ac:spMk id="4" creationId="{C96108EF-86F4-24DC-C88E-28C1E1675271}"/>
          </ac:spMkLst>
        </pc:spChg>
        <pc:spChg chg="add mod">
          <ac:chgData name="Johanna Marx" userId="f7883e6b-b8f5-49bd-97ed-29afbba9d34b" providerId="ADAL" clId="{3FB5D714-E125-4641-BF90-3447CB5D2DA3}" dt="2025-01-31T11:49:49.661" v="5181" actId="1036"/>
          <ac:spMkLst>
            <pc:docMk/>
            <pc:sldMk cId="40871408" sldId="449"/>
            <ac:spMk id="6" creationId="{E691012F-F8C7-CE8B-3ADE-30C1DF576FF4}"/>
          </ac:spMkLst>
        </pc:spChg>
        <pc:spChg chg="add mod">
          <ac:chgData name="Johanna Marx" userId="f7883e6b-b8f5-49bd-97ed-29afbba9d34b" providerId="ADAL" clId="{3FB5D714-E125-4641-BF90-3447CB5D2DA3}" dt="2025-02-02T11:36:31.381" v="9469" actId="255"/>
          <ac:spMkLst>
            <pc:docMk/>
            <pc:sldMk cId="40871408" sldId="449"/>
            <ac:spMk id="11" creationId="{79124305-4F1A-1BED-8787-CFE159A3F73A}"/>
          </ac:spMkLst>
        </pc:spChg>
        <pc:spChg chg="add mod">
          <ac:chgData name="Johanna Marx" userId="f7883e6b-b8f5-49bd-97ed-29afbba9d34b" providerId="ADAL" clId="{3FB5D714-E125-4641-BF90-3447CB5D2DA3}" dt="2025-01-31T11:49:49.661" v="5181" actId="1036"/>
          <ac:spMkLst>
            <pc:docMk/>
            <pc:sldMk cId="40871408" sldId="449"/>
            <ac:spMk id="12" creationId="{FA3DA275-E874-2EF1-121A-A176BEAFA6BF}"/>
          </ac:spMkLst>
        </pc:spChg>
        <pc:spChg chg="mod ord">
          <ac:chgData name="Johanna Marx" userId="f7883e6b-b8f5-49bd-97ed-29afbba9d34b" providerId="ADAL" clId="{3FB5D714-E125-4641-BF90-3447CB5D2DA3}" dt="2025-01-31T11:51:19.320" v="5307" actId="700"/>
          <ac:spMkLst>
            <pc:docMk/>
            <pc:sldMk cId="40871408" sldId="449"/>
            <ac:spMk id="15" creationId="{F558FF3A-D0CA-2618-B118-4510201FB3D0}"/>
          </ac:spMkLst>
        </pc:spChg>
        <pc:spChg chg="add mod">
          <ac:chgData name="Johanna Marx" userId="f7883e6b-b8f5-49bd-97ed-29afbba9d34b" providerId="ADAL" clId="{3FB5D714-E125-4641-BF90-3447CB5D2DA3}" dt="2025-01-31T11:50:14.100" v="5230"/>
          <ac:spMkLst>
            <pc:docMk/>
            <pc:sldMk cId="40871408" sldId="449"/>
            <ac:spMk id="19" creationId="{82A9FF60-6F46-40A8-D93E-72720C11479B}"/>
          </ac:spMkLst>
        </pc:spChg>
        <pc:spChg chg="add mod">
          <ac:chgData name="Johanna Marx" userId="f7883e6b-b8f5-49bd-97ed-29afbba9d34b" providerId="ADAL" clId="{3FB5D714-E125-4641-BF90-3447CB5D2DA3}" dt="2025-01-31T11:50:25.963" v="5232" actId="1076"/>
          <ac:spMkLst>
            <pc:docMk/>
            <pc:sldMk cId="40871408" sldId="449"/>
            <ac:spMk id="25" creationId="{6BE55392-60AF-93BF-C509-A1B477DC059C}"/>
          </ac:spMkLst>
        </pc:spChg>
        <pc:spChg chg="add mod">
          <ac:chgData name="Johanna Marx" userId="f7883e6b-b8f5-49bd-97ed-29afbba9d34b" providerId="ADAL" clId="{3FB5D714-E125-4641-BF90-3447CB5D2DA3}" dt="2025-02-02T11:36:31.381" v="9469" actId="255"/>
          <ac:spMkLst>
            <pc:docMk/>
            <pc:sldMk cId="40871408" sldId="449"/>
            <ac:spMk id="26" creationId="{17AB6FE6-2BBE-86A6-FA1A-CA71AED0ED99}"/>
          </ac:spMkLst>
        </pc:spChg>
        <pc:spChg chg="add mod">
          <ac:chgData name="Johanna Marx" userId="f7883e6b-b8f5-49bd-97ed-29afbba9d34b" providerId="ADAL" clId="{3FB5D714-E125-4641-BF90-3447CB5D2DA3}" dt="2025-01-31T11:50:32.410" v="5234" actId="20577"/>
          <ac:spMkLst>
            <pc:docMk/>
            <pc:sldMk cId="40871408" sldId="449"/>
            <ac:spMk id="27" creationId="{13AD1FC6-DFCF-E11B-E7A0-7E8A74A61ED6}"/>
          </ac:spMkLst>
        </pc:spChg>
        <pc:spChg chg="add mod">
          <ac:chgData name="Johanna Marx" userId="f7883e6b-b8f5-49bd-97ed-29afbba9d34b" providerId="ADAL" clId="{3FB5D714-E125-4641-BF90-3447CB5D2DA3}" dt="2025-01-31T11:50:56.216" v="5305"/>
          <ac:spMkLst>
            <pc:docMk/>
            <pc:sldMk cId="40871408" sldId="449"/>
            <ac:spMk id="28" creationId="{C8BC4090-6DA9-7C43-D241-C603C0873E65}"/>
          </ac:spMkLst>
        </pc:spChg>
        <pc:spChg chg="add mod">
          <ac:chgData name="Johanna Marx" userId="f7883e6b-b8f5-49bd-97ed-29afbba9d34b" providerId="ADAL" clId="{3FB5D714-E125-4641-BF90-3447CB5D2DA3}" dt="2025-02-02T11:37:01.681" v="9472" actId="1076"/>
          <ac:spMkLst>
            <pc:docMk/>
            <pc:sldMk cId="40871408" sldId="449"/>
            <ac:spMk id="32" creationId="{A07EE763-8943-9B28-2EBE-10417881BA39}"/>
          </ac:spMkLst>
        </pc:spChg>
        <pc:spChg chg="add mod">
          <ac:chgData name="Johanna Marx" userId="f7883e6b-b8f5-49bd-97ed-29afbba9d34b" providerId="ADAL" clId="{3FB5D714-E125-4641-BF90-3447CB5D2DA3}" dt="2025-02-02T11:37:01.681" v="9472" actId="1076"/>
          <ac:spMkLst>
            <pc:docMk/>
            <pc:sldMk cId="40871408" sldId="449"/>
            <ac:spMk id="33" creationId="{A33B0DC8-F873-A6C1-EB99-A438E35ADD04}"/>
          </ac:spMkLst>
        </pc:spChg>
        <pc:spChg chg="add mod">
          <ac:chgData name="Johanna Marx" userId="f7883e6b-b8f5-49bd-97ed-29afbba9d34b" providerId="ADAL" clId="{3FB5D714-E125-4641-BF90-3447CB5D2DA3}" dt="2025-02-02T11:37:01.681" v="9472" actId="1076"/>
          <ac:spMkLst>
            <pc:docMk/>
            <pc:sldMk cId="40871408" sldId="449"/>
            <ac:spMk id="35" creationId="{0A10FFE0-7982-129D-37B8-0DC11CE228C4}"/>
          </ac:spMkLst>
        </pc:spChg>
        <pc:spChg chg="add mod">
          <ac:chgData name="Johanna Marx" userId="f7883e6b-b8f5-49bd-97ed-29afbba9d34b" providerId="ADAL" clId="{3FB5D714-E125-4641-BF90-3447CB5D2DA3}" dt="2025-02-02T11:37:01.681" v="9472" actId="1076"/>
          <ac:spMkLst>
            <pc:docMk/>
            <pc:sldMk cId="40871408" sldId="449"/>
            <ac:spMk id="36" creationId="{C6E73C85-4B6F-6452-A847-D3314A843DD2}"/>
          </ac:spMkLst>
        </pc:spChg>
        <pc:spChg chg="add mod">
          <ac:chgData name="Johanna Marx" userId="f7883e6b-b8f5-49bd-97ed-29afbba9d34b" providerId="ADAL" clId="{3FB5D714-E125-4641-BF90-3447CB5D2DA3}" dt="2025-02-02T11:37:01.681" v="9472" actId="1076"/>
          <ac:spMkLst>
            <pc:docMk/>
            <pc:sldMk cId="40871408" sldId="449"/>
            <ac:spMk id="38" creationId="{922104CE-9575-3B24-2116-EBD5827CD0F2}"/>
          </ac:spMkLst>
        </pc:spChg>
        <pc:graphicFrameChg chg="add mod modGraphic">
          <ac:chgData name="Johanna Marx" userId="f7883e6b-b8f5-49bd-97ed-29afbba9d34b" providerId="ADAL" clId="{3FB5D714-E125-4641-BF90-3447CB5D2DA3}" dt="2025-01-31T11:49:39.002" v="5130" actId="6549"/>
          <ac:graphicFrameMkLst>
            <pc:docMk/>
            <pc:sldMk cId="40871408" sldId="449"/>
            <ac:graphicFrameMk id="3" creationId="{43858CC6-0BBC-8CAA-471F-722CCE4A6BCB}"/>
          </ac:graphicFrameMkLst>
        </pc:graphicFrameChg>
        <pc:picChg chg="add mod">
          <ac:chgData name="Johanna Marx" userId="f7883e6b-b8f5-49bd-97ed-29afbba9d34b" providerId="ADAL" clId="{3FB5D714-E125-4641-BF90-3447CB5D2DA3}" dt="2025-01-31T11:49:49.661" v="5181" actId="1036"/>
          <ac:picMkLst>
            <pc:docMk/>
            <pc:sldMk cId="40871408" sldId="449"/>
            <ac:picMk id="10" creationId="{5EB45D41-A2E8-D4DB-2D8B-A181E709C153}"/>
          </ac:picMkLst>
        </pc:picChg>
        <pc:picChg chg="add mod">
          <ac:chgData name="Johanna Marx" userId="f7883e6b-b8f5-49bd-97ed-29afbba9d34b" providerId="ADAL" clId="{3FB5D714-E125-4641-BF90-3447CB5D2DA3}" dt="2025-02-02T11:37:01.681" v="9472" actId="1076"/>
          <ac:picMkLst>
            <pc:docMk/>
            <pc:sldMk cId="40871408" sldId="449"/>
            <ac:picMk id="34" creationId="{1DDB3AEA-B82E-7B3F-BB52-40DF3623139C}"/>
          </ac:picMkLst>
        </pc:picChg>
        <pc:picChg chg="add mod">
          <ac:chgData name="Johanna Marx" userId="f7883e6b-b8f5-49bd-97ed-29afbba9d34b" providerId="ADAL" clId="{3FB5D714-E125-4641-BF90-3447CB5D2DA3}" dt="2025-02-02T11:37:01.681" v="9472" actId="1076"/>
          <ac:picMkLst>
            <pc:docMk/>
            <pc:sldMk cId="40871408" sldId="449"/>
            <ac:picMk id="37" creationId="{783F5A9A-CF35-7648-4DE9-A1B308E39CAA}"/>
          </ac:picMkLst>
        </pc:picChg>
      </pc:sldChg>
      <pc:sldChg chg="addSp delSp modSp mod modClrScheme chgLayout">
        <pc:chgData name="Johanna Marx" userId="f7883e6b-b8f5-49bd-97ed-29afbba9d34b" providerId="ADAL" clId="{3FB5D714-E125-4641-BF90-3447CB5D2DA3}" dt="2025-02-02T11:57:06.042" v="9640" actId="1076"/>
        <pc:sldMkLst>
          <pc:docMk/>
          <pc:sldMk cId="1212062671" sldId="452"/>
        </pc:sldMkLst>
        <pc:spChg chg="mod ord">
          <ac:chgData name="Johanna Marx" userId="f7883e6b-b8f5-49bd-97ed-29afbba9d34b" providerId="ADAL" clId="{3FB5D714-E125-4641-BF90-3447CB5D2DA3}" dt="2025-02-02T10:40:11.546" v="8826" actId="700"/>
          <ac:spMkLst>
            <pc:docMk/>
            <pc:sldMk cId="1212062671" sldId="452"/>
            <ac:spMk id="3" creationId="{2E720F74-6C21-BE3B-855D-75E2441BE21D}"/>
          </ac:spMkLst>
        </pc:spChg>
        <pc:spChg chg="add mod">
          <ac:chgData name="Johanna Marx" userId="f7883e6b-b8f5-49bd-97ed-29afbba9d34b" providerId="ADAL" clId="{3FB5D714-E125-4641-BF90-3447CB5D2DA3}" dt="2025-01-31T13:57:39.653" v="7676" actId="1036"/>
          <ac:spMkLst>
            <pc:docMk/>
            <pc:sldMk cId="1212062671" sldId="452"/>
            <ac:spMk id="10" creationId="{DDE7156D-D2C4-8570-E746-E53C927BFAAB}"/>
          </ac:spMkLst>
        </pc:spChg>
        <pc:spChg chg="add mod">
          <ac:chgData name="Johanna Marx" userId="f7883e6b-b8f5-49bd-97ed-29afbba9d34b" providerId="ADAL" clId="{3FB5D714-E125-4641-BF90-3447CB5D2DA3}" dt="2025-01-31T13:57:39.653" v="7676" actId="1036"/>
          <ac:spMkLst>
            <pc:docMk/>
            <pc:sldMk cId="1212062671" sldId="452"/>
            <ac:spMk id="12" creationId="{69416713-DE54-C94C-31FE-7D5CEDF8C145}"/>
          </ac:spMkLst>
        </pc:spChg>
        <pc:spChg chg="add mod">
          <ac:chgData name="Johanna Marx" userId="f7883e6b-b8f5-49bd-97ed-29afbba9d34b" providerId="ADAL" clId="{3FB5D714-E125-4641-BF90-3447CB5D2DA3}" dt="2025-01-31T13:57:39.653" v="7676" actId="1036"/>
          <ac:spMkLst>
            <pc:docMk/>
            <pc:sldMk cId="1212062671" sldId="452"/>
            <ac:spMk id="14" creationId="{24768466-ED32-912B-C601-2BBB7F54E7E3}"/>
          </ac:spMkLst>
        </pc:spChg>
        <pc:spChg chg="add mod">
          <ac:chgData name="Johanna Marx" userId="f7883e6b-b8f5-49bd-97ed-29afbba9d34b" providerId="ADAL" clId="{3FB5D714-E125-4641-BF90-3447CB5D2DA3}" dt="2025-02-02T11:56:49.357" v="9639" actId="14100"/>
          <ac:spMkLst>
            <pc:docMk/>
            <pc:sldMk cId="1212062671" sldId="452"/>
            <ac:spMk id="15" creationId="{B8BC3293-6A76-F266-CE7E-37A486215AAE}"/>
          </ac:spMkLst>
        </pc:spChg>
        <pc:spChg chg="add mod">
          <ac:chgData name="Johanna Marx" userId="f7883e6b-b8f5-49bd-97ed-29afbba9d34b" providerId="ADAL" clId="{3FB5D714-E125-4641-BF90-3447CB5D2DA3}" dt="2025-01-31T13:57:53.105" v="7679" actId="14100"/>
          <ac:spMkLst>
            <pc:docMk/>
            <pc:sldMk cId="1212062671" sldId="452"/>
            <ac:spMk id="18" creationId="{DCDC5C63-39E5-EFE1-ED7C-8C9DD0DA3BB5}"/>
          </ac:spMkLst>
        </pc:spChg>
        <pc:graphicFrameChg chg="add mod modGraphic">
          <ac:chgData name="Johanna Marx" userId="f7883e6b-b8f5-49bd-97ed-29afbba9d34b" providerId="ADAL" clId="{3FB5D714-E125-4641-BF90-3447CB5D2DA3}" dt="2025-02-02T11:57:06.042" v="9640" actId="1076"/>
          <ac:graphicFrameMkLst>
            <pc:docMk/>
            <pc:sldMk cId="1212062671" sldId="452"/>
            <ac:graphicFrameMk id="8" creationId="{BEBB5852-0A17-66C6-DB5F-A40DDC499642}"/>
          </ac:graphicFrameMkLst>
        </pc:graphicFrameChg>
        <pc:picChg chg="mod">
          <ac:chgData name="Johanna Marx" userId="f7883e6b-b8f5-49bd-97ed-29afbba9d34b" providerId="ADAL" clId="{3FB5D714-E125-4641-BF90-3447CB5D2DA3}" dt="2025-01-31T13:55:09.638" v="7511" actId="14100"/>
          <ac:picMkLst>
            <pc:docMk/>
            <pc:sldMk cId="1212062671" sldId="452"/>
            <ac:picMk id="2" creationId="{C85F922A-DF1A-3706-D5D2-299AD5284C2C}"/>
          </ac:picMkLst>
        </pc:picChg>
        <pc:picChg chg="mod">
          <ac:chgData name="Johanna Marx" userId="f7883e6b-b8f5-49bd-97ed-29afbba9d34b" providerId="ADAL" clId="{3FB5D714-E125-4641-BF90-3447CB5D2DA3}" dt="2025-01-31T13:54:57.704" v="7508" actId="1076"/>
          <ac:picMkLst>
            <pc:docMk/>
            <pc:sldMk cId="1212062671" sldId="452"/>
            <ac:picMk id="6" creationId="{62979016-636D-8A14-5090-781C35B6F367}"/>
          </ac:picMkLst>
        </pc:picChg>
        <pc:picChg chg="add mod">
          <ac:chgData name="Johanna Marx" userId="f7883e6b-b8f5-49bd-97ed-29afbba9d34b" providerId="ADAL" clId="{3FB5D714-E125-4641-BF90-3447CB5D2DA3}" dt="2025-01-31T13:57:39.653" v="7676" actId="1036"/>
          <ac:picMkLst>
            <pc:docMk/>
            <pc:sldMk cId="1212062671" sldId="452"/>
            <ac:picMk id="13" creationId="{8A09C101-310B-13A2-680D-29E4857CEC8E}"/>
          </ac:picMkLst>
        </pc:picChg>
      </pc:sldChg>
      <pc:sldChg chg="addSp delSp modSp mod setBg modClrScheme chgLayout">
        <pc:chgData name="Johanna Marx" userId="f7883e6b-b8f5-49bd-97ed-29afbba9d34b" providerId="ADAL" clId="{3FB5D714-E125-4641-BF90-3447CB5D2DA3}" dt="2025-02-02T11:59:56.864" v="9647"/>
        <pc:sldMkLst>
          <pc:docMk/>
          <pc:sldMk cId="2230229810" sldId="453"/>
        </pc:sldMkLst>
        <pc:spChg chg="mod ord">
          <ac:chgData name="Johanna Marx" userId="f7883e6b-b8f5-49bd-97ed-29afbba9d34b" providerId="ADAL" clId="{3FB5D714-E125-4641-BF90-3447CB5D2DA3}" dt="2025-01-31T14:14:41.631" v="8486" actId="700"/>
          <ac:spMkLst>
            <pc:docMk/>
            <pc:sldMk cId="2230229810" sldId="453"/>
            <ac:spMk id="3" creationId="{CE08FECA-0BAF-9D0E-C810-D24DA73619EB}"/>
          </ac:spMkLst>
        </pc:spChg>
        <pc:spChg chg="add mod">
          <ac:chgData name="Johanna Marx" userId="f7883e6b-b8f5-49bd-97ed-29afbba9d34b" providerId="ADAL" clId="{3FB5D714-E125-4641-BF90-3447CB5D2DA3}" dt="2025-01-31T14:12:13.524" v="8341" actId="20577"/>
          <ac:spMkLst>
            <pc:docMk/>
            <pc:sldMk cId="2230229810" sldId="453"/>
            <ac:spMk id="17" creationId="{69A0D46B-9E69-4A05-DD75-1DE3160F25A4}"/>
          </ac:spMkLst>
        </pc:spChg>
        <pc:spChg chg="add mod">
          <ac:chgData name="Johanna Marx" userId="f7883e6b-b8f5-49bd-97ed-29afbba9d34b" providerId="ADAL" clId="{3FB5D714-E125-4641-BF90-3447CB5D2DA3}" dt="2025-01-31T14:13:18.304" v="8367" actId="207"/>
          <ac:spMkLst>
            <pc:docMk/>
            <pc:sldMk cId="2230229810" sldId="453"/>
            <ac:spMk id="18" creationId="{DAEA9FBF-2902-ED71-3380-A85BFAB3B12C}"/>
          </ac:spMkLst>
        </pc:spChg>
        <pc:spChg chg="add mod">
          <ac:chgData name="Johanna Marx" userId="f7883e6b-b8f5-49bd-97ed-29afbba9d34b" providerId="ADAL" clId="{3FB5D714-E125-4641-BF90-3447CB5D2DA3}" dt="2025-01-31T14:13:30.074" v="8371" actId="20577"/>
          <ac:spMkLst>
            <pc:docMk/>
            <pc:sldMk cId="2230229810" sldId="453"/>
            <ac:spMk id="20" creationId="{E5B12926-4035-F7AC-7B6F-227A9726A144}"/>
          </ac:spMkLst>
        </pc:spChg>
        <pc:spChg chg="add mod">
          <ac:chgData name="Johanna Marx" userId="f7883e6b-b8f5-49bd-97ed-29afbba9d34b" providerId="ADAL" clId="{3FB5D714-E125-4641-BF90-3447CB5D2DA3}" dt="2025-01-31T14:14:29.516" v="8485" actId="20577"/>
          <ac:spMkLst>
            <pc:docMk/>
            <pc:sldMk cId="2230229810" sldId="453"/>
            <ac:spMk id="21" creationId="{3CADCFF4-46D0-7FB4-53E2-795702722800}"/>
          </ac:spMkLst>
        </pc:spChg>
      </pc:sldChg>
      <pc:sldChg chg="addSp delSp modSp mod modClrScheme chgLayout">
        <pc:chgData name="Johanna Marx" userId="f7883e6b-b8f5-49bd-97ed-29afbba9d34b" providerId="ADAL" clId="{3FB5D714-E125-4641-BF90-3447CB5D2DA3}" dt="2025-02-02T11:51:06.411" v="9518" actId="1076"/>
        <pc:sldMkLst>
          <pc:docMk/>
          <pc:sldMk cId="2609831934" sldId="454"/>
        </pc:sldMkLst>
        <pc:spChg chg="del">
          <ac:chgData name="Johanna Marx" userId="f7883e6b-b8f5-49bd-97ed-29afbba9d34b" providerId="ADAL" clId="{3FB5D714-E125-4641-BF90-3447CB5D2DA3}" dt="2025-02-02T10:41:20.365" v="8838" actId="478"/>
          <ac:spMkLst>
            <pc:docMk/>
            <pc:sldMk cId="2609831934" sldId="454"/>
            <ac:spMk id="2" creationId="{D42CC7D9-CED5-71DD-F429-5D9BBA708543}"/>
          </ac:spMkLst>
        </pc:spChg>
        <pc:spChg chg="mod ord">
          <ac:chgData name="Johanna Marx" userId="f7883e6b-b8f5-49bd-97ed-29afbba9d34b" providerId="ADAL" clId="{3FB5D714-E125-4641-BF90-3447CB5D2DA3}" dt="2025-02-02T10:41:02.632" v="8833" actId="700"/>
          <ac:spMkLst>
            <pc:docMk/>
            <pc:sldMk cId="2609831934" sldId="454"/>
            <ac:spMk id="3" creationId="{800BBC24-67F8-648B-0BD7-C54DC3854CF9}"/>
          </ac:spMkLst>
        </pc:spChg>
        <pc:spChg chg="del">
          <ac:chgData name="Johanna Marx" userId="f7883e6b-b8f5-49bd-97ed-29afbba9d34b" providerId="ADAL" clId="{3FB5D714-E125-4641-BF90-3447CB5D2DA3}" dt="2025-02-02T10:41:13.211" v="8837" actId="478"/>
          <ac:spMkLst>
            <pc:docMk/>
            <pc:sldMk cId="2609831934" sldId="454"/>
            <ac:spMk id="4" creationId="{A0A0E6FD-872F-1CCC-8B18-573A0E5913EB}"/>
          </ac:spMkLst>
        </pc:spChg>
        <pc:spChg chg="del">
          <ac:chgData name="Johanna Marx" userId="f7883e6b-b8f5-49bd-97ed-29afbba9d34b" providerId="ADAL" clId="{3FB5D714-E125-4641-BF90-3447CB5D2DA3}" dt="2025-02-02T10:41:13.211" v="8837" actId="478"/>
          <ac:spMkLst>
            <pc:docMk/>
            <pc:sldMk cId="2609831934" sldId="454"/>
            <ac:spMk id="5" creationId="{04C95918-16F9-9608-9D0D-2ED0CAAA4647}"/>
          </ac:spMkLst>
        </pc:spChg>
        <pc:spChg chg="add del mod ord">
          <ac:chgData name="Johanna Marx" userId="f7883e6b-b8f5-49bd-97ed-29afbba9d34b" providerId="ADAL" clId="{3FB5D714-E125-4641-BF90-3447CB5D2DA3}" dt="2025-02-02T10:41:09.507" v="8836" actId="478"/>
          <ac:spMkLst>
            <pc:docMk/>
            <pc:sldMk cId="2609831934" sldId="454"/>
            <ac:spMk id="7" creationId="{2ECCA908-23E3-7933-B8E0-3150DE1BB15C}"/>
          </ac:spMkLst>
        </pc:spChg>
        <pc:spChg chg="add mod">
          <ac:chgData name="Johanna Marx" userId="f7883e6b-b8f5-49bd-97ed-29afbba9d34b" providerId="ADAL" clId="{3FB5D714-E125-4641-BF90-3447CB5D2DA3}" dt="2025-02-02T11:51:06.411" v="9518" actId="1076"/>
          <ac:spMkLst>
            <pc:docMk/>
            <pc:sldMk cId="2609831934" sldId="454"/>
            <ac:spMk id="10" creationId="{B0E2F13C-6B2D-5022-3F0E-F137D0025BAE}"/>
          </ac:spMkLst>
        </pc:spChg>
        <pc:spChg chg="add del mod ord">
          <ac:chgData name="Johanna Marx" userId="f7883e6b-b8f5-49bd-97ed-29afbba9d34b" providerId="ADAL" clId="{3FB5D714-E125-4641-BF90-3447CB5D2DA3}" dt="2025-02-02T10:41:09.507" v="8836" actId="478"/>
          <ac:spMkLst>
            <pc:docMk/>
            <pc:sldMk cId="2609831934" sldId="454"/>
            <ac:spMk id="11" creationId="{34B8A9F1-7C42-1A0F-E6DF-D062F1291544}"/>
          </ac:spMkLst>
        </pc:spChg>
        <pc:spChg chg="add mod">
          <ac:chgData name="Johanna Marx" userId="f7883e6b-b8f5-49bd-97ed-29afbba9d34b" providerId="ADAL" clId="{3FB5D714-E125-4641-BF90-3447CB5D2DA3}" dt="2025-02-02T11:51:06.411" v="9518" actId="1076"/>
          <ac:spMkLst>
            <pc:docMk/>
            <pc:sldMk cId="2609831934" sldId="454"/>
            <ac:spMk id="12" creationId="{680DEE5F-F991-9C59-B163-0A40300A6FB4}"/>
          </ac:spMkLst>
        </pc:spChg>
        <pc:spChg chg="add mod">
          <ac:chgData name="Johanna Marx" userId="f7883e6b-b8f5-49bd-97ed-29afbba9d34b" providerId="ADAL" clId="{3FB5D714-E125-4641-BF90-3447CB5D2DA3}" dt="2025-02-02T11:51:06.411" v="9518" actId="1076"/>
          <ac:spMkLst>
            <pc:docMk/>
            <pc:sldMk cId="2609831934" sldId="454"/>
            <ac:spMk id="14" creationId="{9967BB3A-9346-014E-C9B0-6A1313042715}"/>
          </ac:spMkLst>
        </pc:spChg>
        <pc:spChg chg="add mod">
          <ac:chgData name="Johanna Marx" userId="f7883e6b-b8f5-49bd-97ed-29afbba9d34b" providerId="ADAL" clId="{3FB5D714-E125-4641-BF90-3447CB5D2DA3}" dt="2025-02-02T11:51:06.411" v="9518" actId="1076"/>
          <ac:spMkLst>
            <pc:docMk/>
            <pc:sldMk cId="2609831934" sldId="454"/>
            <ac:spMk id="15" creationId="{4E90E207-8AD7-AFB8-41F4-E919605995FC}"/>
          </ac:spMkLst>
        </pc:spChg>
        <pc:spChg chg="add del mod ord">
          <ac:chgData name="Johanna Marx" userId="f7883e6b-b8f5-49bd-97ed-29afbba9d34b" providerId="ADAL" clId="{3FB5D714-E125-4641-BF90-3447CB5D2DA3}" dt="2025-02-02T10:41:13.211" v="8837" actId="478"/>
          <ac:spMkLst>
            <pc:docMk/>
            <pc:sldMk cId="2609831934" sldId="454"/>
            <ac:spMk id="17" creationId="{627C9967-D3C9-8AC8-E77C-B20E82A379F5}"/>
          </ac:spMkLst>
        </pc:spChg>
        <pc:spChg chg="add del mod ord">
          <ac:chgData name="Johanna Marx" userId="f7883e6b-b8f5-49bd-97ed-29afbba9d34b" providerId="ADAL" clId="{3FB5D714-E125-4641-BF90-3447CB5D2DA3}" dt="2025-02-02T10:41:09.507" v="8836" actId="478"/>
          <ac:spMkLst>
            <pc:docMk/>
            <pc:sldMk cId="2609831934" sldId="454"/>
            <ac:spMk id="18" creationId="{98E1E429-D3FB-AE62-07BB-76D45434C607}"/>
          </ac:spMkLst>
        </pc:spChg>
        <pc:spChg chg="add del mod ord">
          <ac:chgData name="Johanna Marx" userId="f7883e6b-b8f5-49bd-97ed-29afbba9d34b" providerId="ADAL" clId="{3FB5D714-E125-4641-BF90-3447CB5D2DA3}" dt="2025-02-02T10:41:30.017" v="8840" actId="478"/>
          <ac:spMkLst>
            <pc:docMk/>
            <pc:sldMk cId="2609831934" sldId="454"/>
            <ac:spMk id="19" creationId="{4395E636-F647-3528-21F5-7C93D358D4D2}"/>
          </ac:spMkLst>
        </pc:spChg>
        <pc:spChg chg="add del mod ord">
          <ac:chgData name="Johanna Marx" userId="f7883e6b-b8f5-49bd-97ed-29afbba9d34b" providerId="ADAL" clId="{3FB5D714-E125-4641-BF90-3447CB5D2DA3}" dt="2025-02-02T10:41:30.017" v="8840" actId="478"/>
          <ac:spMkLst>
            <pc:docMk/>
            <pc:sldMk cId="2609831934" sldId="454"/>
            <ac:spMk id="20" creationId="{5F83E6E1-0453-E179-0033-E9517446DBE6}"/>
          </ac:spMkLst>
        </pc:spChg>
        <pc:spChg chg="del">
          <ac:chgData name="Johanna Marx" userId="f7883e6b-b8f5-49bd-97ed-29afbba9d34b" providerId="ADAL" clId="{3FB5D714-E125-4641-BF90-3447CB5D2DA3}" dt="2025-02-02T10:41:13.211" v="8837" actId="478"/>
          <ac:spMkLst>
            <pc:docMk/>
            <pc:sldMk cId="2609831934" sldId="454"/>
            <ac:spMk id="21" creationId="{D7C17FFA-D958-4FDB-46CD-5BFF53FA3046}"/>
          </ac:spMkLst>
        </pc:spChg>
        <pc:spChg chg="add del mod ord">
          <ac:chgData name="Johanna Marx" userId="f7883e6b-b8f5-49bd-97ed-29afbba9d34b" providerId="ADAL" clId="{3FB5D714-E125-4641-BF90-3447CB5D2DA3}" dt="2025-02-02T10:41:09.507" v="8836" actId="478"/>
          <ac:spMkLst>
            <pc:docMk/>
            <pc:sldMk cId="2609831934" sldId="454"/>
            <ac:spMk id="22" creationId="{DB04B386-0BE7-8049-2202-07810FE68B36}"/>
          </ac:spMkLst>
        </pc:spChg>
        <pc:spChg chg="add mod">
          <ac:chgData name="Johanna Marx" userId="f7883e6b-b8f5-49bd-97ed-29afbba9d34b" providerId="ADAL" clId="{3FB5D714-E125-4641-BF90-3447CB5D2DA3}" dt="2025-02-02T11:51:06.411" v="9518" actId="1076"/>
          <ac:spMkLst>
            <pc:docMk/>
            <pc:sldMk cId="2609831934" sldId="454"/>
            <ac:spMk id="23" creationId="{B85A4E80-DE93-B2CC-10CA-0E4188407868}"/>
          </ac:spMkLst>
        </pc:spChg>
        <pc:spChg chg="add del mod ord">
          <ac:chgData name="Johanna Marx" userId="f7883e6b-b8f5-49bd-97ed-29afbba9d34b" providerId="ADAL" clId="{3FB5D714-E125-4641-BF90-3447CB5D2DA3}" dt="2025-02-02T10:41:09.507" v="8836" actId="478"/>
          <ac:spMkLst>
            <pc:docMk/>
            <pc:sldMk cId="2609831934" sldId="454"/>
            <ac:spMk id="24" creationId="{30AE555A-1AC2-6E45-27FF-04F4C3BBDCC9}"/>
          </ac:spMkLst>
        </pc:spChg>
        <pc:spChg chg="add del mod ord">
          <ac:chgData name="Johanna Marx" userId="f7883e6b-b8f5-49bd-97ed-29afbba9d34b" providerId="ADAL" clId="{3FB5D714-E125-4641-BF90-3447CB5D2DA3}" dt="2025-02-02T10:41:09.507" v="8836" actId="478"/>
          <ac:spMkLst>
            <pc:docMk/>
            <pc:sldMk cId="2609831934" sldId="454"/>
            <ac:spMk id="25" creationId="{682379F5-1603-BCA4-17B8-23598E2578C3}"/>
          </ac:spMkLst>
        </pc:spChg>
        <pc:graphicFrameChg chg="add mod ord modGraphic">
          <ac:chgData name="Johanna Marx" userId="f7883e6b-b8f5-49bd-97ed-29afbba9d34b" providerId="ADAL" clId="{3FB5D714-E125-4641-BF90-3447CB5D2DA3}" dt="2025-02-02T10:41:27.847" v="8839" actId="167"/>
          <ac:graphicFrameMkLst>
            <pc:docMk/>
            <pc:sldMk cId="2609831934" sldId="454"/>
            <ac:graphicFrameMk id="8" creationId="{C693E1F2-78BE-B0D9-B1A2-76258D2B86C1}"/>
          </ac:graphicFrameMkLst>
        </pc:graphicFrameChg>
        <pc:picChg chg="add mod">
          <ac:chgData name="Johanna Marx" userId="f7883e6b-b8f5-49bd-97ed-29afbba9d34b" providerId="ADAL" clId="{3FB5D714-E125-4641-BF90-3447CB5D2DA3}" dt="2025-02-02T11:51:06.411" v="9518" actId="1076"/>
          <ac:picMkLst>
            <pc:docMk/>
            <pc:sldMk cId="2609831934" sldId="454"/>
            <ac:picMk id="13" creationId="{79AE25A3-A262-5881-4D1B-391EAA875C23}"/>
          </ac:picMkLst>
        </pc:picChg>
      </pc:sldChg>
      <pc:sldChg chg="addSp delSp modSp mod">
        <pc:chgData name="Johanna Marx" userId="f7883e6b-b8f5-49bd-97ed-29afbba9d34b" providerId="ADAL" clId="{3FB5D714-E125-4641-BF90-3447CB5D2DA3}" dt="2025-02-02T11:54:17.348" v="9606" actId="1035"/>
        <pc:sldMkLst>
          <pc:docMk/>
          <pc:sldMk cId="100426047" sldId="456"/>
        </pc:sldMkLst>
        <pc:spChg chg="add mod">
          <ac:chgData name="Johanna Marx" userId="f7883e6b-b8f5-49bd-97ed-29afbba9d34b" providerId="ADAL" clId="{3FB5D714-E125-4641-BF90-3447CB5D2DA3}" dt="2025-02-02T11:54:17.348" v="9606" actId="1035"/>
          <ac:spMkLst>
            <pc:docMk/>
            <pc:sldMk cId="100426047" sldId="456"/>
            <ac:spMk id="11" creationId="{17575235-3364-2083-2C81-D3693EBDF27E}"/>
          </ac:spMkLst>
        </pc:spChg>
        <pc:spChg chg="add mod">
          <ac:chgData name="Johanna Marx" userId="f7883e6b-b8f5-49bd-97ed-29afbba9d34b" providerId="ADAL" clId="{3FB5D714-E125-4641-BF90-3447CB5D2DA3}" dt="2025-02-02T11:54:17.348" v="9606" actId="1035"/>
          <ac:spMkLst>
            <pc:docMk/>
            <pc:sldMk cId="100426047" sldId="456"/>
            <ac:spMk id="12" creationId="{C4CC7323-EAA9-212D-216E-E628DF4D7F8F}"/>
          </ac:spMkLst>
        </pc:spChg>
        <pc:spChg chg="add mod">
          <ac:chgData name="Johanna Marx" userId="f7883e6b-b8f5-49bd-97ed-29afbba9d34b" providerId="ADAL" clId="{3FB5D714-E125-4641-BF90-3447CB5D2DA3}" dt="2025-02-02T11:54:17.348" v="9606" actId="1035"/>
          <ac:spMkLst>
            <pc:docMk/>
            <pc:sldMk cId="100426047" sldId="456"/>
            <ac:spMk id="21" creationId="{873ED9C0-677C-3217-3638-B420E5F4AA41}"/>
          </ac:spMkLst>
        </pc:spChg>
        <pc:spChg chg="add mod">
          <ac:chgData name="Johanna Marx" userId="f7883e6b-b8f5-49bd-97ed-29afbba9d34b" providerId="ADAL" clId="{3FB5D714-E125-4641-BF90-3447CB5D2DA3}" dt="2025-02-02T11:54:17.348" v="9606" actId="1035"/>
          <ac:spMkLst>
            <pc:docMk/>
            <pc:sldMk cId="100426047" sldId="456"/>
            <ac:spMk id="22" creationId="{3DE72255-EC4B-6D32-1D62-13838DAC6896}"/>
          </ac:spMkLst>
        </pc:spChg>
        <pc:spChg chg="add mod">
          <ac:chgData name="Johanna Marx" userId="f7883e6b-b8f5-49bd-97ed-29afbba9d34b" providerId="ADAL" clId="{3FB5D714-E125-4641-BF90-3447CB5D2DA3}" dt="2025-02-02T11:54:17.348" v="9606" actId="1035"/>
          <ac:spMkLst>
            <pc:docMk/>
            <pc:sldMk cId="100426047" sldId="456"/>
            <ac:spMk id="23" creationId="{9D5D908C-0635-8C85-D148-AD212AC05370}"/>
          </ac:spMkLst>
        </pc:spChg>
        <pc:graphicFrameChg chg="add mod modGraphic">
          <ac:chgData name="Johanna Marx" userId="f7883e6b-b8f5-49bd-97ed-29afbba9d34b" providerId="ADAL" clId="{3FB5D714-E125-4641-BF90-3447CB5D2DA3}" dt="2025-02-02T11:54:17.348" v="9606" actId="1035"/>
          <ac:graphicFrameMkLst>
            <pc:docMk/>
            <pc:sldMk cId="100426047" sldId="456"/>
            <ac:graphicFrameMk id="9" creationId="{AB6569C3-9EE1-027A-28D4-D403A07CFB6D}"/>
          </ac:graphicFrameMkLst>
        </pc:graphicFrameChg>
        <pc:picChg chg="mod">
          <ac:chgData name="Johanna Marx" userId="f7883e6b-b8f5-49bd-97ed-29afbba9d34b" providerId="ADAL" clId="{3FB5D714-E125-4641-BF90-3447CB5D2DA3}" dt="2025-02-02T11:54:09.413" v="9583" actId="1036"/>
          <ac:picMkLst>
            <pc:docMk/>
            <pc:sldMk cId="100426047" sldId="456"/>
            <ac:picMk id="2" creationId="{368F63F8-584B-F70D-1231-A43CE841AA2C}"/>
          </ac:picMkLst>
        </pc:picChg>
        <pc:picChg chg="mod">
          <ac:chgData name="Johanna Marx" userId="f7883e6b-b8f5-49bd-97ed-29afbba9d34b" providerId="ADAL" clId="{3FB5D714-E125-4641-BF90-3447CB5D2DA3}" dt="2025-02-02T11:54:09.413" v="9583" actId="1036"/>
          <ac:picMkLst>
            <pc:docMk/>
            <pc:sldMk cId="100426047" sldId="456"/>
            <ac:picMk id="6" creationId="{2181FD34-1CEB-1ECF-7124-4D9D04EBDFC1}"/>
          </ac:picMkLst>
        </pc:picChg>
        <pc:picChg chg="mod">
          <ac:chgData name="Johanna Marx" userId="f7883e6b-b8f5-49bd-97ed-29afbba9d34b" providerId="ADAL" clId="{3FB5D714-E125-4641-BF90-3447CB5D2DA3}" dt="2025-02-02T11:54:09.413" v="9583" actId="1036"/>
          <ac:picMkLst>
            <pc:docMk/>
            <pc:sldMk cId="100426047" sldId="456"/>
            <ac:picMk id="8" creationId="{7C246E8F-513D-3EAF-8C80-310132BA6CF0}"/>
          </ac:picMkLst>
        </pc:picChg>
        <pc:picChg chg="add mod">
          <ac:chgData name="Johanna Marx" userId="f7883e6b-b8f5-49bd-97ed-29afbba9d34b" providerId="ADAL" clId="{3FB5D714-E125-4641-BF90-3447CB5D2DA3}" dt="2025-02-02T11:54:17.348" v="9606" actId="1035"/>
          <ac:picMkLst>
            <pc:docMk/>
            <pc:sldMk cId="100426047" sldId="456"/>
            <ac:picMk id="13" creationId="{6206BE89-CE28-2E6B-AC8D-B8A7C8012378}"/>
          </ac:picMkLst>
        </pc:picChg>
        <pc:picChg chg="mod">
          <ac:chgData name="Johanna Marx" userId="f7883e6b-b8f5-49bd-97ed-29afbba9d34b" providerId="ADAL" clId="{3FB5D714-E125-4641-BF90-3447CB5D2DA3}" dt="2025-01-31T13:40:30.420" v="6814" actId="1076"/>
          <ac:picMkLst>
            <pc:docMk/>
            <pc:sldMk cId="100426047" sldId="456"/>
            <ac:picMk id="31" creationId="{F13265C8-4E74-20D3-5118-5F74945DC8A4}"/>
          </ac:picMkLst>
        </pc:picChg>
      </pc:sldChg>
      <pc:sldChg chg="addSp delSp modSp mod setBg modClrScheme chgLayout">
        <pc:chgData name="Johanna Marx" userId="f7883e6b-b8f5-49bd-97ed-29afbba9d34b" providerId="ADAL" clId="{3FB5D714-E125-4641-BF90-3447CB5D2DA3}" dt="2025-02-02T11:17:56.393" v="9264" actId="1035"/>
        <pc:sldMkLst>
          <pc:docMk/>
          <pc:sldMk cId="467972862" sldId="457"/>
        </pc:sldMkLst>
        <pc:spChg chg="mod ord">
          <ac:chgData name="Johanna Marx" userId="f7883e6b-b8f5-49bd-97ed-29afbba9d34b" providerId="ADAL" clId="{3FB5D714-E125-4641-BF90-3447CB5D2DA3}" dt="2025-01-29T16:59:00.883" v="2113" actId="700"/>
          <ac:spMkLst>
            <pc:docMk/>
            <pc:sldMk cId="467972862" sldId="457"/>
            <ac:spMk id="3" creationId="{815F2D5E-D428-52A9-625D-94E5224D4002}"/>
          </ac:spMkLst>
        </pc:spChg>
        <pc:spChg chg="mod">
          <ac:chgData name="Johanna Marx" userId="f7883e6b-b8f5-49bd-97ed-29afbba9d34b" providerId="ADAL" clId="{3FB5D714-E125-4641-BF90-3447CB5D2DA3}" dt="2025-02-02T11:17:56.393" v="9264" actId="1035"/>
          <ac:spMkLst>
            <pc:docMk/>
            <pc:sldMk cId="467972862" sldId="457"/>
            <ac:spMk id="8" creationId="{0B6E2BC9-E8D4-F14A-057D-4A8BDBB2D897}"/>
          </ac:spMkLst>
        </pc:spChg>
        <pc:spChg chg="mod">
          <ac:chgData name="Johanna Marx" userId="f7883e6b-b8f5-49bd-97ed-29afbba9d34b" providerId="ADAL" clId="{3FB5D714-E125-4641-BF90-3447CB5D2DA3}" dt="2025-02-02T11:17:56.393" v="9264" actId="1035"/>
          <ac:spMkLst>
            <pc:docMk/>
            <pc:sldMk cId="467972862" sldId="457"/>
            <ac:spMk id="9" creationId="{A5298FEB-B714-1134-C7EE-B029AA85CF69}"/>
          </ac:spMkLst>
        </pc:spChg>
        <pc:spChg chg="mod">
          <ac:chgData name="Johanna Marx" userId="f7883e6b-b8f5-49bd-97ed-29afbba9d34b" providerId="ADAL" clId="{3FB5D714-E125-4641-BF90-3447CB5D2DA3}" dt="2025-02-02T11:17:56.393" v="9264" actId="1035"/>
          <ac:spMkLst>
            <pc:docMk/>
            <pc:sldMk cId="467972862" sldId="457"/>
            <ac:spMk id="10" creationId="{B3FA41C9-F5DC-FAC6-EFB6-33CB0BA1BB53}"/>
          </ac:spMkLst>
        </pc:spChg>
        <pc:spChg chg="add mod">
          <ac:chgData name="Johanna Marx" userId="f7883e6b-b8f5-49bd-97ed-29afbba9d34b" providerId="ADAL" clId="{3FB5D714-E125-4641-BF90-3447CB5D2DA3}" dt="2025-02-02T11:17:26.569" v="9231" actId="6549"/>
          <ac:spMkLst>
            <pc:docMk/>
            <pc:sldMk cId="467972862" sldId="457"/>
            <ac:spMk id="12" creationId="{A59D2D64-E328-E75C-EF43-6EC332D4F9C0}"/>
          </ac:spMkLst>
        </pc:spChg>
        <pc:spChg chg="add del mod">
          <ac:chgData name="Johanna Marx" userId="f7883e6b-b8f5-49bd-97ed-29afbba9d34b" providerId="ADAL" clId="{3FB5D714-E125-4641-BF90-3447CB5D2DA3}" dt="2025-02-02T11:17:48.905" v="9235" actId="478"/>
          <ac:spMkLst>
            <pc:docMk/>
            <pc:sldMk cId="467972862" sldId="457"/>
            <ac:spMk id="15" creationId="{DF204E89-9ABD-93F5-7A07-D60F5821105C}"/>
          </ac:spMkLst>
        </pc:spChg>
        <pc:spChg chg="add del mod">
          <ac:chgData name="Johanna Marx" userId="f7883e6b-b8f5-49bd-97ed-29afbba9d34b" providerId="ADAL" clId="{3FB5D714-E125-4641-BF90-3447CB5D2DA3}" dt="2025-02-02T11:17:48.905" v="9235" actId="478"/>
          <ac:spMkLst>
            <pc:docMk/>
            <pc:sldMk cId="467972862" sldId="457"/>
            <ac:spMk id="16" creationId="{34FD36E7-5F63-EA3E-98DD-BB66B9F11680}"/>
          </ac:spMkLst>
        </pc:spChg>
        <pc:spChg chg="add mod">
          <ac:chgData name="Johanna Marx" userId="f7883e6b-b8f5-49bd-97ed-29afbba9d34b" providerId="ADAL" clId="{3FB5D714-E125-4641-BF90-3447CB5D2DA3}" dt="2025-02-02T11:17:56.393" v="9264" actId="1035"/>
          <ac:spMkLst>
            <pc:docMk/>
            <pc:sldMk cId="467972862" sldId="457"/>
            <ac:spMk id="25" creationId="{6E36B7E9-9DB2-3185-D7AC-F50779C7EEB2}"/>
          </ac:spMkLst>
        </pc:spChg>
        <pc:spChg chg="add mod">
          <ac:chgData name="Johanna Marx" userId="f7883e6b-b8f5-49bd-97ed-29afbba9d34b" providerId="ADAL" clId="{3FB5D714-E125-4641-BF90-3447CB5D2DA3}" dt="2025-02-02T11:17:56.393" v="9264" actId="1035"/>
          <ac:spMkLst>
            <pc:docMk/>
            <pc:sldMk cId="467972862" sldId="457"/>
            <ac:spMk id="26" creationId="{AC94FA9F-48AB-C8B9-D18B-CB3697AE6557}"/>
          </ac:spMkLst>
        </pc:spChg>
        <pc:spChg chg="add mod">
          <ac:chgData name="Johanna Marx" userId="f7883e6b-b8f5-49bd-97ed-29afbba9d34b" providerId="ADAL" clId="{3FB5D714-E125-4641-BF90-3447CB5D2DA3}" dt="2025-02-02T11:17:56.393" v="9264" actId="1035"/>
          <ac:spMkLst>
            <pc:docMk/>
            <pc:sldMk cId="467972862" sldId="457"/>
            <ac:spMk id="27" creationId="{01A035C1-B60B-66D0-3AC8-B233CC8B85BB}"/>
          </ac:spMkLst>
        </pc:spChg>
        <pc:picChg chg="mod">
          <ac:chgData name="Johanna Marx" userId="f7883e6b-b8f5-49bd-97ed-29afbba9d34b" providerId="ADAL" clId="{3FB5D714-E125-4641-BF90-3447CB5D2DA3}" dt="2025-01-29T16:57:04" v="2029" actId="1076"/>
          <ac:picMkLst>
            <pc:docMk/>
            <pc:sldMk cId="467972862" sldId="457"/>
            <ac:picMk id="2" creationId="{BF8802D0-7D09-5BCA-7037-DA88CEFB88FD}"/>
          </ac:picMkLst>
        </pc:picChg>
        <pc:picChg chg="add del mod">
          <ac:chgData name="Johanna Marx" userId="f7883e6b-b8f5-49bd-97ed-29afbba9d34b" providerId="ADAL" clId="{3FB5D714-E125-4641-BF90-3447CB5D2DA3}" dt="2025-02-02T11:17:48.905" v="9235" actId="478"/>
          <ac:picMkLst>
            <pc:docMk/>
            <pc:sldMk cId="467972862" sldId="457"/>
            <ac:picMk id="17" creationId="{8FEDBC85-5846-0E2A-69AF-6CE951D25E26}"/>
          </ac:picMkLst>
        </pc:picChg>
      </pc:sldChg>
      <pc:sldChg chg="addSp delSp modSp mod modClrScheme chgLayout">
        <pc:chgData name="Johanna Marx" userId="f7883e6b-b8f5-49bd-97ed-29afbba9d34b" providerId="ADAL" clId="{3FB5D714-E125-4641-BF90-3447CB5D2DA3}" dt="2025-02-02T11:52:09.431" v="9547" actId="1076"/>
        <pc:sldMkLst>
          <pc:docMk/>
          <pc:sldMk cId="4294162477" sldId="458"/>
        </pc:sldMkLst>
        <pc:spChg chg="add del mod ord">
          <ac:chgData name="Johanna Marx" userId="f7883e6b-b8f5-49bd-97ed-29afbba9d34b" providerId="ADAL" clId="{3FB5D714-E125-4641-BF90-3447CB5D2DA3}" dt="2025-02-02T10:40:44.476" v="8830" actId="478"/>
          <ac:spMkLst>
            <pc:docMk/>
            <pc:sldMk cId="4294162477" sldId="458"/>
            <ac:spMk id="2" creationId="{10FE440C-E320-012A-070A-5C1BC7FB4CC8}"/>
          </ac:spMkLst>
        </pc:spChg>
        <pc:spChg chg="mod ord">
          <ac:chgData name="Johanna Marx" userId="f7883e6b-b8f5-49bd-97ed-29afbba9d34b" providerId="ADAL" clId="{3FB5D714-E125-4641-BF90-3447CB5D2DA3}" dt="2025-02-02T10:40:52.192" v="8831" actId="700"/>
          <ac:spMkLst>
            <pc:docMk/>
            <pc:sldMk cId="4294162477" sldId="458"/>
            <ac:spMk id="3" creationId="{DD550A14-CFD2-0001-7E72-48D0B8AB7724}"/>
          </ac:spMkLst>
        </pc:spChg>
        <pc:spChg chg="add del mod ord">
          <ac:chgData name="Johanna Marx" userId="f7883e6b-b8f5-49bd-97ed-29afbba9d34b" providerId="ADAL" clId="{3FB5D714-E125-4641-BF90-3447CB5D2DA3}" dt="2025-02-02T10:40:44.476" v="8830" actId="478"/>
          <ac:spMkLst>
            <pc:docMk/>
            <pc:sldMk cId="4294162477" sldId="458"/>
            <ac:spMk id="4" creationId="{676B5660-FB9A-C227-BD18-DA0A53F21DAA}"/>
          </ac:spMkLst>
        </pc:spChg>
        <pc:spChg chg="add del mod ord">
          <ac:chgData name="Johanna Marx" userId="f7883e6b-b8f5-49bd-97ed-29afbba9d34b" providerId="ADAL" clId="{3FB5D714-E125-4641-BF90-3447CB5D2DA3}" dt="2025-02-02T10:40:44.476" v="8830" actId="478"/>
          <ac:spMkLst>
            <pc:docMk/>
            <pc:sldMk cId="4294162477" sldId="458"/>
            <ac:spMk id="5" creationId="{684B7A63-BCBE-6514-5E66-DAE36EA621C0}"/>
          </ac:spMkLst>
        </pc:spChg>
        <pc:spChg chg="add del mod ord">
          <ac:chgData name="Johanna Marx" userId="f7883e6b-b8f5-49bd-97ed-29afbba9d34b" providerId="ADAL" clId="{3FB5D714-E125-4641-BF90-3447CB5D2DA3}" dt="2025-02-02T10:40:44.476" v="8830" actId="478"/>
          <ac:spMkLst>
            <pc:docMk/>
            <pc:sldMk cId="4294162477" sldId="458"/>
            <ac:spMk id="6" creationId="{63817DFE-ABF7-1F0D-0AC4-F2AAB61F4281}"/>
          </ac:spMkLst>
        </pc:spChg>
        <pc:spChg chg="add del mod ord">
          <ac:chgData name="Johanna Marx" userId="f7883e6b-b8f5-49bd-97ed-29afbba9d34b" providerId="ADAL" clId="{3FB5D714-E125-4641-BF90-3447CB5D2DA3}" dt="2025-02-02T10:40:44.476" v="8830" actId="478"/>
          <ac:spMkLst>
            <pc:docMk/>
            <pc:sldMk cId="4294162477" sldId="458"/>
            <ac:spMk id="7" creationId="{C1019B89-C17D-E5D8-F212-13894D9B93D2}"/>
          </ac:spMkLst>
        </pc:spChg>
        <pc:spChg chg="add mod">
          <ac:chgData name="Johanna Marx" userId="f7883e6b-b8f5-49bd-97ed-29afbba9d34b" providerId="ADAL" clId="{3FB5D714-E125-4641-BF90-3447CB5D2DA3}" dt="2025-01-31T13:27:22.319" v="6388" actId="1036"/>
          <ac:spMkLst>
            <pc:docMk/>
            <pc:sldMk cId="4294162477" sldId="458"/>
            <ac:spMk id="9" creationId="{FED0FE71-76DE-377B-D8D3-BD4745555538}"/>
          </ac:spMkLst>
        </pc:spChg>
        <pc:spChg chg="add mod">
          <ac:chgData name="Johanna Marx" userId="f7883e6b-b8f5-49bd-97ed-29afbba9d34b" providerId="ADAL" clId="{3FB5D714-E125-4641-BF90-3447CB5D2DA3}" dt="2025-01-31T13:27:22.319" v="6388" actId="1036"/>
          <ac:spMkLst>
            <pc:docMk/>
            <pc:sldMk cId="4294162477" sldId="458"/>
            <ac:spMk id="10" creationId="{BAE8EA33-45C9-775A-8992-ABDFE51BB83E}"/>
          </ac:spMkLst>
        </pc:spChg>
        <pc:spChg chg="add mod">
          <ac:chgData name="Johanna Marx" userId="f7883e6b-b8f5-49bd-97ed-29afbba9d34b" providerId="ADAL" clId="{3FB5D714-E125-4641-BF90-3447CB5D2DA3}" dt="2025-01-31T13:27:22.319" v="6388" actId="1036"/>
          <ac:spMkLst>
            <pc:docMk/>
            <pc:sldMk cId="4294162477" sldId="458"/>
            <ac:spMk id="11" creationId="{A1E39608-6A79-6EEA-0EEE-BEEAD14E9E47}"/>
          </ac:spMkLst>
        </pc:spChg>
        <pc:spChg chg="add mod">
          <ac:chgData name="Johanna Marx" userId="f7883e6b-b8f5-49bd-97ed-29afbba9d34b" providerId="ADAL" clId="{3FB5D714-E125-4641-BF90-3447CB5D2DA3}" dt="2025-02-02T11:51:56.009" v="9545" actId="255"/>
          <ac:spMkLst>
            <pc:docMk/>
            <pc:sldMk cId="4294162477" sldId="458"/>
            <ac:spMk id="13" creationId="{10516AA5-604C-8BFA-B64B-F730EC10DB07}"/>
          </ac:spMkLst>
        </pc:spChg>
        <pc:spChg chg="add del mod ord">
          <ac:chgData name="Johanna Marx" userId="f7883e6b-b8f5-49bd-97ed-29afbba9d34b" providerId="ADAL" clId="{3FB5D714-E125-4641-BF90-3447CB5D2DA3}" dt="2025-02-02T10:40:53.971" v="8832" actId="478"/>
          <ac:spMkLst>
            <pc:docMk/>
            <pc:sldMk cId="4294162477" sldId="458"/>
            <ac:spMk id="14" creationId="{2524E87F-B055-0F80-FFC4-5F2ADD904F58}"/>
          </ac:spMkLst>
        </pc:spChg>
        <pc:spChg chg="add mod">
          <ac:chgData name="Johanna Marx" userId="f7883e6b-b8f5-49bd-97ed-29afbba9d34b" providerId="ADAL" clId="{3FB5D714-E125-4641-BF90-3447CB5D2DA3}" dt="2025-01-31T13:27:22.319" v="6388" actId="1036"/>
          <ac:spMkLst>
            <pc:docMk/>
            <pc:sldMk cId="4294162477" sldId="458"/>
            <ac:spMk id="19" creationId="{B3DAD5B7-0D35-565D-5645-2084A1BBB908}"/>
          </ac:spMkLst>
        </pc:spChg>
        <pc:spChg chg="add mod">
          <ac:chgData name="Johanna Marx" userId="f7883e6b-b8f5-49bd-97ed-29afbba9d34b" providerId="ADAL" clId="{3FB5D714-E125-4641-BF90-3447CB5D2DA3}" dt="2025-01-31T13:28:07.847" v="6507"/>
          <ac:spMkLst>
            <pc:docMk/>
            <pc:sldMk cId="4294162477" sldId="458"/>
            <ac:spMk id="22" creationId="{5FE979E2-7B29-1510-143E-97AAD1078E13}"/>
          </ac:spMkLst>
        </pc:spChg>
        <pc:spChg chg="add mod">
          <ac:chgData name="Johanna Marx" userId="f7883e6b-b8f5-49bd-97ed-29afbba9d34b" providerId="ADAL" clId="{3FB5D714-E125-4641-BF90-3447CB5D2DA3}" dt="2025-02-02T11:52:09.431" v="9547" actId="1076"/>
          <ac:spMkLst>
            <pc:docMk/>
            <pc:sldMk cId="4294162477" sldId="458"/>
            <ac:spMk id="25" creationId="{EF041536-0200-B94C-130E-F728454B2372}"/>
          </ac:spMkLst>
        </pc:spChg>
        <pc:spChg chg="add mod">
          <ac:chgData name="Johanna Marx" userId="f7883e6b-b8f5-49bd-97ed-29afbba9d34b" providerId="ADAL" clId="{3FB5D714-E125-4641-BF90-3447CB5D2DA3}" dt="2025-02-02T11:52:09.431" v="9547" actId="1076"/>
          <ac:spMkLst>
            <pc:docMk/>
            <pc:sldMk cId="4294162477" sldId="458"/>
            <ac:spMk id="29" creationId="{44572B43-B635-2C09-0853-5FCD450D3593}"/>
          </ac:spMkLst>
        </pc:spChg>
        <pc:spChg chg="add mod">
          <ac:chgData name="Johanna Marx" userId="f7883e6b-b8f5-49bd-97ed-29afbba9d34b" providerId="ADAL" clId="{3FB5D714-E125-4641-BF90-3447CB5D2DA3}" dt="2025-02-02T11:52:09.431" v="9547" actId="1076"/>
          <ac:spMkLst>
            <pc:docMk/>
            <pc:sldMk cId="4294162477" sldId="458"/>
            <ac:spMk id="33" creationId="{8F0F7545-DB94-4A41-79AA-783048367189}"/>
          </ac:spMkLst>
        </pc:spChg>
        <pc:spChg chg="add mod">
          <ac:chgData name="Johanna Marx" userId="f7883e6b-b8f5-49bd-97ed-29afbba9d34b" providerId="ADAL" clId="{3FB5D714-E125-4641-BF90-3447CB5D2DA3}" dt="2025-02-02T11:52:09.431" v="9547" actId="1076"/>
          <ac:spMkLst>
            <pc:docMk/>
            <pc:sldMk cId="4294162477" sldId="458"/>
            <ac:spMk id="34" creationId="{162F172F-E708-26A5-7253-10599CCAC682}"/>
          </ac:spMkLst>
        </pc:spChg>
        <pc:spChg chg="add mod">
          <ac:chgData name="Johanna Marx" userId="f7883e6b-b8f5-49bd-97ed-29afbba9d34b" providerId="ADAL" clId="{3FB5D714-E125-4641-BF90-3447CB5D2DA3}" dt="2025-02-02T11:52:09.431" v="9547" actId="1076"/>
          <ac:spMkLst>
            <pc:docMk/>
            <pc:sldMk cId="4294162477" sldId="458"/>
            <ac:spMk id="35" creationId="{5CC9D818-13B5-FEF2-8C67-E1287DAC0F21}"/>
          </ac:spMkLst>
        </pc:spChg>
        <pc:graphicFrameChg chg="add mod modGraphic">
          <ac:chgData name="Johanna Marx" userId="f7883e6b-b8f5-49bd-97ed-29afbba9d34b" providerId="ADAL" clId="{3FB5D714-E125-4641-BF90-3447CB5D2DA3}" dt="2025-01-31T13:26:41.035" v="6324" actId="20577"/>
          <ac:graphicFrameMkLst>
            <pc:docMk/>
            <pc:sldMk cId="4294162477" sldId="458"/>
            <ac:graphicFrameMk id="8" creationId="{DA1DC575-3ED4-257C-24AA-FB1330825AF8}"/>
          </ac:graphicFrameMkLst>
        </pc:graphicFrameChg>
        <pc:picChg chg="add mod">
          <ac:chgData name="Johanna Marx" userId="f7883e6b-b8f5-49bd-97ed-29afbba9d34b" providerId="ADAL" clId="{3FB5D714-E125-4641-BF90-3447CB5D2DA3}" dt="2025-01-31T13:27:22.319" v="6388" actId="1036"/>
          <ac:picMkLst>
            <pc:docMk/>
            <pc:sldMk cId="4294162477" sldId="458"/>
            <ac:picMk id="12" creationId="{B4D90578-6D42-77CE-BD88-FACF40A64D77}"/>
          </ac:picMkLst>
        </pc:picChg>
        <pc:picChg chg="add mod">
          <ac:chgData name="Johanna Marx" userId="f7883e6b-b8f5-49bd-97ed-29afbba9d34b" providerId="ADAL" clId="{3FB5D714-E125-4641-BF90-3447CB5D2DA3}" dt="2025-02-02T11:52:09.431" v="9547" actId="1076"/>
          <ac:picMkLst>
            <pc:docMk/>
            <pc:sldMk cId="4294162477" sldId="458"/>
            <ac:picMk id="32" creationId="{9BA9D097-7AE9-3F52-47EB-2906AF944744}"/>
          </ac:picMkLst>
        </pc:picChg>
      </pc:sldChg>
      <pc:sldChg chg="addSp delSp modSp mod modClrScheme chgLayout">
        <pc:chgData name="Johanna Marx" userId="f7883e6b-b8f5-49bd-97ed-29afbba9d34b" providerId="ADAL" clId="{3FB5D714-E125-4641-BF90-3447CB5D2DA3}" dt="2025-02-02T10:42:32.489" v="8846" actId="478"/>
        <pc:sldMkLst>
          <pc:docMk/>
          <pc:sldMk cId="2438891682" sldId="459"/>
        </pc:sldMkLst>
        <pc:spChg chg="add del mod ord">
          <ac:chgData name="Johanna Marx" userId="f7883e6b-b8f5-49bd-97ed-29afbba9d34b" providerId="ADAL" clId="{3FB5D714-E125-4641-BF90-3447CB5D2DA3}" dt="2025-02-02T10:42:32.489" v="8846" actId="478"/>
          <ac:spMkLst>
            <pc:docMk/>
            <pc:sldMk cId="2438891682" sldId="459"/>
            <ac:spMk id="2" creationId="{234D915E-0678-39EA-D76C-24316B7DEFCB}"/>
          </ac:spMkLst>
        </pc:spChg>
        <pc:spChg chg="mod ord">
          <ac:chgData name="Johanna Marx" userId="f7883e6b-b8f5-49bd-97ed-29afbba9d34b" providerId="ADAL" clId="{3FB5D714-E125-4641-BF90-3447CB5D2DA3}" dt="2025-02-02T10:42:30.354" v="8845" actId="700"/>
          <ac:spMkLst>
            <pc:docMk/>
            <pc:sldMk cId="2438891682" sldId="459"/>
            <ac:spMk id="7" creationId="{5683671F-B709-2722-C2D5-01D0DC15F77A}"/>
          </ac:spMkLst>
        </pc:spChg>
        <pc:spChg chg="mod">
          <ac:chgData name="Johanna Marx" userId="f7883e6b-b8f5-49bd-97ed-29afbba9d34b" providerId="ADAL" clId="{3FB5D714-E125-4641-BF90-3447CB5D2DA3}" dt="2025-01-31T10:41:57.599" v="2620" actId="20577"/>
          <ac:spMkLst>
            <pc:docMk/>
            <pc:sldMk cId="2438891682" sldId="459"/>
            <ac:spMk id="28" creationId="{E1A1C372-BFC7-A2DD-3B31-1DD6BBDA5EEF}"/>
          </ac:spMkLst>
        </pc:spChg>
        <pc:spChg chg="mod">
          <ac:chgData name="Johanna Marx" userId="f7883e6b-b8f5-49bd-97ed-29afbba9d34b" providerId="ADAL" clId="{3FB5D714-E125-4641-BF90-3447CB5D2DA3}" dt="2025-01-31T10:42:23.840" v="2629" actId="1076"/>
          <ac:spMkLst>
            <pc:docMk/>
            <pc:sldMk cId="2438891682" sldId="459"/>
            <ac:spMk id="32" creationId="{231C7506-DC96-5BA1-9803-0673B8B4F9B7}"/>
          </ac:spMkLst>
        </pc:spChg>
        <pc:picChg chg="mod">
          <ac:chgData name="Johanna Marx" userId="f7883e6b-b8f5-49bd-97ed-29afbba9d34b" providerId="ADAL" clId="{3FB5D714-E125-4641-BF90-3447CB5D2DA3}" dt="2025-01-31T10:41:42.288" v="2618" actId="1076"/>
          <ac:picMkLst>
            <pc:docMk/>
            <pc:sldMk cId="2438891682" sldId="459"/>
            <ac:picMk id="25" creationId="{E600F2B1-58BA-E8D9-6E26-3DC46039CCDE}"/>
          </ac:picMkLst>
        </pc:picChg>
        <pc:picChg chg="mod">
          <ac:chgData name="Johanna Marx" userId="f7883e6b-b8f5-49bd-97ed-29afbba9d34b" providerId="ADAL" clId="{3FB5D714-E125-4641-BF90-3447CB5D2DA3}" dt="2025-01-31T10:42:10.992" v="2625" actId="14100"/>
          <ac:picMkLst>
            <pc:docMk/>
            <pc:sldMk cId="2438891682" sldId="459"/>
            <ac:picMk id="27" creationId="{D19E7DB3-6ED1-76D3-AC34-424507429107}"/>
          </ac:picMkLst>
        </pc:picChg>
        <pc:cxnChg chg="add mod">
          <ac:chgData name="Johanna Marx" userId="f7883e6b-b8f5-49bd-97ed-29afbba9d34b" providerId="ADAL" clId="{3FB5D714-E125-4641-BF90-3447CB5D2DA3}" dt="2025-01-31T10:42:34.834" v="2632" actId="14100"/>
          <ac:cxnSpMkLst>
            <pc:docMk/>
            <pc:sldMk cId="2438891682" sldId="459"/>
            <ac:cxnSpMk id="10" creationId="{62AB902F-883B-A93E-943D-380B8187DED4}"/>
          </ac:cxnSpMkLst>
        </pc:cxnChg>
        <pc:cxnChg chg="mod">
          <ac:chgData name="Johanna Marx" userId="f7883e6b-b8f5-49bd-97ed-29afbba9d34b" providerId="ADAL" clId="{3FB5D714-E125-4641-BF90-3447CB5D2DA3}" dt="2025-01-31T10:42:28.537" v="2631" actId="14100"/>
          <ac:cxnSpMkLst>
            <pc:docMk/>
            <pc:sldMk cId="2438891682" sldId="459"/>
            <ac:cxnSpMk id="29" creationId="{7B429CE8-D605-57D1-7D72-E55B6953E635}"/>
          </ac:cxnSpMkLst>
        </pc:cxnChg>
      </pc:sldChg>
      <pc:sldChg chg="delSp modSp del mod">
        <pc:chgData name="Johanna Marx" userId="f7883e6b-b8f5-49bd-97ed-29afbba9d34b" providerId="ADAL" clId="{3FB5D714-E125-4641-BF90-3447CB5D2DA3}" dt="2025-01-31T11:12:33.497" v="3875" actId="47"/>
        <pc:sldMkLst>
          <pc:docMk/>
          <pc:sldMk cId="781101471" sldId="460"/>
        </pc:sldMkLst>
      </pc:sldChg>
      <pc:sldChg chg="addSp delSp modSp mod modClrScheme chgLayout">
        <pc:chgData name="Johanna Marx" userId="f7883e6b-b8f5-49bd-97ed-29afbba9d34b" providerId="ADAL" clId="{3FB5D714-E125-4641-BF90-3447CB5D2DA3}" dt="2025-01-31T11:24:51.985" v="4223" actId="1076"/>
        <pc:sldMkLst>
          <pc:docMk/>
          <pc:sldMk cId="4245375291" sldId="461"/>
        </pc:sldMkLst>
        <pc:spChg chg="mod ord">
          <ac:chgData name="Johanna Marx" userId="f7883e6b-b8f5-49bd-97ed-29afbba9d34b" providerId="ADAL" clId="{3FB5D714-E125-4641-BF90-3447CB5D2DA3}" dt="2025-01-31T11:23:12.601" v="4188" actId="700"/>
          <ac:spMkLst>
            <pc:docMk/>
            <pc:sldMk cId="4245375291" sldId="461"/>
            <ac:spMk id="3" creationId="{1F1929B6-EDD8-D763-5C76-B4B2EA32FA4A}"/>
          </ac:spMkLst>
        </pc:spChg>
        <pc:spChg chg="add mod">
          <ac:chgData name="Johanna Marx" userId="f7883e6b-b8f5-49bd-97ed-29afbba9d34b" providerId="ADAL" clId="{3FB5D714-E125-4641-BF90-3447CB5D2DA3}" dt="2025-01-31T11:24:51.985" v="4223" actId="1076"/>
          <ac:spMkLst>
            <pc:docMk/>
            <pc:sldMk cId="4245375291" sldId="461"/>
            <ac:spMk id="7" creationId="{03266AE5-196F-4351-4A2D-FD79BC825F1B}"/>
          </ac:spMkLst>
        </pc:spChg>
        <pc:spChg chg="add mod">
          <ac:chgData name="Johanna Marx" userId="f7883e6b-b8f5-49bd-97ed-29afbba9d34b" providerId="ADAL" clId="{3FB5D714-E125-4641-BF90-3447CB5D2DA3}" dt="2025-01-31T11:24:51.985" v="4223" actId="1076"/>
          <ac:spMkLst>
            <pc:docMk/>
            <pc:sldMk cId="4245375291" sldId="461"/>
            <ac:spMk id="8" creationId="{ED1B2F6D-110A-A737-5909-C280C1ABDB6A}"/>
          </ac:spMkLst>
        </pc:spChg>
        <pc:spChg chg="mod">
          <ac:chgData name="Johanna Marx" userId="f7883e6b-b8f5-49bd-97ed-29afbba9d34b" providerId="ADAL" clId="{3FB5D714-E125-4641-BF90-3447CB5D2DA3}" dt="2025-01-31T11:24:51.985" v="4223" actId="1076"/>
          <ac:spMkLst>
            <pc:docMk/>
            <pc:sldMk cId="4245375291" sldId="461"/>
            <ac:spMk id="11" creationId="{9FD96AF6-9C28-0307-4D9C-14AC1D3EBEAE}"/>
          </ac:spMkLst>
        </pc:spChg>
        <pc:spChg chg="mod">
          <ac:chgData name="Johanna Marx" userId="f7883e6b-b8f5-49bd-97ed-29afbba9d34b" providerId="ADAL" clId="{3FB5D714-E125-4641-BF90-3447CB5D2DA3}" dt="2025-01-31T11:24:51.985" v="4223" actId="1076"/>
          <ac:spMkLst>
            <pc:docMk/>
            <pc:sldMk cId="4245375291" sldId="461"/>
            <ac:spMk id="16" creationId="{6726D0D0-5B8E-F8B0-0329-5C211C4F0241}"/>
          </ac:spMkLst>
        </pc:spChg>
        <pc:picChg chg="mod">
          <ac:chgData name="Johanna Marx" userId="f7883e6b-b8f5-49bd-97ed-29afbba9d34b" providerId="ADAL" clId="{3FB5D714-E125-4641-BF90-3447CB5D2DA3}" dt="2025-01-31T11:24:51.985" v="4223" actId="1076"/>
          <ac:picMkLst>
            <pc:docMk/>
            <pc:sldMk cId="4245375291" sldId="461"/>
            <ac:picMk id="18" creationId="{D588EE99-F29E-4384-DB68-BEACFE5ABBA6}"/>
          </ac:picMkLst>
        </pc:picChg>
        <pc:picChg chg="mod">
          <ac:chgData name="Johanna Marx" userId="f7883e6b-b8f5-49bd-97ed-29afbba9d34b" providerId="ADAL" clId="{3FB5D714-E125-4641-BF90-3447CB5D2DA3}" dt="2025-01-31T11:24:51.985" v="4223" actId="1076"/>
          <ac:picMkLst>
            <pc:docMk/>
            <pc:sldMk cId="4245375291" sldId="461"/>
            <ac:picMk id="20" creationId="{0BE8353B-B64C-F631-E4B9-7B1C1F9ECD0F}"/>
          </ac:picMkLst>
        </pc:picChg>
        <pc:picChg chg="mod">
          <ac:chgData name="Johanna Marx" userId="f7883e6b-b8f5-49bd-97ed-29afbba9d34b" providerId="ADAL" clId="{3FB5D714-E125-4641-BF90-3447CB5D2DA3}" dt="2025-01-31T11:24:51.985" v="4223" actId="1076"/>
          <ac:picMkLst>
            <pc:docMk/>
            <pc:sldMk cId="4245375291" sldId="461"/>
            <ac:picMk id="22" creationId="{75DA66B4-0365-5DBC-B3A9-6FE4999C048F}"/>
          </ac:picMkLst>
        </pc:picChg>
      </pc:sldChg>
      <pc:sldChg chg="addSp delSp modSp mod modClrScheme chgLayout">
        <pc:chgData name="Johanna Marx" userId="f7883e6b-b8f5-49bd-97ed-29afbba9d34b" providerId="ADAL" clId="{3FB5D714-E125-4641-BF90-3447CB5D2DA3}" dt="2025-02-02T12:03:08.303" v="9652" actId="20577"/>
        <pc:sldMkLst>
          <pc:docMk/>
          <pc:sldMk cId="3515044065" sldId="462"/>
        </pc:sldMkLst>
        <pc:spChg chg="add mod">
          <ac:chgData name="Johanna Marx" userId="f7883e6b-b8f5-49bd-97ed-29afbba9d34b" providerId="ADAL" clId="{3FB5D714-E125-4641-BF90-3447CB5D2DA3}" dt="2025-02-02T12:03:08.303" v="9652" actId="20577"/>
          <ac:spMkLst>
            <pc:docMk/>
            <pc:sldMk cId="3515044065" sldId="462"/>
            <ac:spMk id="2" creationId="{78917629-4255-627B-87EF-3E9EA2231281}"/>
          </ac:spMkLst>
        </pc:spChg>
        <pc:spChg chg="mod ord">
          <ac:chgData name="Johanna Marx" userId="f7883e6b-b8f5-49bd-97ed-29afbba9d34b" providerId="ADAL" clId="{3FB5D714-E125-4641-BF90-3447CB5D2DA3}" dt="2025-02-02T10:42:22.447" v="8844" actId="700"/>
          <ac:spMkLst>
            <pc:docMk/>
            <pc:sldMk cId="3515044065" sldId="462"/>
            <ac:spMk id="3" creationId="{6658E7E5-FD78-83EB-4AAA-269473D2AB86}"/>
          </ac:spMkLst>
        </pc:spChg>
        <pc:spChg chg="add del mod ord">
          <ac:chgData name="Johanna Marx" userId="f7883e6b-b8f5-49bd-97ed-29afbba9d34b" providerId="ADAL" clId="{3FB5D714-E125-4641-BF90-3447CB5D2DA3}" dt="2025-02-02T10:41:51.892" v="8842" actId="478"/>
          <ac:spMkLst>
            <pc:docMk/>
            <pc:sldMk cId="3515044065" sldId="462"/>
            <ac:spMk id="4" creationId="{36D3F032-F5B7-9B4D-A6D5-16451ED2E022}"/>
          </ac:spMkLst>
        </pc:spChg>
        <pc:spChg chg="add del mod ord">
          <ac:chgData name="Johanna Marx" userId="f7883e6b-b8f5-49bd-97ed-29afbba9d34b" providerId="ADAL" clId="{3FB5D714-E125-4641-BF90-3447CB5D2DA3}" dt="2025-02-02T10:42:22.447" v="8844" actId="700"/>
          <ac:spMkLst>
            <pc:docMk/>
            <pc:sldMk cId="3515044065" sldId="462"/>
            <ac:spMk id="5" creationId="{CE475792-CF8F-756E-5143-0D719C556EB7}"/>
          </ac:spMkLst>
        </pc:spChg>
        <pc:spChg chg="mod">
          <ac:chgData name="Johanna Marx" userId="f7883e6b-b8f5-49bd-97ed-29afbba9d34b" providerId="ADAL" clId="{3FB5D714-E125-4641-BF90-3447CB5D2DA3}" dt="2025-02-02T11:49:07.907" v="9512" actId="255"/>
          <ac:spMkLst>
            <pc:docMk/>
            <pc:sldMk cId="3515044065" sldId="462"/>
            <ac:spMk id="7" creationId="{B0D6E95B-706B-1A76-F93F-A6276D641BE9}"/>
          </ac:spMkLst>
        </pc:spChg>
        <pc:spChg chg="add mod">
          <ac:chgData name="Johanna Marx" userId="f7883e6b-b8f5-49bd-97ed-29afbba9d34b" providerId="ADAL" clId="{3FB5D714-E125-4641-BF90-3447CB5D2DA3}" dt="2025-02-02T11:48:53.646" v="9511" actId="1036"/>
          <ac:spMkLst>
            <pc:docMk/>
            <pc:sldMk cId="3515044065" sldId="462"/>
            <ac:spMk id="11" creationId="{81F6FFBE-BA5B-611F-C473-E9E58A5FE9AB}"/>
          </ac:spMkLst>
        </pc:spChg>
        <pc:spChg chg="add mod">
          <ac:chgData name="Johanna Marx" userId="f7883e6b-b8f5-49bd-97ed-29afbba9d34b" providerId="ADAL" clId="{3FB5D714-E125-4641-BF90-3447CB5D2DA3}" dt="2025-02-02T11:48:53.646" v="9511" actId="1036"/>
          <ac:spMkLst>
            <pc:docMk/>
            <pc:sldMk cId="3515044065" sldId="462"/>
            <ac:spMk id="17" creationId="{7420386F-27BC-5BB2-8223-5EB21689B21E}"/>
          </ac:spMkLst>
        </pc:spChg>
        <pc:spChg chg="add mod">
          <ac:chgData name="Johanna Marx" userId="f7883e6b-b8f5-49bd-97ed-29afbba9d34b" providerId="ADAL" clId="{3FB5D714-E125-4641-BF90-3447CB5D2DA3}" dt="2025-02-02T11:48:53.646" v="9511" actId="1036"/>
          <ac:spMkLst>
            <pc:docMk/>
            <pc:sldMk cId="3515044065" sldId="462"/>
            <ac:spMk id="19" creationId="{E2F6F3AC-7341-6DE7-4577-348790169025}"/>
          </ac:spMkLst>
        </pc:spChg>
        <pc:spChg chg="add mod">
          <ac:chgData name="Johanna Marx" userId="f7883e6b-b8f5-49bd-97ed-29afbba9d34b" providerId="ADAL" clId="{3FB5D714-E125-4641-BF90-3447CB5D2DA3}" dt="2025-02-02T11:48:53.646" v="9511" actId="1036"/>
          <ac:spMkLst>
            <pc:docMk/>
            <pc:sldMk cId="3515044065" sldId="462"/>
            <ac:spMk id="20" creationId="{FF2EE988-3499-D4A5-F517-E8513B7638C9}"/>
          </ac:spMkLst>
        </pc:spChg>
        <pc:spChg chg="add mod">
          <ac:chgData name="Johanna Marx" userId="f7883e6b-b8f5-49bd-97ed-29afbba9d34b" providerId="ADAL" clId="{3FB5D714-E125-4641-BF90-3447CB5D2DA3}" dt="2025-02-02T11:48:53.646" v="9511" actId="1036"/>
          <ac:spMkLst>
            <pc:docMk/>
            <pc:sldMk cId="3515044065" sldId="462"/>
            <ac:spMk id="21" creationId="{276D7782-0B63-1D1E-2170-4210A4DAE8D4}"/>
          </ac:spMkLst>
        </pc:spChg>
        <pc:spChg chg="mod">
          <ac:chgData name="Johanna Marx" userId="f7883e6b-b8f5-49bd-97ed-29afbba9d34b" providerId="ADAL" clId="{3FB5D714-E125-4641-BF90-3447CB5D2DA3}" dt="2025-01-31T13:12:35.816" v="5716"/>
          <ac:spMkLst>
            <pc:docMk/>
            <pc:sldMk cId="3515044065" sldId="462"/>
            <ac:spMk id="23" creationId="{1992ECF6-E99E-EE42-5D61-BF93C516DDDF}"/>
          </ac:spMkLst>
        </pc:spChg>
        <pc:spChg chg="add mod">
          <ac:chgData name="Johanna Marx" userId="f7883e6b-b8f5-49bd-97ed-29afbba9d34b" providerId="ADAL" clId="{3FB5D714-E125-4641-BF90-3447CB5D2DA3}" dt="2025-02-02T11:49:52.845" v="9514" actId="255"/>
          <ac:spMkLst>
            <pc:docMk/>
            <pc:sldMk cId="3515044065" sldId="462"/>
            <ac:spMk id="28" creationId="{EFDF556E-6147-3C30-3417-CCCCBC399C14}"/>
          </ac:spMkLst>
        </pc:spChg>
        <pc:spChg chg="add mod">
          <ac:chgData name="Johanna Marx" userId="f7883e6b-b8f5-49bd-97ed-29afbba9d34b" providerId="ADAL" clId="{3FB5D714-E125-4641-BF90-3447CB5D2DA3}" dt="2025-02-02T11:49:52.845" v="9514" actId="255"/>
          <ac:spMkLst>
            <pc:docMk/>
            <pc:sldMk cId="3515044065" sldId="462"/>
            <ac:spMk id="30" creationId="{3364F419-E0DB-2B3F-E80A-DD6BA69AEF52}"/>
          </ac:spMkLst>
        </pc:spChg>
        <pc:spChg chg="add mod">
          <ac:chgData name="Johanna Marx" userId="f7883e6b-b8f5-49bd-97ed-29afbba9d34b" providerId="ADAL" clId="{3FB5D714-E125-4641-BF90-3447CB5D2DA3}" dt="2025-02-02T11:49:52.845" v="9514" actId="255"/>
          <ac:spMkLst>
            <pc:docMk/>
            <pc:sldMk cId="3515044065" sldId="462"/>
            <ac:spMk id="33" creationId="{08DAE3F3-7D1A-4A1B-9874-0E4F31DF9530}"/>
          </ac:spMkLst>
        </pc:spChg>
        <pc:grpChg chg="add mod">
          <ac:chgData name="Johanna Marx" userId="f7883e6b-b8f5-49bd-97ed-29afbba9d34b" providerId="ADAL" clId="{3FB5D714-E125-4641-BF90-3447CB5D2DA3}" dt="2025-02-02T11:48:53.646" v="9511" actId="1036"/>
          <ac:grpSpMkLst>
            <pc:docMk/>
            <pc:sldMk cId="3515044065" sldId="462"/>
            <ac:grpSpMk id="22" creationId="{3E7E3662-10B1-4EF8-E422-4609ACB2B1C0}"/>
          </ac:grpSpMkLst>
        </pc:grpChg>
        <pc:picChg chg="add mod">
          <ac:chgData name="Johanna Marx" userId="f7883e6b-b8f5-49bd-97ed-29afbba9d34b" providerId="ADAL" clId="{3FB5D714-E125-4641-BF90-3447CB5D2DA3}" dt="2025-02-02T11:48:53.646" v="9511" actId="1036"/>
          <ac:picMkLst>
            <pc:docMk/>
            <pc:sldMk cId="3515044065" sldId="462"/>
            <ac:picMk id="18" creationId="{930EFCD0-73CB-5D58-58A3-78FA8BCA85C5}"/>
          </ac:picMkLst>
        </pc:picChg>
        <pc:picChg chg="mod">
          <ac:chgData name="Johanna Marx" userId="f7883e6b-b8f5-49bd-97ed-29afbba9d34b" providerId="ADAL" clId="{3FB5D714-E125-4641-BF90-3447CB5D2DA3}" dt="2025-01-31T13:12:35.816" v="5716"/>
          <ac:picMkLst>
            <pc:docMk/>
            <pc:sldMk cId="3515044065" sldId="462"/>
            <ac:picMk id="24" creationId="{C4C38BE2-2B6C-BC13-AE68-EF39D32F94D5}"/>
          </ac:picMkLst>
        </pc:picChg>
        <pc:picChg chg="add mod">
          <ac:chgData name="Johanna Marx" userId="f7883e6b-b8f5-49bd-97ed-29afbba9d34b" providerId="ADAL" clId="{3FB5D714-E125-4641-BF90-3447CB5D2DA3}" dt="2025-02-02T11:50:35.893" v="9515" actId="1076"/>
          <ac:picMkLst>
            <pc:docMk/>
            <pc:sldMk cId="3515044065" sldId="462"/>
            <ac:picMk id="27" creationId="{DA145050-9654-B974-0DB7-99E0C124BB60}"/>
          </ac:picMkLst>
        </pc:picChg>
        <pc:cxnChg chg="add mod">
          <ac:chgData name="Johanna Marx" userId="f7883e6b-b8f5-49bd-97ed-29afbba9d34b" providerId="ADAL" clId="{3FB5D714-E125-4641-BF90-3447CB5D2DA3}" dt="2025-02-02T11:49:52.845" v="9514" actId="255"/>
          <ac:cxnSpMkLst>
            <pc:docMk/>
            <pc:sldMk cId="3515044065" sldId="462"/>
            <ac:cxnSpMk id="29" creationId="{AA3E5F96-8E30-F48A-4404-4D2328BDDB43}"/>
          </ac:cxnSpMkLst>
        </pc:cxnChg>
        <pc:cxnChg chg="add mod">
          <ac:chgData name="Johanna Marx" userId="f7883e6b-b8f5-49bd-97ed-29afbba9d34b" providerId="ADAL" clId="{3FB5D714-E125-4641-BF90-3447CB5D2DA3}" dt="2025-02-02T11:49:52.845" v="9514" actId="255"/>
          <ac:cxnSpMkLst>
            <pc:docMk/>
            <pc:sldMk cId="3515044065" sldId="462"/>
            <ac:cxnSpMk id="32" creationId="{15603321-1737-1ECA-0807-3FD78520247D}"/>
          </ac:cxnSpMkLst>
        </pc:cxnChg>
        <pc:cxnChg chg="add mod">
          <ac:chgData name="Johanna Marx" userId="f7883e6b-b8f5-49bd-97ed-29afbba9d34b" providerId="ADAL" clId="{3FB5D714-E125-4641-BF90-3447CB5D2DA3}" dt="2025-02-02T11:49:27.460" v="9513" actId="1076"/>
          <ac:cxnSpMkLst>
            <pc:docMk/>
            <pc:sldMk cId="3515044065" sldId="462"/>
            <ac:cxnSpMk id="34" creationId="{82AFD59A-9A13-A1A6-03F3-1E16FABD1862}"/>
          </ac:cxnSpMkLst>
        </pc:cxnChg>
      </pc:sldChg>
      <pc:sldChg chg="del">
        <pc:chgData name="Johanna Marx" userId="f7883e6b-b8f5-49bd-97ed-29afbba9d34b" providerId="ADAL" clId="{3FB5D714-E125-4641-BF90-3447CB5D2DA3}" dt="2025-01-31T13:15:41.884" v="5790" actId="47"/>
        <pc:sldMkLst>
          <pc:docMk/>
          <pc:sldMk cId="2958026813" sldId="463"/>
        </pc:sldMkLst>
      </pc:sldChg>
      <pc:sldChg chg="addSp delSp modSp mod">
        <pc:chgData name="Johanna Marx" userId="f7883e6b-b8f5-49bd-97ed-29afbba9d34b" providerId="ADAL" clId="{3FB5D714-E125-4641-BF90-3447CB5D2DA3}" dt="2025-02-02T12:03:13.959" v="9654" actId="20577"/>
        <pc:sldMkLst>
          <pc:docMk/>
          <pc:sldMk cId="3162843186" sldId="464"/>
        </pc:sldMkLst>
        <pc:spChg chg="add mod">
          <ac:chgData name="Johanna Marx" userId="f7883e6b-b8f5-49bd-97ed-29afbba9d34b" providerId="ADAL" clId="{3FB5D714-E125-4641-BF90-3447CB5D2DA3}" dt="2025-02-02T11:51:29.367" v="9542" actId="255"/>
          <ac:spMkLst>
            <pc:docMk/>
            <pc:sldMk cId="3162843186" sldId="464"/>
            <ac:spMk id="2" creationId="{A871690F-6B60-E0E8-A8EE-12AED2DDCC36}"/>
          </ac:spMkLst>
        </pc:spChg>
        <pc:spChg chg="add mod">
          <ac:chgData name="Johanna Marx" userId="f7883e6b-b8f5-49bd-97ed-29afbba9d34b" providerId="ADAL" clId="{3FB5D714-E125-4641-BF90-3447CB5D2DA3}" dt="2025-02-02T12:03:13.959" v="9654" actId="20577"/>
          <ac:spMkLst>
            <pc:docMk/>
            <pc:sldMk cId="3162843186" sldId="464"/>
            <ac:spMk id="17" creationId="{E3243CA8-B690-5028-EF1F-165C752CD3BA}"/>
          </ac:spMkLst>
        </pc:spChg>
        <pc:spChg chg="add mod">
          <ac:chgData name="Johanna Marx" userId="f7883e6b-b8f5-49bd-97ed-29afbba9d34b" providerId="ADAL" clId="{3FB5D714-E125-4641-BF90-3447CB5D2DA3}" dt="2025-02-02T11:51:24.503" v="9541" actId="1036"/>
          <ac:spMkLst>
            <pc:docMk/>
            <pc:sldMk cId="3162843186" sldId="464"/>
            <ac:spMk id="19" creationId="{11C51F69-925F-309C-9A32-2526A85EDB3F}"/>
          </ac:spMkLst>
        </pc:spChg>
        <pc:spChg chg="add mod">
          <ac:chgData name="Johanna Marx" userId="f7883e6b-b8f5-49bd-97ed-29afbba9d34b" providerId="ADAL" clId="{3FB5D714-E125-4641-BF90-3447CB5D2DA3}" dt="2025-02-02T11:51:24.503" v="9541" actId="1036"/>
          <ac:spMkLst>
            <pc:docMk/>
            <pc:sldMk cId="3162843186" sldId="464"/>
            <ac:spMk id="20" creationId="{DF8C7CF8-C907-353C-9C6A-985A130CE3F2}"/>
          </ac:spMkLst>
        </pc:spChg>
        <pc:spChg chg="add mod">
          <ac:chgData name="Johanna Marx" userId="f7883e6b-b8f5-49bd-97ed-29afbba9d34b" providerId="ADAL" clId="{3FB5D714-E125-4641-BF90-3447CB5D2DA3}" dt="2025-02-02T11:51:24.503" v="9541" actId="1036"/>
          <ac:spMkLst>
            <pc:docMk/>
            <pc:sldMk cId="3162843186" sldId="464"/>
            <ac:spMk id="22" creationId="{EE865812-B118-F894-D7E3-09510D707073}"/>
          </ac:spMkLst>
        </pc:spChg>
        <pc:spChg chg="add mod">
          <ac:chgData name="Johanna Marx" userId="f7883e6b-b8f5-49bd-97ed-29afbba9d34b" providerId="ADAL" clId="{3FB5D714-E125-4641-BF90-3447CB5D2DA3}" dt="2025-02-02T11:51:24.503" v="9541" actId="1036"/>
          <ac:spMkLst>
            <pc:docMk/>
            <pc:sldMk cId="3162843186" sldId="464"/>
            <ac:spMk id="23" creationId="{CD0D7A4B-1BF5-C7E3-3151-89CD5DC14BB4}"/>
          </ac:spMkLst>
        </pc:spChg>
        <pc:spChg chg="add mod">
          <ac:chgData name="Johanna Marx" userId="f7883e6b-b8f5-49bd-97ed-29afbba9d34b" providerId="ADAL" clId="{3FB5D714-E125-4641-BF90-3447CB5D2DA3}" dt="2025-02-02T11:51:24.503" v="9541" actId="1036"/>
          <ac:spMkLst>
            <pc:docMk/>
            <pc:sldMk cId="3162843186" sldId="464"/>
            <ac:spMk id="24" creationId="{91D86A44-C673-1E26-A6B0-921F23E28768}"/>
          </ac:spMkLst>
        </pc:spChg>
        <pc:spChg chg="mod">
          <ac:chgData name="Johanna Marx" userId="f7883e6b-b8f5-49bd-97ed-29afbba9d34b" providerId="ADAL" clId="{3FB5D714-E125-4641-BF90-3447CB5D2DA3}" dt="2025-01-31T13:22:01.487" v="6095"/>
          <ac:spMkLst>
            <pc:docMk/>
            <pc:sldMk cId="3162843186" sldId="464"/>
            <ac:spMk id="26" creationId="{DEBDEC84-D8F7-A718-63D4-46017B29627C}"/>
          </ac:spMkLst>
        </pc:spChg>
        <pc:spChg chg="add mod">
          <ac:chgData name="Johanna Marx" userId="f7883e6b-b8f5-49bd-97ed-29afbba9d34b" providerId="ADAL" clId="{3FB5D714-E125-4641-BF90-3447CB5D2DA3}" dt="2025-02-02T11:51:43.103" v="9544" actId="121"/>
          <ac:spMkLst>
            <pc:docMk/>
            <pc:sldMk cId="3162843186" sldId="464"/>
            <ac:spMk id="29" creationId="{78DD364C-A3E1-327A-8D19-308C6FA345CD}"/>
          </ac:spMkLst>
        </pc:spChg>
        <pc:spChg chg="add mod">
          <ac:chgData name="Johanna Marx" userId="f7883e6b-b8f5-49bd-97ed-29afbba9d34b" providerId="ADAL" clId="{3FB5D714-E125-4641-BF90-3447CB5D2DA3}" dt="2025-02-02T11:51:43.103" v="9544" actId="121"/>
          <ac:spMkLst>
            <pc:docMk/>
            <pc:sldMk cId="3162843186" sldId="464"/>
            <ac:spMk id="32" creationId="{1A833482-211F-4922-AD79-33264AC785C7}"/>
          </ac:spMkLst>
        </pc:spChg>
        <pc:spChg chg="add mod">
          <ac:chgData name="Johanna Marx" userId="f7883e6b-b8f5-49bd-97ed-29afbba9d34b" providerId="ADAL" clId="{3FB5D714-E125-4641-BF90-3447CB5D2DA3}" dt="2025-02-02T11:51:43.103" v="9544" actId="121"/>
          <ac:spMkLst>
            <pc:docMk/>
            <pc:sldMk cId="3162843186" sldId="464"/>
            <ac:spMk id="36" creationId="{E8A8E998-22F7-7351-3D74-806C2E47AF86}"/>
          </ac:spMkLst>
        </pc:spChg>
        <pc:grpChg chg="mod">
          <ac:chgData name="Johanna Marx" userId="f7883e6b-b8f5-49bd-97ed-29afbba9d34b" providerId="ADAL" clId="{3FB5D714-E125-4641-BF90-3447CB5D2DA3}" dt="2025-02-02T11:51:24.503" v="9541" actId="1036"/>
          <ac:grpSpMkLst>
            <pc:docMk/>
            <pc:sldMk cId="3162843186" sldId="464"/>
            <ac:grpSpMk id="25" creationId="{174712BF-B7F8-F90C-A3ED-05765665C16B}"/>
          </ac:grpSpMkLst>
        </pc:grpChg>
        <pc:picChg chg="mod">
          <ac:chgData name="Johanna Marx" userId="f7883e6b-b8f5-49bd-97ed-29afbba9d34b" providerId="ADAL" clId="{3FB5D714-E125-4641-BF90-3447CB5D2DA3}" dt="2025-01-31T13:23:03.980" v="6166" actId="1076"/>
          <ac:picMkLst>
            <pc:docMk/>
            <pc:sldMk cId="3162843186" sldId="464"/>
            <ac:picMk id="11" creationId="{7A4BDEEC-4827-8467-9AAD-04B28C1ABD8B}"/>
          </ac:picMkLst>
        </pc:picChg>
        <pc:picChg chg="mod">
          <ac:chgData name="Johanna Marx" userId="f7883e6b-b8f5-49bd-97ed-29afbba9d34b" providerId="ADAL" clId="{3FB5D714-E125-4641-BF90-3447CB5D2DA3}" dt="2025-02-02T11:51:24.503" v="9541" actId="1036"/>
          <ac:picMkLst>
            <pc:docMk/>
            <pc:sldMk cId="3162843186" sldId="464"/>
            <ac:picMk id="21" creationId="{A16E3E8B-BAA8-04B1-3FD0-3574D2B1C37C}"/>
          </ac:picMkLst>
        </pc:picChg>
        <pc:picChg chg="mod">
          <ac:chgData name="Johanna Marx" userId="f7883e6b-b8f5-49bd-97ed-29afbba9d34b" providerId="ADAL" clId="{3FB5D714-E125-4641-BF90-3447CB5D2DA3}" dt="2025-01-31T13:22:01.487" v="6095"/>
          <ac:picMkLst>
            <pc:docMk/>
            <pc:sldMk cId="3162843186" sldId="464"/>
            <ac:picMk id="27" creationId="{5FE7BABF-B5B6-90A1-3CFD-EE3BC6648E7B}"/>
          </ac:picMkLst>
        </pc:picChg>
        <pc:cxnChg chg="add mod">
          <ac:chgData name="Johanna Marx" userId="f7883e6b-b8f5-49bd-97ed-29afbba9d34b" providerId="ADAL" clId="{3FB5D714-E125-4641-BF90-3447CB5D2DA3}" dt="2025-01-31T13:23:22.034" v="6169" actId="1076"/>
          <ac:cxnSpMkLst>
            <pc:docMk/>
            <pc:sldMk cId="3162843186" sldId="464"/>
            <ac:cxnSpMk id="30" creationId="{C132F440-13FC-A2AA-28ED-F24C9FF8B1F4}"/>
          </ac:cxnSpMkLst>
        </pc:cxnChg>
        <pc:cxnChg chg="add mod">
          <ac:chgData name="Johanna Marx" userId="f7883e6b-b8f5-49bd-97ed-29afbba9d34b" providerId="ADAL" clId="{3FB5D714-E125-4641-BF90-3447CB5D2DA3}" dt="2025-01-31T13:23:41.620" v="6179" actId="14100"/>
          <ac:cxnSpMkLst>
            <pc:docMk/>
            <pc:sldMk cId="3162843186" sldId="464"/>
            <ac:cxnSpMk id="33" creationId="{D292266D-16E8-7C48-9F63-E9C3D6955ABA}"/>
          </ac:cxnSpMkLst>
        </pc:cxnChg>
        <pc:cxnChg chg="add mod">
          <ac:chgData name="Johanna Marx" userId="f7883e6b-b8f5-49bd-97ed-29afbba9d34b" providerId="ADAL" clId="{3FB5D714-E125-4641-BF90-3447CB5D2DA3}" dt="2025-01-31T13:24:12.939" v="6200" actId="1036"/>
          <ac:cxnSpMkLst>
            <pc:docMk/>
            <pc:sldMk cId="3162843186" sldId="464"/>
            <ac:cxnSpMk id="37" creationId="{95799207-CA5D-DADD-A5D9-82EE0CC2170E}"/>
          </ac:cxnSpMkLst>
        </pc:cxnChg>
      </pc:sldChg>
      <pc:sldChg chg="addSp delSp modSp mod modClrScheme chgLayout">
        <pc:chgData name="Johanna Marx" userId="f7883e6b-b8f5-49bd-97ed-29afbba9d34b" providerId="ADAL" clId="{3FB5D714-E125-4641-BF90-3447CB5D2DA3}" dt="2025-02-02T12:03:20.080" v="9657" actId="20577"/>
        <pc:sldMkLst>
          <pc:docMk/>
          <pc:sldMk cId="1069253942" sldId="465"/>
        </pc:sldMkLst>
        <pc:spChg chg="add mod">
          <ac:chgData name="Johanna Marx" userId="f7883e6b-b8f5-49bd-97ed-29afbba9d34b" providerId="ADAL" clId="{3FB5D714-E125-4641-BF90-3447CB5D2DA3}" dt="2025-02-02T11:52:29.635" v="9569" actId="1036"/>
          <ac:spMkLst>
            <pc:docMk/>
            <pc:sldMk cId="1069253942" sldId="465"/>
            <ac:spMk id="2" creationId="{0ECB1FBA-6316-6802-E479-7929B2D88870}"/>
          </ac:spMkLst>
        </pc:spChg>
        <pc:spChg chg="mod ord">
          <ac:chgData name="Johanna Marx" userId="f7883e6b-b8f5-49bd-97ed-29afbba9d34b" providerId="ADAL" clId="{3FB5D714-E125-4641-BF90-3447CB5D2DA3}" dt="2025-02-02T10:40:22.950" v="8827" actId="700"/>
          <ac:spMkLst>
            <pc:docMk/>
            <pc:sldMk cId="1069253942" sldId="465"/>
            <ac:spMk id="3" creationId="{43DA4DB8-FE9F-68C7-49F4-0D7298D9D9F4}"/>
          </ac:spMkLst>
        </pc:spChg>
        <pc:spChg chg="add del mod ord">
          <ac:chgData name="Johanna Marx" userId="f7883e6b-b8f5-49bd-97ed-29afbba9d34b" providerId="ADAL" clId="{3FB5D714-E125-4641-BF90-3447CB5D2DA3}" dt="2025-02-02T10:40:28.588" v="8828" actId="478"/>
          <ac:spMkLst>
            <pc:docMk/>
            <pc:sldMk cId="1069253942" sldId="465"/>
            <ac:spMk id="4" creationId="{0D8A728E-79C3-C787-8684-FACFB0ED2902}"/>
          </ac:spMkLst>
        </pc:spChg>
        <pc:spChg chg="add del mod ord">
          <ac:chgData name="Johanna Marx" userId="f7883e6b-b8f5-49bd-97ed-29afbba9d34b" providerId="ADAL" clId="{3FB5D714-E125-4641-BF90-3447CB5D2DA3}" dt="2025-02-02T10:40:28.588" v="8828" actId="478"/>
          <ac:spMkLst>
            <pc:docMk/>
            <pc:sldMk cId="1069253942" sldId="465"/>
            <ac:spMk id="5" creationId="{8F6B03CF-905D-420B-0659-37152F2F2619}"/>
          </ac:spMkLst>
        </pc:spChg>
        <pc:spChg chg="add del mod ord">
          <ac:chgData name="Johanna Marx" userId="f7883e6b-b8f5-49bd-97ed-29afbba9d34b" providerId="ADAL" clId="{3FB5D714-E125-4641-BF90-3447CB5D2DA3}" dt="2025-02-02T10:40:28.588" v="8828" actId="478"/>
          <ac:spMkLst>
            <pc:docMk/>
            <pc:sldMk cId="1069253942" sldId="465"/>
            <ac:spMk id="6" creationId="{D2B46209-84D0-1D92-E776-D47CDC6AB48A}"/>
          </ac:spMkLst>
        </pc:spChg>
        <pc:spChg chg="add del mod ord">
          <ac:chgData name="Johanna Marx" userId="f7883e6b-b8f5-49bd-97ed-29afbba9d34b" providerId="ADAL" clId="{3FB5D714-E125-4641-BF90-3447CB5D2DA3}" dt="2025-02-02T10:40:28.588" v="8828" actId="478"/>
          <ac:spMkLst>
            <pc:docMk/>
            <pc:sldMk cId="1069253942" sldId="465"/>
            <ac:spMk id="7" creationId="{26670438-A748-4858-0AA3-DD3820602A07}"/>
          </ac:spMkLst>
        </pc:spChg>
        <pc:spChg chg="add del mod ord">
          <ac:chgData name="Johanna Marx" userId="f7883e6b-b8f5-49bd-97ed-29afbba9d34b" providerId="ADAL" clId="{3FB5D714-E125-4641-BF90-3447CB5D2DA3}" dt="2025-02-02T10:40:28.588" v="8828" actId="478"/>
          <ac:spMkLst>
            <pc:docMk/>
            <pc:sldMk cId="1069253942" sldId="465"/>
            <ac:spMk id="8" creationId="{29AADDBE-6F87-38AC-57E8-A542DB231E17}"/>
          </ac:spMkLst>
        </pc:spChg>
        <pc:spChg chg="add mod">
          <ac:chgData name="Johanna Marx" userId="f7883e6b-b8f5-49bd-97ed-29afbba9d34b" providerId="ADAL" clId="{3FB5D714-E125-4641-BF90-3447CB5D2DA3}" dt="2025-02-02T12:03:20.080" v="9657" actId="20577"/>
          <ac:spMkLst>
            <pc:docMk/>
            <pc:sldMk cId="1069253942" sldId="465"/>
            <ac:spMk id="11" creationId="{D7AEC48C-8EFC-2CF7-8FF1-AFD9438E4FD1}"/>
          </ac:spMkLst>
        </pc:spChg>
        <pc:spChg chg="add mod">
          <ac:chgData name="Johanna Marx" userId="f7883e6b-b8f5-49bd-97ed-29afbba9d34b" providerId="ADAL" clId="{3FB5D714-E125-4641-BF90-3447CB5D2DA3}" dt="2025-02-02T11:52:29.635" v="9569" actId="1036"/>
          <ac:spMkLst>
            <pc:docMk/>
            <pc:sldMk cId="1069253942" sldId="465"/>
            <ac:spMk id="17" creationId="{717731F2-638D-52B3-0EE9-63B2BF9854AD}"/>
          </ac:spMkLst>
        </pc:spChg>
        <pc:spChg chg="add mod">
          <ac:chgData name="Johanna Marx" userId="f7883e6b-b8f5-49bd-97ed-29afbba9d34b" providerId="ADAL" clId="{3FB5D714-E125-4641-BF90-3447CB5D2DA3}" dt="2025-02-02T11:52:29.635" v="9569" actId="1036"/>
          <ac:spMkLst>
            <pc:docMk/>
            <pc:sldMk cId="1069253942" sldId="465"/>
            <ac:spMk id="18" creationId="{59AA6B8F-49A7-1F98-E6C8-F27D4A3C78C9}"/>
          </ac:spMkLst>
        </pc:spChg>
        <pc:spChg chg="add mod">
          <ac:chgData name="Johanna Marx" userId="f7883e6b-b8f5-49bd-97ed-29afbba9d34b" providerId="ADAL" clId="{3FB5D714-E125-4641-BF90-3447CB5D2DA3}" dt="2025-02-02T11:52:29.635" v="9569" actId="1036"/>
          <ac:spMkLst>
            <pc:docMk/>
            <pc:sldMk cId="1069253942" sldId="465"/>
            <ac:spMk id="20" creationId="{D220FDA7-89AF-4785-740D-72613E088920}"/>
          </ac:spMkLst>
        </pc:spChg>
        <pc:spChg chg="add mod">
          <ac:chgData name="Johanna Marx" userId="f7883e6b-b8f5-49bd-97ed-29afbba9d34b" providerId="ADAL" clId="{3FB5D714-E125-4641-BF90-3447CB5D2DA3}" dt="2025-02-02T11:52:29.635" v="9569" actId="1036"/>
          <ac:spMkLst>
            <pc:docMk/>
            <pc:sldMk cId="1069253942" sldId="465"/>
            <ac:spMk id="21" creationId="{8DD6C1C4-EB1D-E9CE-2094-232E34F39F40}"/>
          </ac:spMkLst>
        </pc:spChg>
        <pc:spChg chg="add mod">
          <ac:chgData name="Johanna Marx" userId="f7883e6b-b8f5-49bd-97ed-29afbba9d34b" providerId="ADAL" clId="{3FB5D714-E125-4641-BF90-3447CB5D2DA3}" dt="2025-02-02T11:52:29.635" v="9569" actId="1036"/>
          <ac:spMkLst>
            <pc:docMk/>
            <pc:sldMk cId="1069253942" sldId="465"/>
            <ac:spMk id="22" creationId="{12FB3FAA-15C0-7D2C-FFD2-9E018C981C4C}"/>
          </ac:spMkLst>
        </pc:spChg>
        <pc:spChg chg="mod">
          <ac:chgData name="Johanna Marx" userId="f7883e6b-b8f5-49bd-97ed-29afbba9d34b" providerId="ADAL" clId="{3FB5D714-E125-4641-BF90-3447CB5D2DA3}" dt="2025-01-31T13:39:04.667" v="6790"/>
          <ac:spMkLst>
            <pc:docMk/>
            <pc:sldMk cId="1069253942" sldId="465"/>
            <ac:spMk id="24" creationId="{6B523FB2-5505-4B27-AE12-89286D5F5908}"/>
          </ac:spMkLst>
        </pc:spChg>
        <pc:grpChg chg="mod">
          <ac:chgData name="Johanna Marx" userId="f7883e6b-b8f5-49bd-97ed-29afbba9d34b" providerId="ADAL" clId="{3FB5D714-E125-4641-BF90-3447CB5D2DA3}" dt="2025-02-02T11:52:29.635" v="9569" actId="1036"/>
          <ac:grpSpMkLst>
            <pc:docMk/>
            <pc:sldMk cId="1069253942" sldId="465"/>
            <ac:grpSpMk id="23" creationId="{D2CA5F0C-5B63-3D1E-6D6A-40B3FB881A98}"/>
          </ac:grpSpMkLst>
        </pc:grpChg>
        <pc:picChg chg="add mod">
          <ac:chgData name="Johanna Marx" userId="f7883e6b-b8f5-49bd-97ed-29afbba9d34b" providerId="ADAL" clId="{3FB5D714-E125-4641-BF90-3447CB5D2DA3}" dt="2025-02-02T11:52:29.635" v="9569" actId="1036"/>
          <ac:picMkLst>
            <pc:docMk/>
            <pc:sldMk cId="1069253942" sldId="465"/>
            <ac:picMk id="19" creationId="{005F3166-9E00-B43A-DA36-8A1C01D15E40}"/>
          </ac:picMkLst>
        </pc:picChg>
        <pc:picChg chg="mod">
          <ac:chgData name="Johanna Marx" userId="f7883e6b-b8f5-49bd-97ed-29afbba9d34b" providerId="ADAL" clId="{3FB5D714-E125-4641-BF90-3447CB5D2DA3}" dt="2025-01-31T13:39:04.667" v="6790"/>
          <ac:picMkLst>
            <pc:docMk/>
            <pc:sldMk cId="1069253942" sldId="465"/>
            <ac:picMk id="25" creationId="{009F14B2-0844-2B8C-E6C5-5EE81393434C}"/>
          </ac:picMkLst>
        </pc:picChg>
      </pc:sldChg>
      <pc:sldChg chg="addSp delSp modSp mod setBg">
        <pc:chgData name="Johanna Marx" userId="f7883e6b-b8f5-49bd-97ed-29afbba9d34b" providerId="ADAL" clId="{3FB5D714-E125-4641-BF90-3447CB5D2DA3}" dt="2025-02-02T13:20:53.367" v="9796" actId="478"/>
        <pc:sldMkLst>
          <pc:docMk/>
          <pc:sldMk cId="567736257" sldId="467"/>
        </pc:sldMkLst>
        <pc:spChg chg="add mod">
          <ac:chgData name="Johanna Marx" userId="f7883e6b-b8f5-49bd-97ed-29afbba9d34b" providerId="ADAL" clId="{3FB5D714-E125-4641-BF90-3447CB5D2DA3}" dt="2025-02-02T10:32:02.564" v="8690" actId="6549"/>
          <ac:spMkLst>
            <pc:docMk/>
            <pc:sldMk cId="567736257" sldId="467"/>
            <ac:spMk id="7" creationId="{3358476D-3240-DD26-03B4-C5E70685CE43}"/>
          </ac:spMkLst>
        </pc:spChg>
        <pc:spChg chg="add del mod">
          <ac:chgData name="Johanna Marx" userId="f7883e6b-b8f5-49bd-97ed-29afbba9d34b" providerId="ADAL" clId="{3FB5D714-E125-4641-BF90-3447CB5D2DA3}" dt="2025-02-02T10:37:25.086" v="8729" actId="478"/>
          <ac:spMkLst>
            <pc:docMk/>
            <pc:sldMk cId="567736257" sldId="467"/>
            <ac:spMk id="10" creationId="{D56E1385-2DBA-8A1F-CDD7-C6E968D34D4F}"/>
          </ac:spMkLst>
        </pc:spChg>
        <pc:spChg chg="add del mod">
          <ac:chgData name="Johanna Marx" userId="f7883e6b-b8f5-49bd-97ed-29afbba9d34b" providerId="ADAL" clId="{3FB5D714-E125-4641-BF90-3447CB5D2DA3}" dt="2025-02-02T10:37:25.086" v="8729" actId="478"/>
          <ac:spMkLst>
            <pc:docMk/>
            <pc:sldMk cId="567736257" sldId="467"/>
            <ac:spMk id="11" creationId="{3DFE0540-24EA-95A2-77FF-FDF4A5489CA4}"/>
          </ac:spMkLst>
        </pc:spChg>
        <pc:spChg chg="add mod">
          <ac:chgData name="Johanna Marx" userId="f7883e6b-b8f5-49bd-97ed-29afbba9d34b" providerId="ADAL" clId="{3FB5D714-E125-4641-BF90-3447CB5D2DA3}" dt="2025-02-02T10:38:26.818" v="8818" actId="1035"/>
          <ac:spMkLst>
            <pc:docMk/>
            <pc:sldMk cId="567736257" sldId="467"/>
            <ac:spMk id="21" creationId="{31AF9879-EA1E-D6F9-62FE-3D410800CF57}"/>
          </ac:spMkLst>
        </pc:spChg>
        <pc:spChg chg="add mod">
          <ac:chgData name="Johanna Marx" userId="f7883e6b-b8f5-49bd-97ed-29afbba9d34b" providerId="ADAL" clId="{3FB5D714-E125-4641-BF90-3447CB5D2DA3}" dt="2025-02-02T10:38:26.818" v="8818" actId="1035"/>
          <ac:spMkLst>
            <pc:docMk/>
            <pc:sldMk cId="567736257" sldId="467"/>
            <ac:spMk id="22" creationId="{2A5554DF-ADFB-4D19-7B64-19B5B4298EB8}"/>
          </ac:spMkLst>
        </pc:spChg>
        <pc:spChg chg="add mod">
          <ac:chgData name="Johanna Marx" userId="f7883e6b-b8f5-49bd-97ed-29afbba9d34b" providerId="ADAL" clId="{3FB5D714-E125-4641-BF90-3447CB5D2DA3}" dt="2025-02-02T10:38:26.818" v="8818" actId="1035"/>
          <ac:spMkLst>
            <pc:docMk/>
            <pc:sldMk cId="567736257" sldId="467"/>
            <ac:spMk id="23" creationId="{3B510168-C2F1-68FE-5E21-F64BECADA825}"/>
          </ac:spMkLst>
        </pc:spChg>
        <pc:spChg chg="add mod">
          <ac:chgData name="Johanna Marx" userId="f7883e6b-b8f5-49bd-97ed-29afbba9d34b" providerId="ADAL" clId="{3FB5D714-E125-4641-BF90-3447CB5D2DA3}" dt="2025-02-02T10:38:26.818" v="8818" actId="1035"/>
          <ac:spMkLst>
            <pc:docMk/>
            <pc:sldMk cId="567736257" sldId="467"/>
            <ac:spMk id="24" creationId="{295E149B-B8CD-F968-145A-7EB91D3019CD}"/>
          </ac:spMkLst>
        </pc:spChg>
        <pc:spChg chg="add mod">
          <ac:chgData name="Johanna Marx" userId="f7883e6b-b8f5-49bd-97ed-29afbba9d34b" providerId="ADAL" clId="{3FB5D714-E125-4641-BF90-3447CB5D2DA3}" dt="2025-02-02T10:38:26.818" v="8818" actId="1035"/>
          <ac:spMkLst>
            <pc:docMk/>
            <pc:sldMk cId="567736257" sldId="467"/>
            <ac:spMk id="25" creationId="{7A751BDB-A370-8F94-01BA-15DD1C7AEB54}"/>
          </ac:spMkLst>
        </pc:spChg>
        <pc:spChg chg="add del mod">
          <ac:chgData name="Johanna Marx" userId="f7883e6b-b8f5-49bd-97ed-29afbba9d34b" providerId="ADAL" clId="{3FB5D714-E125-4641-BF90-3447CB5D2DA3}" dt="2025-02-02T13:20:53.367" v="9796" actId="478"/>
          <ac:spMkLst>
            <pc:docMk/>
            <pc:sldMk cId="567736257" sldId="467"/>
            <ac:spMk id="28" creationId="{E6D37276-12FF-3343-C611-F811600CB44D}"/>
          </ac:spMkLst>
        </pc:spChg>
        <pc:picChg chg="mod">
          <ac:chgData name="Johanna Marx" userId="f7883e6b-b8f5-49bd-97ed-29afbba9d34b" providerId="ADAL" clId="{3FB5D714-E125-4641-BF90-3447CB5D2DA3}" dt="2025-01-31T14:08:33.311" v="8167" actId="1076"/>
          <ac:picMkLst>
            <pc:docMk/>
            <pc:sldMk cId="567736257" sldId="467"/>
            <ac:picMk id="2" creationId="{D4B63750-F71B-EA85-F32F-0A59F4C7256E}"/>
          </ac:picMkLst>
        </pc:picChg>
        <pc:picChg chg="del mod ord">
          <ac:chgData name="Johanna Marx" userId="f7883e6b-b8f5-49bd-97ed-29afbba9d34b" providerId="ADAL" clId="{3FB5D714-E125-4641-BF90-3447CB5D2DA3}" dt="2025-02-02T10:37:25.086" v="8729" actId="478"/>
          <ac:picMkLst>
            <pc:docMk/>
            <pc:sldMk cId="567736257" sldId="467"/>
            <ac:picMk id="6" creationId="{F1F815D5-5BB7-5C25-4332-95BBE8D11731}"/>
          </ac:picMkLst>
        </pc:picChg>
      </pc:sldChg>
      <pc:sldChg chg="addSp delSp modSp mod setBg modClrScheme chgLayout">
        <pc:chgData name="Johanna Marx" userId="f7883e6b-b8f5-49bd-97ed-29afbba9d34b" providerId="ADAL" clId="{3FB5D714-E125-4641-BF90-3447CB5D2DA3}" dt="2025-02-02T12:05:11.861" v="9667" actId="1076"/>
        <pc:sldMkLst>
          <pc:docMk/>
          <pc:sldMk cId="1640100988" sldId="468"/>
        </pc:sldMkLst>
        <pc:spChg chg="mod ord">
          <ac:chgData name="Johanna Marx" userId="f7883e6b-b8f5-49bd-97ed-29afbba9d34b" providerId="ADAL" clId="{3FB5D714-E125-4641-BF90-3447CB5D2DA3}" dt="2025-01-31T14:19:13.795" v="8550" actId="700"/>
          <ac:spMkLst>
            <pc:docMk/>
            <pc:sldMk cId="1640100988" sldId="468"/>
            <ac:spMk id="3" creationId="{62867605-9DC4-9148-9CCF-BF918AF1A214}"/>
          </ac:spMkLst>
        </pc:spChg>
        <pc:spChg chg="add mod">
          <ac:chgData name="Johanna Marx" userId="f7883e6b-b8f5-49bd-97ed-29afbba9d34b" providerId="ADAL" clId="{3FB5D714-E125-4641-BF90-3447CB5D2DA3}" dt="2025-01-31T14:18:56.628" v="8547"/>
          <ac:spMkLst>
            <pc:docMk/>
            <pc:sldMk cId="1640100988" sldId="468"/>
            <ac:spMk id="7" creationId="{F29AAD47-90D2-FB9F-3FBB-1B3CFF1EE008}"/>
          </ac:spMkLst>
        </pc:spChg>
        <pc:spChg chg="mod">
          <ac:chgData name="Johanna Marx" userId="f7883e6b-b8f5-49bd-97ed-29afbba9d34b" providerId="ADAL" clId="{3FB5D714-E125-4641-BF90-3447CB5D2DA3}" dt="2025-02-02T12:05:11.861" v="9667" actId="1076"/>
          <ac:spMkLst>
            <pc:docMk/>
            <pc:sldMk cId="1640100988" sldId="468"/>
            <ac:spMk id="8" creationId="{BE932269-E02A-013D-BED0-7B76175DE60F}"/>
          </ac:spMkLst>
        </pc:spChg>
        <pc:spChg chg="mod">
          <ac:chgData name="Johanna Marx" userId="f7883e6b-b8f5-49bd-97ed-29afbba9d34b" providerId="ADAL" clId="{3FB5D714-E125-4641-BF90-3447CB5D2DA3}" dt="2025-02-02T12:05:11.861" v="9667" actId="1076"/>
          <ac:spMkLst>
            <pc:docMk/>
            <pc:sldMk cId="1640100988" sldId="468"/>
            <ac:spMk id="9" creationId="{EE6DC59A-A7DC-C36F-AAA4-D8D688486A10}"/>
          </ac:spMkLst>
        </pc:spChg>
        <pc:spChg chg="add mod ord">
          <ac:chgData name="Johanna Marx" userId="f7883e6b-b8f5-49bd-97ed-29afbba9d34b" providerId="ADAL" clId="{3FB5D714-E125-4641-BF90-3447CB5D2DA3}" dt="2025-02-02T12:04:55.816" v="9665" actId="14100"/>
          <ac:spMkLst>
            <pc:docMk/>
            <pc:sldMk cId="1640100988" sldId="468"/>
            <ac:spMk id="16" creationId="{072A793A-8DEA-B725-AA0B-5D4AB36E9B89}"/>
          </ac:spMkLst>
        </pc:spChg>
        <pc:picChg chg="mod">
          <ac:chgData name="Johanna Marx" userId="f7883e6b-b8f5-49bd-97ed-29afbba9d34b" providerId="ADAL" clId="{3FB5D714-E125-4641-BF90-3447CB5D2DA3}" dt="2025-01-31T14:19:35.966" v="8603" actId="1076"/>
          <ac:picMkLst>
            <pc:docMk/>
            <pc:sldMk cId="1640100988" sldId="468"/>
            <ac:picMk id="5" creationId="{B94E41A7-3A98-70EA-E4A5-00CE5D636411}"/>
          </ac:picMkLst>
        </pc:picChg>
        <pc:picChg chg="del">
          <ac:chgData name="Johanna Marx" userId="f7883e6b-b8f5-49bd-97ed-29afbba9d34b" providerId="ADAL" clId="{3FB5D714-E125-4641-BF90-3447CB5D2DA3}" dt="2025-02-02T10:39:20.530" v="8825" actId="478"/>
          <ac:picMkLst>
            <pc:docMk/>
            <pc:sldMk cId="1640100988" sldId="468"/>
            <ac:picMk id="6" creationId="{F4C43E69-6527-B603-A528-8A82AE5E5C40}"/>
          </ac:picMkLst>
        </pc:picChg>
        <pc:picChg chg="mod">
          <ac:chgData name="Johanna Marx" userId="f7883e6b-b8f5-49bd-97ed-29afbba9d34b" providerId="ADAL" clId="{3FB5D714-E125-4641-BF90-3447CB5D2DA3}" dt="2025-01-31T14:19:52.499" v="8616" actId="1076"/>
          <ac:picMkLst>
            <pc:docMk/>
            <pc:sldMk cId="1640100988" sldId="468"/>
            <ac:picMk id="11" creationId="{A7D04A84-764D-B4CD-7C05-48E16BDE5A7B}"/>
          </ac:picMkLst>
        </pc:picChg>
      </pc:sldChg>
      <pc:sldChg chg="addSp delSp modSp mod">
        <pc:chgData name="Johanna Marx" userId="f7883e6b-b8f5-49bd-97ed-29afbba9d34b" providerId="ADAL" clId="{3FB5D714-E125-4641-BF90-3447CB5D2DA3}" dt="2025-02-02T11:15:57.931" v="9216" actId="1076"/>
        <pc:sldMkLst>
          <pc:docMk/>
          <pc:sldMk cId="822356106" sldId="469"/>
        </pc:sldMkLst>
        <pc:spChg chg="mod">
          <ac:chgData name="Johanna Marx" userId="f7883e6b-b8f5-49bd-97ed-29afbba9d34b" providerId="ADAL" clId="{3FB5D714-E125-4641-BF90-3447CB5D2DA3}" dt="2025-02-02T11:15:36.534" v="9207" actId="1076"/>
          <ac:spMkLst>
            <pc:docMk/>
            <pc:sldMk cId="822356106" sldId="469"/>
            <ac:spMk id="4" creationId="{9FED2E82-8B4E-CED3-E7CC-13BEEA6B927D}"/>
          </ac:spMkLst>
        </pc:spChg>
        <pc:spChg chg="mod">
          <ac:chgData name="Johanna Marx" userId="f7883e6b-b8f5-49bd-97ed-29afbba9d34b" providerId="ADAL" clId="{3FB5D714-E125-4641-BF90-3447CB5D2DA3}" dt="2025-02-02T11:15:46.168" v="9215" actId="255"/>
          <ac:spMkLst>
            <pc:docMk/>
            <pc:sldMk cId="822356106" sldId="469"/>
            <ac:spMk id="7" creationId="{2E9A378D-8DB5-F059-10CF-019382FA312B}"/>
          </ac:spMkLst>
        </pc:spChg>
        <pc:spChg chg="add mod">
          <ac:chgData name="Johanna Marx" userId="f7883e6b-b8f5-49bd-97ed-29afbba9d34b" providerId="ADAL" clId="{3FB5D714-E125-4641-BF90-3447CB5D2DA3}" dt="2025-02-02T11:15:41.123" v="9214" actId="1036"/>
          <ac:spMkLst>
            <pc:docMk/>
            <pc:sldMk cId="822356106" sldId="469"/>
            <ac:spMk id="32" creationId="{BDE9B31B-A9D6-E34A-09ED-33E476EEC803}"/>
          </ac:spMkLst>
        </pc:spChg>
        <pc:spChg chg="add mod">
          <ac:chgData name="Johanna Marx" userId="f7883e6b-b8f5-49bd-97ed-29afbba9d34b" providerId="ADAL" clId="{3FB5D714-E125-4641-BF90-3447CB5D2DA3}" dt="2025-02-02T11:15:41.123" v="9214" actId="1036"/>
          <ac:spMkLst>
            <pc:docMk/>
            <pc:sldMk cId="822356106" sldId="469"/>
            <ac:spMk id="33" creationId="{357B8962-33E1-6AA3-597F-F5D84D376614}"/>
          </ac:spMkLst>
        </pc:spChg>
        <pc:spChg chg="add mod">
          <ac:chgData name="Johanna Marx" userId="f7883e6b-b8f5-49bd-97ed-29afbba9d34b" providerId="ADAL" clId="{3FB5D714-E125-4641-BF90-3447CB5D2DA3}" dt="2025-02-02T11:15:41.123" v="9214" actId="1036"/>
          <ac:spMkLst>
            <pc:docMk/>
            <pc:sldMk cId="822356106" sldId="469"/>
            <ac:spMk id="35" creationId="{EA0DF390-597F-75D3-AD38-7A6F21C9893C}"/>
          </ac:spMkLst>
        </pc:spChg>
        <pc:spChg chg="add mod">
          <ac:chgData name="Johanna Marx" userId="f7883e6b-b8f5-49bd-97ed-29afbba9d34b" providerId="ADAL" clId="{3FB5D714-E125-4641-BF90-3447CB5D2DA3}" dt="2025-02-02T11:15:41.123" v="9214" actId="1036"/>
          <ac:spMkLst>
            <pc:docMk/>
            <pc:sldMk cId="822356106" sldId="469"/>
            <ac:spMk id="36" creationId="{BFD64908-8205-429E-A6FC-FB938BCAA5EA}"/>
          </ac:spMkLst>
        </pc:spChg>
        <pc:spChg chg="add mod">
          <ac:chgData name="Johanna Marx" userId="f7883e6b-b8f5-49bd-97ed-29afbba9d34b" providerId="ADAL" clId="{3FB5D714-E125-4641-BF90-3447CB5D2DA3}" dt="2025-02-02T11:15:41.123" v="9214" actId="1036"/>
          <ac:spMkLst>
            <pc:docMk/>
            <pc:sldMk cId="822356106" sldId="469"/>
            <ac:spMk id="37" creationId="{120D1827-457E-8945-D091-4C4DAA3160FE}"/>
          </ac:spMkLst>
        </pc:spChg>
        <pc:spChg chg="mod">
          <ac:chgData name="Johanna Marx" userId="f7883e6b-b8f5-49bd-97ed-29afbba9d34b" providerId="ADAL" clId="{3FB5D714-E125-4641-BF90-3447CB5D2DA3}" dt="2025-01-29T16:54:55.946" v="1962"/>
          <ac:spMkLst>
            <pc:docMk/>
            <pc:sldMk cId="822356106" sldId="469"/>
            <ac:spMk id="39" creationId="{7AED2695-F035-EBC7-8B48-FBD4A47B4CA7}"/>
          </ac:spMkLst>
        </pc:spChg>
        <pc:spChg chg="add mod">
          <ac:chgData name="Johanna Marx" userId="f7883e6b-b8f5-49bd-97ed-29afbba9d34b" providerId="ADAL" clId="{3FB5D714-E125-4641-BF90-3447CB5D2DA3}" dt="2025-02-02T11:15:41.123" v="9214" actId="1036"/>
          <ac:spMkLst>
            <pc:docMk/>
            <pc:sldMk cId="822356106" sldId="469"/>
            <ac:spMk id="41" creationId="{297051E1-3E4B-B423-E289-B595362653A9}"/>
          </ac:spMkLst>
        </pc:spChg>
        <pc:grpChg chg="add mod">
          <ac:chgData name="Johanna Marx" userId="f7883e6b-b8f5-49bd-97ed-29afbba9d34b" providerId="ADAL" clId="{3FB5D714-E125-4641-BF90-3447CB5D2DA3}" dt="2025-02-02T11:15:41.123" v="9214" actId="1036"/>
          <ac:grpSpMkLst>
            <pc:docMk/>
            <pc:sldMk cId="822356106" sldId="469"/>
            <ac:grpSpMk id="38" creationId="{628F2D77-CE03-B765-7C65-65F82457FB61}"/>
          </ac:grpSpMkLst>
        </pc:grpChg>
        <pc:graphicFrameChg chg="add mod modGraphic">
          <ac:chgData name="Johanna Marx" userId="f7883e6b-b8f5-49bd-97ed-29afbba9d34b" providerId="ADAL" clId="{3FB5D714-E125-4641-BF90-3447CB5D2DA3}" dt="2025-02-02T11:15:57.931" v="9216" actId="1076"/>
          <ac:graphicFrameMkLst>
            <pc:docMk/>
            <pc:sldMk cId="822356106" sldId="469"/>
            <ac:graphicFrameMk id="28" creationId="{1D987554-8411-E656-D0DC-86692281E6FB}"/>
          </ac:graphicFrameMkLst>
        </pc:graphicFrameChg>
        <pc:picChg chg="mod">
          <ac:chgData name="Johanna Marx" userId="f7883e6b-b8f5-49bd-97ed-29afbba9d34b" providerId="ADAL" clId="{3FB5D714-E125-4641-BF90-3447CB5D2DA3}" dt="2025-01-29T16:47:42.596" v="1569" actId="14100"/>
          <ac:picMkLst>
            <pc:docMk/>
            <pc:sldMk cId="822356106" sldId="469"/>
            <ac:picMk id="20" creationId="{AC1E3F63-E417-E63D-7034-83E6DC91C65B}"/>
          </ac:picMkLst>
        </pc:picChg>
        <pc:picChg chg="add mod">
          <ac:chgData name="Johanna Marx" userId="f7883e6b-b8f5-49bd-97ed-29afbba9d34b" providerId="ADAL" clId="{3FB5D714-E125-4641-BF90-3447CB5D2DA3}" dt="2025-02-02T11:15:41.123" v="9214" actId="1036"/>
          <ac:picMkLst>
            <pc:docMk/>
            <pc:sldMk cId="822356106" sldId="469"/>
            <ac:picMk id="34" creationId="{696C38AB-499F-3054-FD28-569163B6C785}"/>
          </ac:picMkLst>
        </pc:picChg>
        <pc:picChg chg="mod">
          <ac:chgData name="Johanna Marx" userId="f7883e6b-b8f5-49bd-97ed-29afbba9d34b" providerId="ADAL" clId="{3FB5D714-E125-4641-BF90-3447CB5D2DA3}" dt="2025-01-29T16:54:55.946" v="1962"/>
          <ac:picMkLst>
            <pc:docMk/>
            <pc:sldMk cId="822356106" sldId="469"/>
            <ac:picMk id="40" creationId="{95CBA831-69B6-9F92-2464-F00FCDDEA5BD}"/>
          </ac:picMkLst>
        </pc:picChg>
      </pc:sldChg>
      <pc:sldChg chg="addSp delSp modSp add mod modClrScheme chgLayout">
        <pc:chgData name="Johanna Marx" userId="f7883e6b-b8f5-49bd-97ed-29afbba9d34b" providerId="ADAL" clId="{3FB5D714-E125-4641-BF90-3447CB5D2DA3}" dt="2025-02-02T11:01:18.958" v="8945" actId="14100"/>
        <pc:sldMkLst>
          <pc:docMk/>
          <pc:sldMk cId="1314855012" sldId="470"/>
        </pc:sldMkLst>
        <pc:spChg chg="mod">
          <ac:chgData name="Johanna Marx" userId="f7883e6b-b8f5-49bd-97ed-29afbba9d34b" providerId="ADAL" clId="{3FB5D714-E125-4641-BF90-3447CB5D2DA3}" dt="2025-02-02T11:01:18.958" v="8945" actId="14100"/>
          <ac:spMkLst>
            <pc:docMk/>
            <pc:sldMk cId="1314855012" sldId="470"/>
            <ac:spMk id="3" creationId="{BD19C999-E8C2-375C-5E57-DDB082794F07}"/>
          </ac:spMkLst>
        </pc:spChg>
        <pc:spChg chg="mod ord">
          <ac:chgData name="Johanna Marx" userId="f7883e6b-b8f5-49bd-97ed-29afbba9d34b" providerId="ADAL" clId="{3FB5D714-E125-4641-BF90-3447CB5D2DA3}" dt="2025-01-29T13:40:43.164" v="83" actId="700"/>
          <ac:spMkLst>
            <pc:docMk/>
            <pc:sldMk cId="1314855012" sldId="470"/>
            <ac:spMk id="7" creationId="{7BDB8900-7BD0-5E98-B619-E0EB2A4F4F50}"/>
          </ac:spMkLst>
        </pc:spChg>
      </pc:sldChg>
      <pc:sldChg chg="addSp delSp modSp add del mod modClrScheme chgLayout">
        <pc:chgData name="Johanna Marx" userId="f7883e6b-b8f5-49bd-97ed-29afbba9d34b" providerId="ADAL" clId="{3FB5D714-E125-4641-BF90-3447CB5D2DA3}" dt="2025-01-29T16:52:59.809" v="1926" actId="47"/>
        <pc:sldMkLst>
          <pc:docMk/>
          <pc:sldMk cId="1692958717" sldId="471"/>
        </pc:sldMkLst>
      </pc:sldChg>
      <pc:sldChg chg="addSp delSp modSp add mod setBg modClrScheme chgLayout">
        <pc:chgData name="Johanna Marx" userId="f7883e6b-b8f5-49bd-97ed-29afbba9d34b" providerId="ADAL" clId="{3FB5D714-E125-4641-BF90-3447CB5D2DA3}" dt="2025-02-02T11:18:08.695" v="9267"/>
        <pc:sldMkLst>
          <pc:docMk/>
          <pc:sldMk cId="2154948048" sldId="471"/>
        </pc:sldMkLst>
        <pc:spChg chg="add del mod ord">
          <ac:chgData name="Johanna Marx" userId="f7883e6b-b8f5-49bd-97ed-29afbba9d34b" providerId="ADAL" clId="{3FB5D714-E125-4641-BF90-3447CB5D2DA3}" dt="2025-02-02T10:43:45.683" v="8855" actId="478"/>
          <ac:spMkLst>
            <pc:docMk/>
            <pc:sldMk cId="2154948048" sldId="471"/>
            <ac:spMk id="2" creationId="{45F33C8D-8CF6-3C5E-FC9C-E85169C62ECE}"/>
          </ac:spMkLst>
        </pc:spChg>
        <pc:spChg chg="mod ord">
          <ac:chgData name="Johanna Marx" userId="f7883e6b-b8f5-49bd-97ed-29afbba9d34b" providerId="ADAL" clId="{3FB5D714-E125-4641-BF90-3447CB5D2DA3}" dt="2025-02-02T10:43:43.611" v="8854" actId="700"/>
          <ac:spMkLst>
            <pc:docMk/>
            <pc:sldMk cId="2154948048" sldId="471"/>
            <ac:spMk id="3" creationId="{F34E405C-9C5D-649E-2662-CD257562654F}"/>
          </ac:spMkLst>
        </pc:spChg>
        <pc:spChg chg="add mod">
          <ac:chgData name="Johanna Marx" userId="f7883e6b-b8f5-49bd-97ed-29afbba9d34b" providerId="ADAL" clId="{3FB5D714-E125-4641-BF90-3447CB5D2DA3}" dt="2025-01-29T17:00:31.946" v="2258" actId="20577"/>
          <ac:spMkLst>
            <pc:docMk/>
            <pc:sldMk cId="2154948048" sldId="471"/>
            <ac:spMk id="21" creationId="{D93B72DB-F74C-FA6F-B94C-E8424D06C471}"/>
          </ac:spMkLst>
        </pc:spChg>
        <pc:spChg chg="add mod">
          <ac:chgData name="Johanna Marx" userId="f7883e6b-b8f5-49bd-97ed-29afbba9d34b" providerId="ADAL" clId="{3FB5D714-E125-4641-BF90-3447CB5D2DA3}" dt="2025-01-29T17:00:39.987" v="2261"/>
          <ac:spMkLst>
            <pc:docMk/>
            <pc:sldMk cId="2154948048" sldId="471"/>
            <ac:spMk id="22" creationId="{FA2FE9DE-B16F-1509-1422-688731D4D2F0}"/>
          </ac:spMkLst>
        </pc:spChg>
        <pc:graphicFrameChg chg="mod">
          <ac:chgData name="Johanna Marx" userId="f7883e6b-b8f5-49bd-97ed-29afbba9d34b" providerId="ADAL" clId="{3FB5D714-E125-4641-BF90-3447CB5D2DA3}" dt="2025-01-29T17:00:58.269" v="2264" actId="1076"/>
          <ac:graphicFrameMkLst>
            <pc:docMk/>
            <pc:sldMk cId="2154948048" sldId="471"/>
            <ac:graphicFrameMk id="13" creationId="{4996F7D8-4DF2-BA39-3635-F6F7AB077F67}"/>
          </ac:graphicFrameMkLst>
        </pc:graphicFrameChg>
        <pc:graphicFrameChg chg="mod">
          <ac:chgData name="Johanna Marx" userId="f7883e6b-b8f5-49bd-97ed-29afbba9d34b" providerId="ADAL" clId="{3FB5D714-E125-4641-BF90-3447CB5D2DA3}" dt="2025-01-29T17:01:11.545" v="2266" actId="1076"/>
          <ac:graphicFrameMkLst>
            <pc:docMk/>
            <pc:sldMk cId="2154948048" sldId="471"/>
            <ac:graphicFrameMk id="14" creationId="{10605B9F-8703-3ED9-65B6-01F01EFCBF91}"/>
          </ac:graphicFrameMkLst>
        </pc:graphicFrameChg>
      </pc:sldChg>
      <pc:sldChg chg="addSp delSp modSp new mod setBg">
        <pc:chgData name="Johanna Marx" userId="f7883e6b-b8f5-49bd-97ed-29afbba9d34b" providerId="ADAL" clId="{3FB5D714-E125-4641-BF90-3447CB5D2DA3}" dt="2025-02-02T12:00:11.250" v="9650"/>
        <pc:sldMkLst>
          <pc:docMk/>
          <pc:sldMk cId="3363083462" sldId="472"/>
        </pc:sldMkLst>
        <pc:spChg chg="add mod">
          <ac:chgData name="Johanna Marx" userId="f7883e6b-b8f5-49bd-97ed-29afbba9d34b" providerId="ADAL" clId="{3FB5D714-E125-4641-BF90-3447CB5D2DA3}" dt="2025-01-31T14:15:06.118" v="8492" actId="20577"/>
          <ac:spMkLst>
            <pc:docMk/>
            <pc:sldMk cId="3363083462" sldId="472"/>
            <ac:spMk id="6" creationId="{B5227F99-991A-0E02-D506-0C4F6388F74C}"/>
          </ac:spMkLst>
        </pc:spChg>
        <pc:spChg chg="add mod">
          <ac:chgData name="Johanna Marx" userId="f7883e6b-b8f5-49bd-97ed-29afbba9d34b" providerId="ADAL" clId="{3FB5D714-E125-4641-BF90-3447CB5D2DA3}" dt="2025-01-31T14:15:40.322" v="8500" actId="14100"/>
          <ac:spMkLst>
            <pc:docMk/>
            <pc:sldMk cId="3363083462" sldId="472"/>
            <ac:spMk id="7" creationId="{A327B937-1DB7-C0D8-4C41-21BE826533B5}"/>
          </ac:spMkLst>
        </pc:spChg>
        <pc:graphicFrameChg chg="add mod">
          <ac:chgData name="Johanna Marx" userId="f7883e6b-b8f5-49bd-97ed-29afbba9d34b" providerId="ADAL" clId="{3FB5D714-E125-4641-BF90-3447CB5D2DA3}" dt="2025-01-31T14:16:14.797" v="8506" actId="1076"/>
          <ac:graphicFrameMkLst>
            <pc:docMk/>
            <pc:sldMk cId="3363083462" sldId="472"/>
            <ac:graphicFrameMk id="10" creationId="{10B053D9-CEB1-830F-329D-2BACB730B22B}"/>
          </ac:graphicFrameMkLst>
        </pc:graphicFrameChg>
        <pc:graphicFrameChg chg="add mod modGraphic">
          <ac:chgData name="Johanna Marx" userId="f7883e6b-b8f5-49bd-97ed-29afbba9d34b" providerId="ADAL" clId="{3FB5D714-E125-4641-BF90-3447CB5D2DA3}" dt="2025-01-31T14:16:14.797" v="8506" actId="1076"/>
          <ac:graphicFrameMkLst>
            <pc:docMk/>
            <pc:sldMk cId="3363083462" sldId="472"/>
            <ac:graphicFrameMk id="11" creationId="{E7AE3C25-BF76-40BE-E181-1FE435654B98}"/>
          </ac:graphicFrameMkLst>
        </pc:graphicFrameChg>
      </pc:sldChg>
      <pc:sldChg chg="new del">
        <pc:chgData name="Johanna Marx" userId="f7883e6b-b8f5-49bd-97ed-29afbba9d34b" providerId="ADAL" clId="{3FB5D714-E125-4641-BF90-3447CB5D2DA3}" dt="2025-01-31T11:23:07.701" v="4187" actId="680"/>
        <pc:sldMkLst>
          <pc:docMk/>
          <pc:sldMk cId="3796081270" sldId="472"/>
        </pc:sldMkLst>
      </pc:sldChg>
      <pc:sldMasterChg chg="modSldLayout">
        <pc:chgData name="Johanna Marx" userId="f7883e6b-b8f5-49bd-97ed-29afbba9d34b" providerId="ADAL" clId="{3FB5D714-E125-4641-BF90-3447CB5D2DA3}" dt="2025-01-29T13:19:39.144" v="29" actId="207"/>
        <pc:sldMasterMkLst>
          <pc:docMk/>
          <pc:sldMasterMk cId="0" sldId="2147483669"/>
        </pc:sldMasterMkLst>
        <pc:sldLayoutChg chg="modSp mod">
          <pc:chgData name="Johanna Marx" userId="f7883e6b-b8f5-49bd-97ed-29afbba9d34b" providerId="ADAL" clId="{3FB5D714-E125-4641-BF90-3447CB5D2DA3}" dt="2025-01-29T13:18:14.608" v="15" actId="207"/>
          <pc:sldLayoutMkLst>
            <pc:docMk/>
            <pc:sldMasterMk cId="0" sldId="2147483669"/>
            <pc:sldLayoutMk cId="0" sldId="2147483648"/>
          </pc:sldLayoutMkLst>
          <pc:spChg chg="mod">
            <ac:chgData name="Johanna Marx" userId="f7883e6b-b8f5-49bd-97ed-29afbba9d34b" providerId="ADAL" clId="{3FB5D714-E125-4641-BF90-3447CB5D2DA3}" dt="2025-01-29T13:18:11.690" v="14" actId="207"/>
            <ac:spMkLst>
              <pc:docMk/>
              <pc:sldMasterMk cId="0" sldId="2147483669"/>
              <pc:sldLayoutMk cId="0" sldId="2147483648"/>
              <ac:spMk id="5" creationId="{B73CE064-1E2D-E72B-2148-EB74FC217692}"/>
            </ac:spMkLst>
          </pc:spChg>
          <pc:spChg chg="mod">
            <ac:chgData name="Johanna Marx" userId="f7883e6b-b8f5-49bd-97ed-29afbba9d34b" providerId="ADAL" clId="{3FB5D714-E125-4641-BF90-3447CB5D2DA3}" dt="2025-01-29T13:18:10.170" v="13" actId="207"/>
            <ac:spMkLst>
              <pc:docMk/>
              <pc:sldMasterMk cId="0" sldId="2147483669"/>
              <pc:sldLayoutMk cId="0" sldId="2147483648"/>
              <ac:spMk id="21" creationId="{00000000-0000-0000-0000-000000000000}"/>
            </ac:spMkLst>
          </pc:spChg>
          <pc:spChg chg="mod">
            <ac:chgData name="Johanna Marx" userId="f7883e6b-b8f5-49bd-97ed-29afbba9d34b" providerId="ADAL" clId="{3FB5D714-E125-4641-BF90-3447CB5D2DA3}" dt="2025-01-29T13:18:14.608" v="15" actId="207"/>
            <ac:spMkLst>
              <pc:docMk/>
              <pc:sldMasterMk cId="0" sldId="2147483669"/>
              <pc:sldLayoutMk cId="0" sldId="2147483648"/>
              <ac:spMk id="22" creationId="{00000000-0000-0000-0000-000000000000}"/>
            </ac:spMkLst>
          </pc:spChg>
        </pc:sldLayoutChg>
        <pc:sldLayoutChg chg="modSp mod">
          <pc:chgData name="Johanna Marx" userId="f7883e6b-b8f5-49bd-97ed-29afbba9d34b" providerId="ADAL" clId="{3FB5D714-E125-4641-BF90-3447CB5D2DA3}" dt="2025-01-29T13:18:23.838" v="16" actId="207"/>
          <pc:sldLayoutMkLst>
            <pc:docMk/>
            <pc:sldMasterMk cId="0" sldId="2147483669"/>
            <pc:sldLayoutMk cId="0" sldId="2147483651"/>
          </pc:sldLayoutMkLst>
          <pc:spChg chg="mod">
            <ac:chgData name="Johanna Marx" userId="f7883e6b-b8f5-49bd-97ed-29afbba9d34b" providerId="ADAL" clId="{3FB5D714-E125-4641-BF90-3447CB5D2DA3}" dt="2025-01-29T13:18:23.838" v="16" actId="207"/>
            <ac:spMkLst>
              <pc:docMk/>
              <pc:sldMasterMk cId="0" sldId="2147483669"/>
              <pc:sldLayoutMk cId="0" sldId="2147483651"/>
              <ac:spMk id="71" creationId="{00000000-0000-0000-0000-000000000000}"/>
            </ac:spMkLst>
          </pc:spChg>
        </pc:sldLayoutChg>
        <pc:sldLayoutChg chg="modSp mod">
          <pc:chgData name="Johanna Marx" userId="f7883e6b-b8f5-49bd-97ed-29afbba9d34b" providerId="ADAL" clId="{3FB5D714-E125-4641-BF90-3447CB5D2DA3}" dt="2025-01-29T13:18:32.172" v="17" actId="207"/>
          <pc:sldLayoutMkLst>
            <pc:docMk/>
            <pc:sldMasterMk cId="0" sldId="2147483669"/>
            <pc:sldLayoutMk cId="0" sldId="2147483652"/>
          </pc:sldLayoutMkLst>
          <pc:spChg chg="mod">
            <ac:chgData name="Johanna Marx" userId="f7883e6b-b8f5-49bd-97ed-29afbba9d34b" providerId="ADAL" clId="{3FB5D714-E125-4641-BF90-3447CB5D2DA3}" dt="2025-01-29T13:18:32.172" v="17" actId="207"/>
            <ac:spMkLst>
              <pc:docMk/>
              <pc:sldMasterMk cId="0" sldId="2147483669"/>
              <pc:sldLayoutMk cId="0" sldId="2147483652"/>
              <ac:spMk id="88" creationId="{00000000-0000-0000-0000-000000000000}"/>
            </ac:spMkLst>
          </pc:spChg>
        </pc:sldLayoutChg>
        <pc:sldLayoutChg chg="modSp mod">
          <pc:chgData name="Johanna Marx" userId="f7883e6b-b8f5-49bd-97ed-29afbba9d34b" providerId="ADAL" clId="{3FB5D714-E125-4641-BF90-3447CB5D2DA3}" dt="2025-01-29T13:18:39.974" v="18" actId="207"/>
          <pc:sldLayoutMkLst>
            <pc:docMk/>
            <pc:sldMasterMk cId="0" sldId="2147483669"/>
            <pc:sldLayoutMk cId="0" sldId="2147483653"/>
          </pc:sldLayoutMkLst>
          <pc:spChg chg="mod">
            <ac:chgData name="Johanna Marx" userId="f7883e6b-b8f5-49bd-97ed-29afbba9d34b" providerId="ADAL" clId="{3FB5D714-E125-4641-BF90-3447CB5D2DA3}" dt="2025-01-29T13:18:39.974" v="18" actId="207"/>
            <ac:spMkLst>
              <pc:docMk/>
              <pc:sldMasterMk cId="0" sldId="2147483669"/>
              <pc:sldLayoutMk cId="0" sldId="2147483653"/>
              <ac:spMk id="2" creationId="{40CD9D3D-1B30-4252-0588-4F6F448A5892}"/>
            </ac:spMkLst>
          </pc:spChg>
        </pc:sldLayoutChg>
        <pc:sldLayoutChg chg="modSp mod">
          <pc:chgData name="Johanna Marx" userId="f7883e6b-b8f5-49bd-97ed-29afbba9d34b" providerId="ADAL" clId="{3FB5D714-E125-4641-BF90-3447CB5D2DA3}" dt="2025-01-29T13:18:46.525" v="19" actId="207"/>
          <pc:sldLayoutMkLst>
            <pc:docMk/>
            <pc:sldMasterMk cId="0" sldId="2147483669"/>
            <pc:sldLayoutMk cId="0" sldId="2147483654"/>
          </pc:sldLayoutMkLst>
          <pc:spChg chg="mod">
            <ac:chgData name="Johanna Marx" userId="f7883e6b-b8f5-49bd-97ed-29afbba9d34b" providerId="ADAL" clId="{3FB5D714-E125-4641-BF90-3447CB5D2DA3}" dt="2025-01-29T13:18:46.525" v="19" actId="207"/>
            <ac:spMkLst>
              <pc:docMk/>
              <pc:sldMasterMk cId="0" sldId="2147483669"/>
              <pc:sldLayoutMk cId="0" sldId="2147483654"/>
              <ac:spMk id="105" creationId="{00000000-0000-0000-0000-000000000000}"/>
            </ac:spMkLst>
          </pc:spChg>
          <pc:spChg chg="mod">
            <ac:chgData name="Johanna Marx" userId="f7883e6b-b8f5-49bd-97ed-29afbba9d34b" providerId="ADAL" clId="{3FB5D714-E125-4641-BF90-3447CB5D2DA3}" dt="2025-01-29T13:18:46.525" v="19" actId="207"/>
            <ac:spMkLst>
              <pc:docMk/>
              <pc:sldMasterMk cId="0" sldId="2147483669"/>
              <pc:sldLayoutMk cId="0" sldId="2147483654"/>
              <ac:spMk id="106" creationId="{00000000-0000-0000-0000-000000000000}"/>
            </ac:spMkLst>
          </pc:spChg>
        </pc:sldLayoutChg>
        <pc:sldLayoutChg chg="modSp mod">
          <pc:chgData name="Johanna Marx" userId="f7883e6b-b8f5-49bd-97ed-29afbba9d34b" providerId="ADAL" clId="{3FB5D714-E125-4641-BF90-3447CB5D2DA3}" dt="2025-01-29T13:19:05.016" v="21" actId="207"/>
          <pc:sldLayoutMkLst>
            <pc:docMk/>
            <pc:sldMasterMk cId="0" sldId="2147483669"/>
            <pc:sldLayoutMk cId="0" sldId="2147483660"/>
          </pc:sldLayoutMkLst>
          <pc:spChg chg="mod">
            <ac:chgData name="Johanna Marx" userId="f7883e6b-b8f5-49bd-97ed-29afbba9d34b" providerId="ADAL" clId="{3FB5D714-E125-4641-BF90-3447CB5D2DA3}" dt="2025-01-29T13:18:54.180" v="20" actId="207"/>
            <ac:spMkLst>
              <pc:docMk/>
              <pc:sldMasterMk cId="0" sldId="2147483669"/>
              <pc:sldLayoutMk cId="0" sldId="2147483660"/>
              <ac:spMk id="177" creationId="{00000000-0000-0000-0000-000000000000}"/>
            </ac:spMkLst>
          </pc:spChg>
          <pc:spChg chg="mod">
            <ac:chgData name="Johanna Marx" userId="f7883e6b-b8f5-49bd-97ed-29afbba9d34b" providerId="ADAL" clId="{3FB5D714-E125-4641-BF90-3447CB5D2DA3}" dt="2025-01-29T13:19:05.016" v="21" actId="207"/>
            <ac:spMkLst>
              <pc:docMk/>
              <pc:sldMasterMk cId="0" sldId="2147483669"/>
              <pc:sldLayoutMk cId="0" sldId="2147483660"/>
              <ac:spMk id="183" creationId="{00000000-0000-0000-0000-000000000000}"/>
            </ac:spMkLst>
          </pc:spChg>
          <pc:spChg chg="mod">
            <ac:chgData name="Johanna Marx" userId="f7883e6b-b8f5-49bd-97ed-29afbba9d34b" providerId="ADAL" clId="{3FB5D714-E125-4641-BF90-3447CB5D2DA3}" dt="2025-01-29T13:19:05.016" v="21" actId="207"/>
            <ac:spMkLst>
              <pc:docMk/>
              <pc:sldMasterMk cId="0" sldId="2147483669"/>
              <pc:sldLayoutMk cId="0" sldId="2147483660"/>
              <ac:spMk id="184" creationId="{00000000-0000-0000-0000-000000000000}"/>
            </ac:spMkLst>
          </pc:spChg>
          <pc:spChg chg="mod">
            <ac:chgData name="Johanna Marx" userId="f7883e6b-b8f5-49bd-97ed-29afbba9d34b" providerId="ADAL" clId="{3FB5D714-E125-4641-BF90-3447CB5D2DA3}" dt="2025-01-29T13:19:05.016" v="21" actId="207"/>
            <ac:spMkLst>
              <pc:docMk/>
              <pc:sldMasterMk cId="0" sldId="2147483669"/>
              <pc:sldLayoutMk cId="0" sldId="2147483660"/>
              <ac:spMk id="185" creationId="{00000000-0000-0000-0000-000000000000}"/>
            </ac:spMkLst>
          </pc:spChg>
          <pc:spChg chg="mod">
            <ac:chgData name="Johanna Marx" userId="f7883e6b-b8f5-49bd-97ed-29afbba9d34b" providerId="ADAL" clId="{3FB5D714-E125-4641-BF90-3447CB5D2DA3}" dt="2025-01-29T13:19:05.016" v="21" actId="207"/>
            <ac:spMkLst>
              <pc:docMk/>
              <pc:sldMasterMk cId="0" sldId="2147483669"/>
              <pc:sldLayoutMk cId="0" sldId="2147483660"/>
              <ac:spMk id="186" creationId="{00000000-0000-0000-0000-000000000000}"/>
            </ac:spMkLst>
          </pc:spChg>
        </pc:sldLayoutChg>
        <pc:sldLayoutChg chg="modSp mod">
          <pc:chgData name="Johanna Marx" userId="f7883e6b-b8f5-49bd-97ed-29afbba9d34b" providerId="ADAL" clId="{3FB5D714-E125-4641-BF90-3447CB5D2DA3}" dt="2025-01-29T13:19:12.307" v="22" actId="207"/>
          <pc:sldLayoutMkLst>
            <pc:docMk/>
            <pc:sldMasterMk cId="0" sldId="2147483669"/>
            <pc:sldLayoutMk cId="0" sldId="2147483661"/>
          </pc:sldLayoutMkLst>
          <pc:spChg chg="mod">
            <ac:chgData name="Johanna Marx" userId="f7883e6b-b8f5-49bd-97ed-29afbba9d34b" providerId="ADAL" clId="{3FB5D714-E125-4641-BF90-3447CB5D2DA3}" dt="2025-01-29T13:19:12.307" v="22" actId="207"/>
            <ac:spMkLst>
              <pc:docMk/>
              <pc:sldMasterMk cId="0" sldId="2147483669"/>
              <pc:sldLayoutMk cId="0" sldId="2147483661"/>
              <ac:spMk id="201" creationId="{00000000-0000-0000-0000-000000000000}"/>
            </ac:spMkLst>
          </pc:spChg>
          <pc:spChg chg="mod">
            <ac:chgData name="Johanna Marx" userId="f7883e6b-b8f5-49bd-97ed-29afbba9d34b" providerId="ADAL" clId="{3FB5D714-E125-4641-BF90-3447CB5D2DA3}" dt="2025-01-29T13:19:12.307" v="22" actId="207"/>
            <ac:spMkLst>
              <pc:docMk/>
              <pc:sldMasterMk cId="0" sldId="2147483669"/>
              <pc:sldLayoutMk cId="0" sldId="2147483661"/>
              <ac:spMk id="202" creationId="{00000000-0000-0000-0000-000000000000}"/>
            </ac:spMkLst>
          </pc:spChg>
        </pc:sldLayoutChg>
        <pc:sldLayoutChg chg="modSp mod">
          <pc:chgData name="Johanna Marx" userId="f7883e6b-b8f5-49bd-97ed-29afbba9d34b" providerId="ADAL" clId="{3FB5D714-E125-4641-BF90-3447CB5D2DA3}" dt="2025-01-29T13:19:15.678" v="23" actId="207"/>
          <pc:sldLayoutMkLst>
            <pc:docMk/>
            <pc:sldMasterMk cId="0" sldId="2147483669"/>
            <pc:sldLayoutMk cId="0" sldId="2147483662"/>
          </pc:sldLayoutMkLst>
          <pc:spChg chg="mod">
            <ac:chgData name="Johanna Marx" userId="f7883e6b-b8f5-49bd-97ed-29afbba9d34b" providerId="ADAL" clId="{3FB5D714-E125-4641-BF90-3447CB5D2DA3}" dt="2025-01-29T13:19:15.678" v="23" actId="207"/>
            <ac:spMkLst>
              <pc:docMk/>
              <pc:sldMasterMk cId="0" sldId="2147483669"/>
              <pc:sldLayoutMk cId="0" sldId="2147483662"/>
              <ac:spMk id="217" creationId="{00000000-0000-0000-0000-000000000000}"/>
            </ac:spMkLst>
          </pc:spChg>
        </pc:sldLayoutChg>
        <pc:sldLayoutChg chg="modSp mod">
          <pc:chgData name="Johanna Marx" userId="f7883e6b-b8f5-49bd-97ed-29afbba9d34b" providerId="ADAL" clId="{3FB5D714-E125-4641-BF90-3447CB5D2DA3}" dt="2025-01-29T13:19:23.397" v="24" actId="207"/>
          <pc:sldLayoutMkLst>
            <pc:docMk/>
            <pc:sldMasterMk cId="0" sldId="2147483669"/>
            <pc:sldLayoutMk cId="0" sldId="2147483663"/>
          </pc:sldLayoutMkLst>
          <pc:spChg chg="mod">
            <ac:chgData name="Johanna Marx" userId="f7883e6b-b8f5-49bd-97ed-29afbba9d34b" providerId="ADAL" clId="{3FB5D714-E125-4641-BF90-3447CB5D2DA3}" dt="2025-01-29T13:19:23.397" v="24" actId="207"/>
            <ac:spMkLst>
              <pc:docMk/>
              <pc:sldMasterMk cId="0" sldId="2147483669"/>
              <pc:sldLayoutMk cId="0" sldId="2147483663"/>
              <ac:spMk id="237" creationId="{00000000-0000-0000-0000-000000000000}"/>
            </ac:spMkLst>
          </pc:spChg>
          <pc:spChg chg="mod">
            <ac:chgData name="Johanna Marx" userId="f7883e6b-b8f5-49bd-97ed-29afbba9d34b" providerId="ADAL" clId="{3FB5D714-E125-4641-BF90-3447CB5D2DA3}" dt="2025-01-29T13:19:23.397" v="24" actId="207"/>
            <ac:spMkLst>
              <pc:docMk/>
              <pc:sldMasterMk cId="0" sldId="2147483669"/>
              <pc:sldLayoutMk cId="0" sldId="2147483663"/>
              <ac:spMk id="238" creationId="{00000000-0000-0000-0000-000000000000}"/>
            </ac:spMkLst>
          </pc:spChg>
        </pc:sldLayoutChg>
        <pc:sldLayoutChg chg="modSp mod">
          <pc:chgData name="Johanna Marx" userId="f7883e6b-b8f5-49bd-97ed-29afbba9d34b" providerId="ADAL" clId="{3FB5D714-E125-4641-BF90-3447CB5D2DA3}" dt="2025-01-29T13:19:34.339" v="28" actId="207"/>
          <pc:sldLayoutMkLst>
            <pc:docMk/>
            <pc:sldMasterMk cId="0" sldId="2147483669"/>
            <pc:sldLayoutMk cId="0" sldId="2147483665"/>
          </pc:sldLayoutMkLst>
          <pc:spChg chg="mod">
            <ac:chgData name="Johanna Marx" userId="f7883e6b-b8f5-49bd-97ed-29afbba9d34b" providerId="ADAL" clId="{3FB5D714-E125-4641-BF90-3447CB5D2DA3}" dt="2025-01-29T13:19:31.904" v="27" actId="207"/>
            <ac:spMkLst>
              <pc:docMk/>
              <pc:sldMasterMk cId="0" sldId="2147483669"/>
              <pc:sldLayoutMk cId="0" sldId="2147483665"/>
              <ac:spMk id="252" creationId="{00000000-0000-0000-0000-000000000000}"/>
            </ac:spMkLst>
          </pc:spChg>
          <pc:spChg chg="mod">
            <ac:chgData name="Johanna Marx" userId="f7883e6b-b8f5-49bd-97ed-29afbba9d34b" providerId="ADAL" clId="{3FB5D714-E125-4641-BF90-3447CB5D2DA3}" dt="2025-01-29T13:19:34.339" v="28" actId="207"/>
            <ac:spMkLst>
              <pc:docMk/>
              <pc:sldMasterMk cId="0" sldId="2147483669"/>
              <pc:sldLayoutMk cId="0" sldId="2147483665"/>
              <ac:spMk id="253" creationId="{00000000-0000-0000-0000-000000000000}"/>
            </ac:spMkLst>
          </pc:spChg>
          <pc:grpChg chg="mod">
            <ac:chgData name="Johanna Marx" userId="f7883e6b-b8f5-49bd-97ed-29afbba9d34b" providerId="ADAL" clId="{3FB5D714-E125-4641-BF90-3447CB5D2DA3}" dt="2025-01-29T13:19:29.709" v="26" actId="207"/>
            <ac:grpSpMkLst>
              <pc:docMk/>
              <pc:sldMasterMk cId="0" sldId="2147483669"/>
              <pc:sldLayoutMk cId="0" sldId="2147483665"/>
              <ac:grpSpMk id="251" creationId="{00000000-0000-0000-0000-000000000000}"/>
            </ac:grpSpMkLst>
          </pc:grpChg>
        </pc:sldLayoutChg>
        <pc:sldLayoutChg chg="modSp mod">
          <pc:chgData name="Johanna Marx" userId="f7883e6b-b8f5-49bd-97ed-29afbba9d34b" providerId="ADAL" clId="{3FB5D714-E125-4641-BF90-3447CB5D2DA3}" dt="2025-01-29T13:19:39.144" v="29" actId="207"/>
          <pc:sldLayoutMkLst>
            <pc:docMk/>
            <pc:sldMasterMk cId="0" sldId="2147483669"/>
            <pc:sldLayoutMk cId="0" sldId="2147483666"/>
          </pc:sldLayoutMkLst>
          <pc:spChg chg="mod">
            <ac:chgData name="Johanna Marx" userId="f7883e6b-b8f5-49bd-97ed-29afbba9d34b" providerId="ADAL" clId="{3FB5D714-E125-4641-BF90-3447CB5D2DA3}" dt="2025-01-29T13:19:39.144" v="29" actId="207"/>
            <ac:spMkLst>
              <pc:docMk/>
              <pc:sldMasterMk cId="0" sldId="2147483669"/>
              <pc:sldLayoutMk cId="0" sldId="2147483666"/>
              <ac:spMk id="284" creationId="{00000000-0000-0000-0000-000000000000}"/>
            </ac:spMkLst>
          </pc:spChg>
          <pc:spChg chg="mod">
            <ac:chgData name="Johanna Marx" userId="f7883e6b-b8f5-49bd-97ed-29afbba9d34b" providerId="ADAL" clId="{3FB5D714-E125-4641-BF90-3447CB5D2DA3}" dt="2025-01-29T13:19:39.144" v="29" actId="207"/>
            <ac:spMkLst>
              <pc:docMk/>
              <pc:sldMasterMk cId="0" sldId="2147483669"/>
              <pc:sldLayoutMk cId="0" sldId="2147483666"/>
              <ac:spMk id="285" creationId="{00000000-0000-0000-0000-000000000000}"/>
            </ac:spMkLst>
          </pc:spChg>
        </pc:sldLayoutChg>
      </pc:sldMasterChg>
    </pc:docChg>
  </pc:docChgLst>
  <pc:docChgLst>
    <pc:chgData name="Ömer Taha Sevimli" userId="S::omer.sevimli@tum.de::d68fb2f4-76b1-4cfc-96e6-800a7d956fcb" providerId="AD" clId="Web-{B6CD2F0A-9BE3-CD93-7CCD-ADF226C52D6F}"/>
    <pc:docChg chg="modSld">
      <pc:chgData name="Ömer Taha Sevimli" userId="S::omer.sevimli@tum.de::d68fb2f4-76b1-4cfc-96e6-800a7d956fcb" providerId="AD" clId="Web-{B6CD2F0A-9BE3-CD93-7CCD-ADF226C52D6F}" dt="2024-11-26T09:45:58.443" v="35" actId="20577"/>
      <pc:docMkLst>
        <pc:docMk/>
      </pc:docMkLst>
      <pc:sldChg chg="modSp">
        <pc:chgData name="Ömer Taha Sevimli" userId="S::omer.sevimli@tum.de::d68fb2f4-76b1-4cfc-96e6-800a7d956fcb" providerId="AD" clId="Web-{B6CD2F0A-9BE3-CD93-7CCD-ADF226C52D6F}" dt="2024-11-26T09:45:58.443" v="35" actId="20577"/>
        <pc:sldMkLst>
          <pc:docMk/>
          <pc:sldMk cId="2461222098" sldId="399"/>
        </pc:sldMkLst>
        <pc:spChg chg="mod">
          <ac:chgData name="Ömer Taha Sevimli" userId="S::omer.sevimli@tum.de::d68fb2f4-76b1-4cfc-96e6-800a7d956fcb" providerId="AD" clId="Web-{B6CD2F0A-9BE3-CD93-7CCD-ADF226C52D6F}" dt="2024-11-26T09:45:58.443" v="35" actId="20577"/>
          <ac:spMkLst>
            <pc:docMk/>
            <pc:sldMk cId="2461222098" sldId="399"/>
            <ac:spMk id="22" creationId="{3217CAE4-727E-902E-01B2-390D4371FDCA}"/>
          </ac:spMkLst>
        </pc:spChg>
      </pc:sldChg>
    </pc:docChg>
  </pc:docChgLst>
  <pc:docChgLst>
    <pc:chgData name="Tabea Monz" userId="S::t.monz@tum.de::f46a5392-c507-4495-8454-0a2fbbcf0cda" providerId="AD" clId="Web-{4E563375-275E-EAC2-56EE-96D948EE9A79}"/>
    <pc:docChg chg="modSld">
      <pc:chgData name="Tabea Monz" userId="S::t.monz@tum.de::f46a5392-c507-4495-8454-0a2fbbcf0cda" providerId="AD" clId="Web-{4E563375-275E-EAC2-56EE-96D948EE9A79}" dt="2024-11-18T16:47:44.878" v="28" actId="20577"/>
      <pc:docMkLst>
        <pc:docMk/>
      </pc:docMkLst>
      <pc:sldChg chg="addSp delSp modSp">
        <pc:chgData name="Tabea Monz" userId="S::t.monz@tum.de::f46a5392-c507-4495-8454-0a2fbbcf0cda" providerId="AD" clId="Web-{4E563375-275E-EAC2-56EE-96D948EE9A79}" dt="2024-11-18T16:46:45.188" v="7"/>
        <pc:sldMkLst>
          <pc:docMk/>
          <pc:sldMk cId="1601966315" sldId="285"/>
        </pc:sldMkLst>
      </pc:sldChg>
      <pc:sldChg chg="delSp modSp mod modShow">
        <pc:chgData name="Tabea Monz" userId="S::t.monz@tum.de::f46a5392-c507-4495-8454-0a2fbbcf0cda" providerId="AD" clId="Web-{4E563375-275E-EAC2-56EE-96D948EE9A79}" dt="2024-11-18T16:47:44.878" v="28" actId="20577"/>
        <pc:sldMkLst>
          <pc:docMk/>
          <pc:sldMk cId="3573279774" sldId="286"/>
        </pc:sldMkLst>
        <pc:spChg chg="mod">
          <ac:chgData name="Tabea Monz" userId="S::t.monz@tum.de::f46a5392-c507-4495-8454-0a2fbbcf0cda" providerId="AD" clId="Web-{4E563375-275E-EAC2-56EE-96D948EE9A79}" dt="2024-11-18T16:47:35.831" v="19" actId="1076"/>
          <ac:spMkLst>
            <pc:docMk/>
            <pc:sldMk cId="3573279774" sldId="286"/>
            <ac:spMk id="2" creationId="{61FC4D4D-A852-3684-AEF3-B33B3F8311BC}"/>
          </ac:spMkLst>
        </pc:spChg>
        <pc:spChg chg="mod">
          <ac:chgData name="Tabea Monz" userId="S::t.monz@tum.de::f46a5392-c507-4495-8454-0a2fbbcf0cda" providerId="AD" clId="Web-{4E563375-275E-EAC2-56EE-96D948EE9A79}" dt="2024-11-18T16:47:35.862" v="20" actId="1076"/>
          <ac:spMkLst>
            <pc:docMk/>
            <pc:sldMk cId="3573279774" sldId="286"/>
            <ac:spMk id="3" creationId="{855A30B5-31EC-CF54-E7E3-4E2BE1B24C7A}"/>
          </ac:spMkLst>
        </pc:spChg>
        <pc:spChg chg="mod">
          <ac:chgData name="Tabea Monz" userId="S::t.monz@tum.de::f46a5392-c507-4495-8454-0a2fbbcf0cda" providerId="AD" clId="Web-{4E563375-275E-EAC2-56EE-96D948EE9A79}" dt="2024-11-18T16:47:35.924" v="22" actId="1076"/>
          <ac:spMkLst>
            <pc:docMk/>
            <pc:sldMk cId="3573279774" sldId="286"/>
            <ac:spMk id="5" creationId="{86D9B208-016D-11B1-A5B7-841961C1B3AD}"/>
          </ac:spMkLst>
        </pc:spChg>
        <pc:spChg chg="mod">
          <ac:chgData name="Tabea Monz" userId="S::t.monz@tum.de::f46a5392-c507-4495-8454-0a2fbbcf0cda" providerId="AD" clId="Web-{4E563375-275E-EAC2-56EE-96D948EE9A79}" dt="2024-11-18T16:47:44.878" v="28" actId="20577"/>
          <ac:spMkLst>
            <pc:docMk/>
            <pc:sldMk cId="3573279774" sldId="286"/>
            <ac:spMk id="6" creationId="{EECBEFEB-9C0E-5927-15A7-351A5C54385E}"/>
          </ac:spMkLst>
        </pc:spChg>
        <pc:picChg chg="mod">
          <ac:chgData name="Tabea Monz" userId="S::t.monz@tum.de::f46a5392-c507-4495-8454-0a2fbbcf0cda" providerId="AD" clId="Web-{4E563375-275E-EAC2-56EE-96D948EE9A79}" dt="2024-11-18T16:47:35.893" v="21" actId="1076"/>
          <ac:picMkLst>
            <pc:docMk/>
            <pc:sldMk cId="3573279774" sldId="286"/>
            <ac:picMk id="20" creationId="{65CEF2F0-0EE8-EB62-7168-208D0FD3E6EB}"/>
          </ac:picMkLst>
        </pc:picChg>
      </pc:sldChg>
    </pc:docChg>
  </pc:docChgLst>
  <pc:docChgLst>
    <pc:chgData name="Tabea Monz" userId="S::t.monz@tum.de::f46a5392-c507-4495-8454-0a2fbbcf0cda" providerId="AD" clId="Web-{B4408B0F-6AAB-0934-D42C-76C1F0A68E7E}"/>
    <pc:docChg chg="modSld">
      <pc:chgData name="Tabea Monz" userId="S::t.monz@tum.de::f46a5392-c507-4495-8454-0a2fbbcf0cda" providerId="AD" clId="Web-{B4408B0F-6AAB-0934-D42C-76C1F0A68E7E}" dt="2024-12-16T13:06:31.178" v="700" actId="20577"/>
      <pc:docMkLst>
        <pc:docMk/>
      </pc:docMkLst>
      <pc:sldChg chg="addSp delSp modSp">
        <pc:chgData name="Tabea Monz" userId="S::t.monz@tum.de::f46a5392-c507-4495-8454-0a2fbbcf0cda" providerId="AD" clId="Web-{B4408B0F-6AAB-0934-D42C-76C1F0A68E7E}" dt="2024-12-16T13:06:31.178" v="700" actId="20577"/>
        <pc:sldMkLst>
          <pc:docMk/>
          <pc:sldMk cId="1722066996" sldId="420"/>
        </pc:sldMkLst>
        <pc:spChg chg="mod">
          <ac:chgData name="Tabea Monz" userId="S::t.monz@tum.de::f46a5392-c507-4495-8454-0a2fbbcf0cda" providerId="AD" clId="Web-{B4408B0F-6AAB-0934-D42C-76C1F0A68E7E}" dt="2024-12-16T13:06:12.224" v="699" actId="20577"/>
          <ac:spMkLst>
            <pc:docMk/>
            <pc:sldMk cId="1722066996" sldId="420"/>
            <ac:spMk id="13" creationId="{37B1975D-5314-EF92-0D9E-E2A606B471A6}"/>
          </ac:spMkLst>
        </pc:spChg>
        <pc:spChg chg="mod">
          <ac:chgData name="Tabea Monz" userId="S::t.monz@tum.de::f46a5392-c507-4495-8454-0a2fbbcf0cda" providerId="AD" clId="Web-{B4408B0F-6AAB-0934-D42C-76C1F0A68E7E}" dt="2024-12-16T13:06:31.178" v="700" actId="20577"/>
          <ac:spMkLst>
            <pc:docMk/>
            <pc:sldMk cId="1722066996" sldId="420"/>
            <ac:spMk id="14" creationId="{70D8283B-838F-7304-E20E-E3F94B3F6925}"/>
          </ac:spMkLst>
        </pc:spChg>
        <pc:spChg chg="mod">
          <ac:chgData name="Tabea Monz" userId="S::t.monz@tum.de::f46a5392-c507-4495-8454-0a2fbbcf0cda" providerId="AD" clId="Web-{B4408B0F-6AAB-0934-D42C-76C1F0A68E7E}" dt="2024-12-16T13:02:10.218" v="486" actId="1076"/>
          <ac:spMkLst>
            <pc:docMk/>
            <pc:sldMk cId="1722066996" sldId="420"/>
            <ac:spMk id="15" creationId="{D11F5D38-E76B-2625-D4C9-29A036A7C2F9}"/>
          </ac:spMkLst>
        </pc:spChg>
      </pc:sldChg>
      <pc:sldChg chg="addSp modSp">
        <pc:chgData name="Tabea Monz" userId="S::t.monz@tum.de::f46a5392-c507-4495-8454-0a2fbbcf0cda" providerId="AD" clId="Web-{B4408B0F-6AAB-0934-D42C-76C1F0A68E7E}" dt="2024-12-16T13:00:26.919" v="397"/>
        <pc:sldMkLst>
          <pc:docMk/>
          <pc:sldMk cId="2184080923" sldId="422"/>
        </pc:sldMkLst>
        <pc:spChg chg="add mod">
          <ac:chgData name="Tabea Monz" userId="S::t.monz@tum.de::f46a5392-c507-4495-8454-0a2fbbcf0cda" providerId="AD" clId="Web-{B4408B0F-6AAB-0934-D42C-76C1F0A68E7E}" dt="2024-12-16T12:55:36.974" v="271"/>
          <ac:spMkLst>
            <pc:docMk/>
            <pc:sldMk cId="2184080923" sldId="422"/>
            <ac:spMk id="2" creationId="{8DF91FA9-194B-187E-AF19-D03625582856}"/>
          </ac:spMkLst>
        </pc:spChg>
        <pc:spChg chg="add mod">
          <ac:chgData name="Tabea Monz" userId="S::t.monz@tum.de::f46a5392-c507-4495-8454-0a2fbbcf0cda" providerId="AD" clId="Web-{B4408B0F-6AAB-0934-D42C-76C1F0A68E7E}" dt="2024-12-16T12:55:48.725" v="273" actId="1076"/>
          <ac:spMkLst>
            <pc:docMk/>
            <pc:sldMk cId="2184080923" sldId="422"/>
            <ac:spMk id="7" creationId="{15F9DA44-5138-2324-896A-CE1AC4EECEB5}"/>
          </ac:spMkLst>
        </pc:spChg>
        <pc:spChg chg="add mod">
          <ac:chgData name="Tabea Monz" userId="S::t.monz@tum.de::f46a5392-c507-4495-8454-0a2fbbcf0cda" providerId="AD" clId="Web-{B4408B0F-6AAB-0934-D42C-76C1F0A68E7E}" dt="2024-12-16T12:56:58.164" v="298" actId="1076"/>
          <ac:spMkLst>
            <pc:docMk/>
            <pc:sldMk cId="2184080923" sldId="422"/>
            <ac:spMk id="10" creationId="{FFE52F3F-8C8B-1F03-70F2-7FFDAEA10D3D}"/>
          </ac:spMkLst>
        </pc:spChg>
        <pc:spChg chg="add mod">
          <ac:chgData name="Tabea Monz" userId="S::t.monz@tum.de::f46a5392-c507-4495-8454-0a2fbbcf0cda" providerId="AD" clId="Web-{B4408B0F-6AAB-0934-D42C-76C1F0A68E7E}" dt="2024-12-16T12:57:03.430" v="300" actId="1076"/>
          <ac:spMkLst>
            <pc:docMk/>
            <pc:sldMk cId="2184080923" sldId="422"/>
            <ac:spMk id="11" creationId="{A4BD3A12-7EA5-D5C3-CB04-EA0BD842AAD0}"/>
          </ac:spMkLst>
        </pc:spChg>
        <pc:spChg chg="add mod">
          <ac:chgData name="Tabea Monz" userId="S::t.monz@tum.de::f46a5392-c507-4495-8454-0a2fbbcf0cda" providerId="AD" clId="Web-{B4408B0F-6AAB-0934-D42C-76C1F0A68E7E}" dt="2024-12-16T12:59:43.277" v="382" actId="1076"/>
          <ac:spMkLst>
            <pc:docMk/>
            <pc:sldMk cId="2184080923" sldId="422"/>
            <ac:spMk id="12" creationId="{958A8A82-7D13-394C-AAF6-33CE8FEC1297}"/>
          </ac:spMkLst>
        </pc:spChg>
        <pc:spChg chg="add mod">
          <ac:chgData name="Tabea Monz" userId="S::t.monz@tum.de::f46a5392-c507-4495-8454-0a2fbbcf0cda" providerId="AD" clId="Web-{B4408B0F-6AAB-0934-D42C-76C1F0A68E7E}" dt="2024-12-16T12:59:37.965" v="380" actId="1076"/>
          <ac:spMkLst>
            <pc:docMk/>
            <pc:sldMk cId="2184080923" sldId="422"/>
            <ac:spMk id="13" creationId="{D9A213EC-57EB-9A97-7374-0FA658EC8A87}"/>
          </ac:spMkLst>
        </pc:spChg>
        <pc:spChg chg="add mod">
          <ac:chgData name="Tabea Monz" userId="S::t.monz@tum.de::f46a5392-c507-4495-8454-0a2fbbcf0cda" providerId="AD" clId="Web-{B4408B0F-6AAB-0934-D42C-76C1F0A68E7E}" dt="2024-12-16T12:59:31.824" v="379" actId="1076"/>
          <ac:spMkLst>
            <pc:docMk/>
            <pc:sldMk cId="2184080923" sldId="422"/>
            <ac:spMk id="14" creationId="{1A9595D0-0EDE-AE8C-CDD6-7183393EC758}"/>
          </ac:spMkLst>
        </pc:spChg>
        <pc:spChg chg="add mod">
          <ac:chgData name="Tabea Monz" userId="S::t.monz@tum.de::f46a5392-c507-4495-8454-0a2fbbcf0cda" providerId="AD" clId="Web-{B4408B0F-6AAB-0934-D42C-76C1F0A68E7E}" dt="2024-12-16T12:59:28.011" v="378" actId="1076"/>
          <ac:spMkLst>
            <pc:docMk/>
            <pc:sldMk cId="2184080923" sldId="422"/>
            <ac:spMk id="15" creationId="{17C3873C-EC78-2740-5E01-6896B5F07254}"/>
          </ac:spMkLst>
        </pc:spChg>
        <pc:spChg chg="add mod">
          <ac:chgData name="Tabea Monz" userId="S::t.monz@tum.de::f46a5392-c507-4495-8454-0a2fbbcf0cda" providerId="AD" clId="Web-{B4408B0F-6AAB-0934-D42C-76C1F0A68E7E}" dt="2024-12-16T12:59:58.137" v="387" actId="1076"/>
          <ac:spMkLst>
            <pc:docMk/>
            <pc:sldMk cId="2184080923" sldId="422"/>
            <ac:spMk id="16" creationId="{9B7E8834-E0F0-0B8C-14E8-4024EECA1F8C}"/>
          </ac:spMkLst>
        </pc:spChg>
        <pc:spChg chg="add mod">
          <ac:chgData name="Tabea Monz" userId="S::t.monz@tum.de::f46a5392-c507-4495-8454-0a2fbbcf0cda" providerId="AD" clId="Web-{B4408B0F-6AAB-0934-D42C-76C1F0A68E7E}" dt="2024-12-16T12:59:51.199" v="385" actId="1076"/>
          <ac:spMkLst>
            <pc:docMk/>
            <pc:sldMk cId="2184080923" sldId="422"/>
            <ac:spMk id="17" creationId="{C046C142-CEC9-230D-300A-01E539620B8E}"/>
          </ac:spMkLst>
        </pc:spChg>
        <pc:inkChg chg="add">
          <ac:chgData name="Tabea Monz" userId="S::t.monz@tum.de::f46a5392-c507-4495-8454-0a2fbbcf0cda" providerId="AD" clId="Web-{B4408B0F-6AAB-0934-D42C-76C1F0A68E7E}" dt="2024-12-16T13:00:07.747" v="388"/>
          <ac:inkMkLst>
            <pc:docMk/>
            <pc:sldMk cId="2184080923" sldId="422"/>
            <ac:inkMk id="18" creationId="{7A2785AF-7ED5-2AC8-1E4B-7E3697A2BFA9}"/>
          </ac:inkMkLst>
        </pc:inkChg>
        <pc:inkChg chg="add">
          <ac:chgData name="Tabea Monz" userId="S::t.monz@tum.de::f46a5392-c507-4495-8454-0a2fbbcf0cda" providerId="AD" clId="Web-{B4408B0F-6AAB-0934-D42C-76C1F0A68E7E}" dt="2024-12-16T13:00:09.262" v="389"/>
          <ac:inkMkLst>
            <pc:docMk/>
            <pc:sldMk cId="2184080923" sldId="422"/>
            <ac:inkMk id="20" creationId="{D6696518-473D-812C-DED5-84B8C6895573}"/>
          </ac:inkMkLst>
        </pc:inkChg>
        <pc:inkChg chg="add">
          <ac:chgData name="Tabea Monz" userId="S::t.monz@tum.de::f46a5392-c507-4495-8454-0a2fbbcf0cda" providerId="AD" clId="Web-{B4408B0F-6AAB-0934-D42C-76C1F0A68E7E}" dt="2024-12-16T13:00:12.622" v="390"/>
          <ac:inkMkLst>
            <pc:docMk/>
            <pc:sldMk cId="2184080923" sldId="422"/>
            <ac:inkMk id="21" creationId="{D87F246B-D4A5-BC47-30B1-D15397521698}"/>
          </ac:inkMkLst>
        </pc:inkChg>
        <pc:inkChg chg="add">
          <ac:chgData name="Tabea Monz" userId="S::t.monz@tum.de::f46a5392-c507-4495-8454-0a2fbbcf0cda" providerId="AD" clId="Web-{B4408B0F-6AAB-0934-D42C-76C1F0A68E7E}" dt="2024-12-16T13:00:13.669" v="391"/>
          <ac:inkMkLst>
            <pc:docMk/>
            <pc:sldMk cId="2184080923" sldId="422"/>
            <ac:inkMk id="22" creationId="{2F3BC88F-11D6-D396-4509-0F950C67F54C}"/>
          </ac:inkMkLst>
        </pc:inkChg>
        <pc:inkChg chg="add">
          <ac:chgData name="Tabea Monz" userId="S::t.monz@tum.de::f46a5392-c507-4495-8454-0a2fbbcf0cda" providerId="AD" clId="Web-{B4408B0F-6AAB-0934-D42C-76C1F0A68E7E}" dt="2024-12-16T13:00:17.903" v="392"/>
          <ac:inkMkLst>
            <pc:docMk/>
            <pc:sldMk cId="2184080923" sldId="422"/>
            <ac:inkMk id="23" creationId="{E94C07AD-6FE0-7474-CD29-A8F0CB177DE1}"/>
          </ac:inkMkLst>
        </pc:inkChg>
        <pc:inkChg chg="add">
          <ac:chgData name="Tabea Monz" userId="S::t.monz@tum.de::f46a5392-c507-4495-8454-0a2fbbcf0cda" providerId="AD" clId="Web-{B4408B0F-6AAB-0934-D42C-76C1F0A68E7E}" dt="2024-12-16T13:00:19.153" v="393"/>
          <ac:inkMkLst>
            <pc:docMk/>
            <pc:sldMk cId="2184080923" sldId="422"/>
            <ac:inkMk id="24" creationId="{6E4B759B-1007-A20E-0504-29E0A61BC948}"/>
          </ac:inkMkLst>
        </pc:inkChg>
        <pc:inkChg chg="add">
          <ac:chgData name="Tabea Monz" userId="S::t.monz@tum.de::f46a5392-c507-4495-8454-0a2fbbcf0cda" providerId="AD" clId="Web-{B4408B0F-6AAB-0934-D42C-76C1F0A68E7E}" dt="2024-12-16T13:00:22.294" v="394"/>
          <ac:inkMkLst>
            <pc:docMk/>
            <pc:sldMk cId="2184080923" sldId="422"/>
            <ac:inkMk id="25" creationId="{639CDF51-93E7-22AD-9F85-EEEC3DF2179E}"/>
          </ac:inkMkLst>
        </pc:inkChg>
        <pc:inkChg chg="add">
          <ac:chgData name="Tabea Monz" userId="S::t.monz@tum.de::f46a5392-c507-4495-8454-0a2fbbcf0cda" providerId="AD" clId="Web-{B4408B0F-6AAB-0934-D42C-76C1F0A68E7E}" dt="2024-12-16T13:00:23.216" v="395"/>
          <ac:inkMkLst>
            <pc:docMk/>
            <pc:sldMk cId="2184080923" sldId="422"/>
            <ac:inkMk id="26" creationId="{BA485899-61F8-B3B9-7B5D-54E5E1FD770A}"/>
          </ac:inkMkLst>
        </pc:inkChg>
        <pc:inkChg chg="add">
          <ac:chgData name="Tabea Monz" userId="S::t.monz@tum.de::f46a5392-c507-4495-8454-0a2fbbcf0cda" providerId="AD" clId="Web-{B4408B0F-6AAB-0934-D42C-76C1F0A68E7E}" dt="2024-12-16T13:00:26.169" v="396"/>
          <ac:inkMkLst>
            <pc:docMk/>
            <pc:sldMk cId="2184080923" sldId="422"/>
            <ac:inkMk id="27" creationId="{04631351-EC26-6174-9468-C44407B4E9E9}"/>
          </ac:inkMkLst>
        </pc:inkChg>
        <pc:inkChg chg="add">
          <ac:chgData name="Tabea Monz" userId="S::t.monz@tum.de::f46a5392-c507-4495-8454-0a2fbbcf0cda" providerId="AD" clId="Web-{B4408B0F-6AAB-0934-D42C-76C1F0A68E7E}" dt="2024-12-16T13:00:26.919" v="397"/>
          <ac:inkMkLst>
            <pc:docMk/>
            <pc:sldMk cId="2184080923" sldId="422"/>
            <ac:inkMk id="28" creationId="{AF723341-60E9-4AF0-1863-C6FA44A81E3B}"/>
          </ac:inkMkLst>
        </pc:inkChg>
      </pc:sldChg>
    </pc:docChg>
  </pc:docChgLst>
  <pc:docChgLst>
    <pc:chgData name="Tabea Monz" userId="S::t.monz@tum.de::f46a5392-c507-4495-8454-0a2fbbcf0cda" providerId="AD" clId="Web-{C5505069-D537-7D1C-C01F-82961002FD89}"/>
    <pc:docChg chg="modSld">
      <pc:chgData name="Tabea Monz" userId="S::t.monz@tum.de::f46a5392-c507-4495-8454-0a2fbbcf0cda" providerId="AD" clId="Web-{C5505069-D537-7D1C-C01F-82961002FD89}" dt="2025-01-27T20:07:10.536" v="1" actId="20577"/>
      <pc:docMkLst>
        <pc:docMk/>
      </pc:docMkLst>
      <pc:sldChg chg="modSp">
        <pc:chgData name="Tabea Monz" userId="S::t.monz@tum.de::f46a5392-c507-4495-8454-0a2fbbcf0cda" providerId="AD" clId="Web-{C5505069-D537-7D1C-C01F-82961002FD89}" dt="2025-01-27T20:07:10.536" v="1" actId="20577"/>
        <pc:sldMkLst>
          <pc:docMk/>
          <pc:sldMk cId="1350676828" sldId="407"/>
        </pc:sldMkLst>
        <pc:spChg chg="mod">
          <ac:chgData name="Tabea Monz" userId="S::t.monz@tum.de::f46a5392-c507-4495-8454-0a2fbbcf0cda" providerId="AD" clId="Web-{C5505069-D537-7D1C-C01F-82961002FD89}" dt="2025-01-27T20:07:10.536" v="1" actId="20577"/>
          <ac:spMkLst>
            <pc:docMk/>
            <pc:sldMk cId="1350676828" sldId="407"/>
            <ac:spMk id="44" creationId="{250A6714-446D-A6C4-9CEA-39C538FEDBFE}"/>
          </ac:spMkLst>
        </pc:spChg>
      </pc:sldChg>
    </pc:docChg>
  </pc:docChgLst>
  <pc:docChgLst>
    <pc:chgData name="Ömer Taha Sevimli" userId="S::omer.sevimli@tum.de::d68fb2f4-76b1-4cfc-96e6-800a7d956fcb" providerId="AD" clId="Web-{033A0662-A376-DE2A-6B81-935C6948D109}"/>
    <pc:docChg chg="addSld modSld modSection">
      <pc:chgData name="Ömer Taha Sevimli" userId="S::omer.sevimli@tum.de::d68fb2f4-76b1-4cfc-96e6-800a7d956fcb" providerId="AD" clId="Web-{033A0662-A376-DE2A-6B81-935C6948D109}" dt="2024-12-16T15:27:21.455" v="95" actId="20577"/>
      <pc:docMkLst>
        <pc:docMk/>
      </pc:docMkLst>
      <pc:sldChg chg="addSp modSp new">
        <pc:chgData name="Ömer Taha Sevimli" userId="S::omer.sevimli@tum.de::d68fb2f4-76b1-4cfc-96e6-800a7d956fcb" providerId="AD" clId="Web-{033A0662-A376-DE2A-6B81-935C6948D109}" dt="2024-12-16T15:25:59.401" v="66" actId="1076"/>
        <pc:sldMkLst>
          <pc:docMk/>
          <pc:sldMk cId="1781335970" sldId="423"/>
        </pc:sldMkLst>
      </pc:sldChg>
      <pc:sldChg chg="addSp delSp modSp add replId">
        <pc:chgData name="Ömer Taha Sevimli" userId="S::omer.sevimli@tum.de::d68fb2f4-76b1-4cfc-96e6-800a7d956fcb" providerId="AD" clId="Web-{033A0662-A376-DE2A-6B81-935C6948D109}" dt="2024-12-16T15:27:21.455" v="95" actId="20577"/>
        <pc:sldMkLst>
          <pc:docMk/>
          <pc:sldMk cId="1907105927" sldId="424"/>
        </pc:sldMkLst>
      </pc:sldChg>
    </pc:docChg>
  </pc:docChgLst>
  <pc:docChgLst>
    <pc:chgData name="Tabea Monz" userId="f46a5392-c507-4495-8454-0a2fbbcf0cda" providerId="ADAL" clId="{19C36ED6-2F50-4F28-88A2-C87A37E0C74B}"/>
    <pc:docChg chg="undo redo custSel addSld delSld modSld modSection">
      <pc:chgData name="Tabea Monz" userId="f46a5392-c507-4495-8454-0a2fbbcf0cda" providerId="ADAL" clId="{19C36ED6-2F50-4F28-88A2-C87A37E0C74B}" dt="2025-02-01T20:04:38.233" v="4755" actId="1076"/>
      <pc:docMkLst>
        <pc:docMk/>
      </pc:docMkLst>
      <pc:sldChg chg="modSp mod">
        <pc:chgData name="Tabea Monz" userId="f46a5392-c507-4495-8454-0a2fbbcf0cda" providerId="ADAL" clId="{19C36ED6-2F50-4F28-88A2-C87A37E0C74B}" dt="2025-01-26T21:11:05.304" v="4245" actId="20577"/>
        <pc:sldMkLst>
          <pc:docMk/>
          <pc:sldMk cId="2457093950" sldId="281"/>
        </pc:sldMkLst>
        <pc:spChg chg="mod">
          <ac:chgData name="Tabea Monz" userId="f46a5392-c507-4495-8454-0a2fbbcf0cda" providerId="ADAL" clId="{19C36ED6-2F50-4F28-88A2-C87A37E0C74B}" dt="2025-01-26T21:11:05.304" v="4245" actId="20577"/>
          <ac:spMkLst>
            <pc:docMk/>
            <pc:sldMk cId="2457093950" sldId="281"/>
            <ac:spMk id="2" creationId="{BF4A43F6-3684-F5A5-85F1-EEDC996D624E}"/>
          </ac:spMkLst>
        </pc:spChg>
      </pc:sldChg>
      <pc:sldChg chg="modSp mod">
        <pc:chgData name="Tabea Monz" userId="f46a5392-c507-4495-8454-0a2fbbcf0cda" providerId="ADAL" clId="{19C36ED6-2F50-4F28-88A2-C87A37E0C74B}" dt="2025-02-01T19:19:36.156" v="4475" actId="20577"/>
        <pc:sldMkLst>
          <pc:docMk/>
          <pc:sldMk cId="855508414" sldId="301"/>
        </pc:sldMkLst>
        <pc:spChg chg="mod">
          <ac:chgData name="Tabea Monz" userId="f46a5392-c507-4495-8454-0a2fbbcf0cda" providerId="ADAL" clId="{19C36ED6-2F50-4F28-88A2-C87A37E0C74B}" dt="2025-02-01T19:19:36.156" v="4475" actId="20577"/>
          <ac:spMkLst>
            <pc:docMk/>
            <pc:sldMk cId="855508414" sldId="301"/>
            <ac:spMk id="5" creationId="{D4C413BD-98A7-F90F-8885-7185FB0495C4}"/>
          </ac:spMkLst>
        </pc:spChg>
        <pc:spChg chg="mod">
          <ac:chgData name="Tabea Monz" userId="f46a5392-c507-4495-8454-0a2fbbcf0cda" providerId="ADAL" clId="{19C36ED6-2F50-4F28-88A2-C87A37E0C74B}" dt="2025-02-01T19:18:01.992" v="4465" actId="20577"/>
          <ac:spMkLst>
            <pc:docMk/>
            <pc:sldMk cId="855508414" sldId="301"/>
            <ac:spMk id="14" creationId="{A1668B4A-6D4A-8D7F-025E-91402E10F567}"/>
          </ac:spMkLst>
        </pc:spChg>
        <pc:spChg chg="mod">
          <ac:chgData name="Tabea Monz" userId="f46a5392-c507-4495-8454-0a2fbbcf0cda" providerId="ADAL" clId="{19C36ED6-2F50-4F28-88A2-C87A37E0C74B}" dt="2025-02-01T19:19:07.541" v="4473" actId="20577"/>
          <ac:spMkLst>
            <pc:docMk/>
            <pc:sldMk cId="855508414" sldId="301"/>
            <ac:spMk id="45" creationId="{FDA57636-E66E-F394-3E03-5D03159A3A34}"/>
          </ac:spMkLst>
        </pc:spChg>
      </pc:sldChg>
      <pc:sldChg chg="modSp mod">
        <pc:chgData name="Tabea Monz" userId="f46a5392-c507-4495-8454-0a2fbbcf0cda" providerId="ADAL" clId="{19C36ED6-2F50-4F28-88A2-C87A37E0C74B}" dt="2025-01-26T15:02:38.793" v="4082" actId="20577"/>
        <pc:sldMkLst>
          <pc:docMk/>
          <pc:sldMk cId="656948936" sldId="307"/>
        </pc:sldMkLst>
        <pc:spChg chg="mod">
          <ac:chgData name="Tabea Monz" userId="f46a5392-c507-4495-8454-0a2fbbcf0cda" providerId="ADAL" clId="{19C36ED6-2F50-4F28-88A2-C87A37E0C74B}" dt="2025-01-26T15:02:38.793" v="4082" actId="20577"/>
          <ac:spMkLst>
            <pc:docMk/>
            <pc:sldMk cId="656948936" sldId="307"/>
            <ac:spMk id="2" creationId="{FE3A5165-8DD7-B00A-7B51-96C83EC80066}"/>
          </ac:spMkLst>
        </pc:spChg>
      </pc:sldChg>
      <pc:sldChg chg="modSp mod">
        <pc:chgData name="Tabea Monz" userId="f46a5392-c507-4495-8454-0a2fbbcf0cda" providerId="ADAL" clId="{19C36ED6-2F50-4F28-88A2-C87A37E0C74B}" dt="2025-01-26T14:59:55.329" v="4055" actId="20577"/>
        <pc:sldMkLst>
          <pc:docMk/>
          <pc:sldMk cId="1126850562" sldId="317"/>
        </pc:sldMkLst>
        <pc:spChg chg="mod">
          <ac:chgData name="Tabea Monz" userId="f46a5392-c507-4495-8454-0a2fbbcf0cda" providerId="ADAL" clId="{19C36ED6-2F50-4F28-88A2-C87A37E0C74B}" dt="2025-01-26T14:59:55.329" v="4055" actId="20577"/>
          <ac:spMkLst>
            <pc:docMk/>
            <pc:sldMk cId="1126850562" sldId="317"/>
            <ac:spMk id="8" creationId="{EAE65E17-24BD-9146-7605-4AD45B45C364}"/>
          </ac:spMkLst>
        </pc:spChg>
      </pc:sldChg>
      <pc:sldChg chg="modSp mod">
        <pc:chgData name="Tabea Monz" userId="f46a5392-c507-4495-8454-0a2fbbcf0cda" providerId="ADAL" clId="{19C36ED6-2F50-4F28-88A2-C87A37E0C74B}" dt="2025-01-26T15:00:11.802" v="4059" actId="20577"/>
        <pc:sldMkLst>
          <pc:docMk/>
          <pc:sldMk cId="373550321" sldId="318"/>
        </pc:sldMkLst>
        <pc:spChg chg="mod">
          <ac:chgData name="Tabea Monz" userId="f46a5392-c507-4495-8454-0a2fbbcf0cda" providerId="ADAL" clId="{19C36ED6-2F50-4F28-88A2-C87A37E0C74B}" dt="2025-01-26T15:00:11.802" v="4059" actId="20577"/>
          <ac:spMkLst>
            <pc:docMk/>
            <pc:sldMk cId="373550321" sldId="318"/>
            <ac:spMk id="4" creationId="{9FED2E82-8B4E-CED3-E7CC-13BEEA6B927D}"/>
          </ac:spMkLst>
        </pc:spChg>
      </pc:sldChg>
      <pc:sldChg chg="modSp mod">
        <pc:chgData name="Tabea Monz" userId="f46a5392-c507-4495-8454-0a2fbbcf0cda" providerId="ADAL" clId="{19C36ED6-2F50-4F28-88A2-C87A37E0C74B}" dt="2025-01-30T10:16:53.135" v="4256" actId="13822"/>
        <pc:sldMkLst>
          <pc:docMk/>
          <pc:sldMk cId="2974701433" sldId="336"/>
        </pc:sldMkLst>
        <pc:spChg chg="mod">
          <ac:chgData name="Tabea Monz" userId="f46a5392-c507-4495-8454-0a2fbbcf0cda" providerId="ADAL" clId="{19C36ED6-2F50-4F28-88A2-C87A37E0C74B}" dt="2025-01-30T10:16:53.135" v="4256" actId="13822"/>
          <ac:spMkLst>
            <pc:docMk/>
            <pc:sldMk cId="2974701433" sldId="336"/>
            <ac:spMk id="15" creationId="{C063A260-5050-6FE0-6783-D8FC8E6864DB}"/>
          </ac:spMkLst>
        </pc:spChg>
      </pc:sldChg>
      <pc:sldChg chg="modSp mod">
        <pc:chgData name="Tabea Monz" userId="f46a5392-c507-4495-8454-0a2fbbcf0cda" providerId="ADAL" clId="{19C36ED6-2F50-4F28-88A2-C87A37E0C74B}" dt="2025-01-26T15:00:38.516" v="4065" actId="20577"/>
        <pc:sldMkLst>
          <pc:docMk/>
          <pc:sldMk cId="2861992113" sldId="394"/>
        </pc:sldMkLst>
      </pc:sldChg>
      <pc:sldChg chg="modSp mod">
        <pc:chgData name="Tabea Monz" userId="f46a5392-c507-4495-8454-0a2fbbcf0cda" providerId="ADAL" clId="{19C36ED6-2F50-4F28-88A2-C87A37E0C74B}" dt="2025-01-26T15:01:41.778" v="4076" actId="313"/>
        <pc:sldMkLst>
          <pc:docMk/>
          <pc:sldMk cId="835949243" sldId="396"/>
        </pc:sldMkLst>
        <pc:spChg chg="mod">
          <ac:chgData name="Tabea Monz" userId="f46a5392-c507-4495-8454-0a2fbbcf0cda" providerId="ADAL" clId="{19C36ED6-2F50-4F28-88A2-C87A37E0C74B}" dt="2025-01-26T15:01:41.778" v="4076" actId="313"/>
          <ac:spMkLst>
            <pc:docMk/>
            <pc:sldMk cId="835949243" sldId="396"/>
            <ac:spMk id="26" creationId="{D8244418-9D3F-2A0B-09A3-8C1970BDA425}"/>
          </ac:spMkLst>
        </pc:spChg>
      </pc:sldChg>
      <pc:sldChg chg="modSp mod">
        <pc:chgData name="Tabea Monz" userId="f46a5392-c507-4495-8454-0a2fbbcf0cda" providerId="ADAL" clId="{19C36ED6-2F50-4F28-88A2-C87A37E0C74B}" dt="2025-01-26T15:01:52.021" v="4079" actId="313"/>
        <pc:sldMkLst>
          <pc:docMk/>
          <pc:sldMk cId="582580800" sldId="401"/>
        </pc:sldMkLst>
      </pc:sldChg>
      <pc:sldChg chg="modSp mod">
        <pc:chgData name="Tabea Monz" userId="f46a5392-c507-4495-8454-0a2fbbcf0cda" providerId="ADAL" clId="{19C36ED6-2F50-4F28-88A2-C87A37E0C74B}" dt="2025-01-26T14:58:08.247" v="4041" actId="20577"/>
        <pc:sldMkLst>
          <pc:docMk/>
          <pc:sldMk cId="1350676828" sldId="407"/>
        </pc:sldMkLst>
        <pc:spChg chg="mod">
          <ac:chgData name="Tabea Monz" userId="f46a5392-c507-4495-8454-0a2fbbcf0cda" providerId="ADAL" clId="{19C36ED6-2F50-4F28-88A2-C87A37E0C74B}" dt="2025-01-26T14:58:08.247" v="4041" actId="20577"/>
          <ac:spMkLst>
            <pc:docMk/>
            <pc:sldMk cId="1350676828" sldId="407"/>
            <ac:spMk id="4" creationId="{9FED2E82-8B4E-CED3-E7CC-13BEEA6B927D}"/>
          </ac:spMkLst>
        </pc:spChg>
      </pc:sldChg>
      <pc:sldChg chg="modSp mod">
        <pc:chgData name="Tabea Monz" userId="f46a5392-c507-4495-8454-0a2fbbcf0cda" providerId="ADAL" clId="{19C36ED6-2F50-4F28-88A2-C87A37E0C74B}" dt="2025-02-01T19:36:18.343" v="4477" actId="20577"/>
        <pc:sldMkLst>
          <pc:docMk/>
          <pc:sldMk cId="3117399487" sldId="411"/>
        </pc:sldMkLst>
        <pc:spChg chg="mod">
          <ac:chgData name="Tabea Monz" userId="f46a5392-c507-4495-8454-0a2fbbcf0cda" providerId="ADAL" clId="{19C36ED6-2F50-4F28-88A2-C87A37E0C74B}" dt="2025-02-01T19:36:18.343" v="4477" actId="20577"/>
          <ac:spMkLst>
            <pc:docMk/>
            <pc:sldMk cId="3117399487" sldId="411"/>
            <ac:spMk id="5" creationId="{47CB8B55-5221-8ED1-B020-5C92DCB4AE8A}"/>
          </ac:spMkLst>
        </pc:spChg>
      </pc:sldChg>
      <pc:sldChg chg="modSp mod">
        <pc:chgData name="Tabea Monz" userId="f46a5392-c507-4495-8454-0a2fbbcf0cda" providerId="ADAL" clId="{19C36ED6-2F50-4F28-88A2-C87A37E0C74B}" dt="2025-02-01T19:38:03.244" v="4478" actId="207"/>
        <pc:sldMkLst>
          <pc:docMk/>
          <pc:sldMk cId="374364369" sldId="413"/>
        </pc:sldMkLst>
        <pc:spChg chg="mod">
          <ac:chgData name="Tabea Monz" userId="f46a5392-c507-4495-8454-0a2fbbcf0cda" providerId="ADAL" clId="{19C36ED6-2F50-4F28-88A2-C87A37E0C74B}" dt="2025-01-26T21:12:02.072" v="4247" actId="20577"/>
          <ac:spMkLst>
            <pc:docMk/>
            <pc:sldMk cId="374364369" sldId="413"/>
            <ac:spMk id="8" creationId="{9E7759B4-AB88-1B15-8D80-4AE81F5B3F53}"/>
          </ac:spMkLst>
        </pc:spChg>
        <pc:spChg chg="mod">
          <ac:chgData name="Tabea Monz" userId="f46a5392-c507-4495-8454-0a2fbbcf0cda" providerId="ADAL" clId="{19C36ED6-2F50-4F28-88A2-C87A37E0C74B}" dt="2025-01-26T21:12:20.392" v="4248" actId="207"/>
          <ac:spMkLst>
            <pc:docMk/>
            <pc:sldMk cId="374364369" sldId="413"/>
            <ac:spMk id="23" creationId="{398755E3-11DE-4DE7-84A9-771248D82E97}"/>
          </ac:spMkLst>
        </pc:spChg>
        <pc:graphicFrameChg chg="modGraphic">
          <ac:chgData name="Tabea Monz" userId="f46a5392-c507-4495-8454-0a2fbbcf0cda" providerId="ADAL" clId="{19C36ED6-2F50-4F28-88A2-C87A37E0C74B}" dt="2025-02-01T19:38:03.244" v="4478" actId="207"/>
          <ac:graphicFrameMkLst>
            <pc:docMk/>
            <pc:sldMk cId="374364369" sldId="413"/>
            <ac:graphicFrameMk id="9" creationId="{997CC2AE-7AEE-FB9A-9D2A-5EDD08D09BCA}"/>
          </ac:graphicFrameMkLst>
        </pc:graphicFrameChg>
      </pc:sldChg>
      <pc:sldChg chg="addSp delSp modSp mod">
        <pc:chgData name="Tabea Monz" userId="f46a5392-c507-4495-8454-0a2fbbcf0cda" providerId="ADAL" clId="{19C36ED6-2F50-4F28-88A2-C87A37E0C74B}" dt="2025-02-01T20:02:44.249" v="4626" actId="1076"/>
        <pc:sldMkLst>
          <pc:docMk/>
          <pc:sldMk cId="380781371" sldId="419"/>
        </pc:sldMkLst>
        <pc:spChg chg="add mod">
          <ac:chgData name="Tabea Monz" userId="f46a5392-c507-4495-8454-0a2fbbcf0cda" providerId="ADAL" clId="{19C36ED6-2F50-4F28-88A2-C87A37E0C74B}" dt="2025-02-01T20:01:45.050" v="4554" actId="14100"/>
          <ac:spMkLst>
            <pc:docMk/>
            <pc:sldMk cId="380781371" sldId="419"/>
            <ac:spMk id="2" creationId="{5A8A5A9A-0737-638D-FAF8-54A054A85B51}"/>
          </ac:spMkLst>
        </pc:spChg>
        <pc:spChg chg="mod">
          <ac:chgData name="Tabea Monz" userId="f46a5392-c507-4495-8454-0a2fbbcf0cda" providerId="ADAL" clId="{19C36ED6-2F50-4F28-88A2-C87A37E0C74B}" dt="2025-02-01T20:02:44.249" v="4626" actId="1076"/>
          <ac:spMkLst>
            <pc:docMk/>
            <pc:sldMk cId="380781371" sldId="419"/>
            <ac:spMk id="34" creationId="{7C7A7413-0363-407D-0AE3-A223F52C4D2F}"/>
          </ac:spMkLst>
        </pc:spChg>
        <pc:picChg chg="mod">
          <ac:chgData name="Tabea Monz" userId="f46a5392-c507-4495-8454-0a2fbbcf0cda" providerId="ADAL" clId="{19C36ED6-2F50-4F28-88A2-C87A37E0C74B}" dt="2025-02-01T20:00:58.131" v="4481" actId="1076"/>
          <ac:picMkLst>
            <pc:docMk/>
            <pc:sldMk cId="380781371" sldId="419"/>
            <ac:picMk id="12" creationId="{E58B577C-CAF2-2048-5111-DEEFDA708E31}"/>
          </ac:picMkLst>
        </pc:picChg>
        <pc:picChg chg="mod">
          <ac:chgData name="Tabea Monz" userId="f46a5392-c507-4495-8454-0a2fbbcf0cda" providerId="ADAL" clId="{19C36ED6-2F50-4F28-88A2-C87A37E0C74B}" dt="2025-02-01T20:00:58.131" v="4481" actId="1076"/>
          <ac:picMkLst>
            <pc:docMk/>
            <pc:sldMk cId="380781371" sldId="419"/>
            <ac:picMk id="13" creationId="{50D6FC7E-BFA5-8D16-02AC-4BC9BC529B47}"/>
          </ac:picMkLst>
        </pc:picChg>
        <pc:picChg chg="del mod">
          <ac:chgData name="Tabea Monz" userId="f46a5392-c507-4495-8454-0a2fbbcf0cda" providerId="ADAL" clId="{19C36ED6-2F50-4F28-88A2-C87A37E0C74B}" dt="2025-02-01T20:01:47.312" v="4555" actId="478"/>
          <ac:picMkLst>
            <pc:docMk/>
            <pc:sldMk cId="380781371" sldId="419"/>
            <ac:picMk id="14" creationId="{B2C84206-0BD0-2D39-2AFD-7556B962A202}"/>
          </ac:picMkLst>
        </pc:picChg>
        <pc:picChg chg="mod">
          <ac:chgData name="Tabea Monz" userId="f46a5392-c507-4495-8454-0a2fbbcf0cda" providerId="ADAL" clId="{19C36ED6-2F50-4F28-88A2-C87A37E0C74B}" dt="2025-02-01T20:01:53.359" v="4557" actId="1076"/>
          <ac:picMkLst>
            <pc:docMk/>
            <pc:sldMk cId="380781371" sldId="419"/>
            <ac:picMk id="15" creationId="{96986701-2623-81B2-9EE0-88CBD377EF04}"/>
          </ac:picMkLst>
        </pc:picChg>
        <pc:cxnChg chg="mod">
          <ac:chgData name="Tabea Monz" userId="f46a5392-c507-4495-8454-0a2fbbcf0cda" providerId="ADAL" clId="{19C36ED6-2F50-4F28-88A2-C87A37E0C74B}" dt="2025-02-01T20:00:58.131" v="4481" actId="1076"/>
          <ac:cxnSpMkLst>
            <pc:docMk/>
            <pc:sldMk cId="380781371" sldId="419"/>
            <ac:cxnSpMk id="20" creationId="{71B10211-6E0A-B76D-CAAD-EF889FF33EC3}"/>
          </ac:cxnSpMkLst>
        </pc:cxnChg>
        <pc:cxnChg chg="del mod">
          <ac:chgData name="Tabea Monz" userId="f46a5392-c507-4495-8454-0a2fbbcf0cda" providerId="ADAL" clId="{19C36ED6-2F50-4F28-88A2-C87A37E0C74B}" dt="2025-02-01T20:01:48.238" v="4556" actId="478"/>
          <ac:cxnSpMkLst>
            <pc:docMk/>
            <pc:sldMk cId="380781371" sldId="419"/>
            <ac:cxnSpMk id="21" creationId="{C56BC49A-F6D8-5963-EE0B-A91DE5EE1B87}"/>
          </ac:cxnSpMkLst>
        </pc:cxnChg>
        <pc:cxnChg chg="mod">
          <ac:chgData name="Tabea Monz" userId="f46a5392-c507-4495-8454-0a2fbbcf0cda" providerId="ADAL" clId="{19C36ED6-2F50-4F28-88A2-C87A37E0C74B}" dt="2025-02-01T20:00:58.131" v="4481" actId="1076"/>
          <ac:cxnSpMkLst>
            <pc:docMk/>
            <pc:sldMk cId="380781371" sldId="419"/>
            <ac:cxnSpMk id="22" creationId="{9D2EFFD8-D8C8-9661-4999-9B5BF07DDD95}"/>
          </ac:cxnSpMkLst>
        </pc:cxnChg>
        <pc:cxnChg chg="mod">
          <ac:chgData name="Tabea Monz" userId="f46a5392-c507-4495-8454-0a2fbbcf0cda" providerId="ADAL" clId="{19C36ED6-2F50-4F28-88A2-C87A37E0C74B}" dt="2025-02-01T20:01:57.600" v="4558" actId="1076"/>
          <ac:cxnSpMkLst>
            <pc:docMk/>
            <pc:sldMk cId="380781371" sldId="419"/>
            <ac:cxnSpMk id="23" creationId="{29F35381-D905-69F2-AC17-476B748F005A}"/>
          </ac:cxnSpMkLst>
        </pc:cxnChg>
      </pc:sldChg>
      <pc:sldChg chg="modSp mod">
        <pc:chgData name="Tabea Monz" userId="f46a5392-c507-4495-8454-0a2fbbcf0cda" providerId="ADAL" clId="{19C36ED6-2F50-4F28-88A2-C87A37E0C74B}" dt="2025-01-21T11:20:48.053" v="4021" actId="20577"/>
        <pc:sldMkLst>
          <pc:docMk/>
          <pc:sldMk cId="1722066996" sldId="420"/>
        </pc:sldMkLst>
        <pc:spChg chg="mod">
          <ac:chgData name="Tabea Monz" userId="f46a5392-c507-4495-8454-0a2fbbcf0cda" providerId="ADAL" clId="{19C36ED6-2F50-4F28-88A2-C87A37E0C74B}" dt="2025-01-21T11:19:29.405" v="3965" actId="20577"/>
          <ac:spMkLst>
            <pc:docMk/>
            <pc:sldMk cId="1722066996" sldId="420"/>
            <ac:spMk id="13" creationId="{37B1975D-5314-EF92-0D9E-E2A606B471A6}"/>
          </ac:spMkLst>
        </pc:spChg>
        <pc:spChg chg="mod">
          <ac:chgData name="Tabea Monz" userId="f46a5392-c507-4495-8454-0a2fbbcf0cda" providerId="ADAL" clId="{19C36ED6-2F50-4F28-88A2-C87A37E0C74B}" dt="2025-01-21T11:20:48.053" v="4021" actId="20577"/>
          <ac:spMkLst>
            <pc:docMk/>
            <pc:sldMk cId="1722066996" sldId="420"/>
            <ac:spMk id="14" creationId="{70D8283B-838F-7304-E20E-E3F94B3F6925}"/>
          </ac:spMkLst>
        </pc:spChg>
      </pc:sldChg>
      <pc:sldChg chg="modSp mod">
        <pc:chgData name="Tabea Monz" userId="f46a5392-c507-4495-8454-0a2fbbcf0cda" providerId="ADAL" clId="{19C36ED6-2F50-4F28-88A2-C87A37E0C74B}" dt="2025-01-26T15:08:40.954" v="4139" actId="20577"/>
        <pc:sldMkLst>
          <pc:docMk/>
          <pc:sldMk cId="4205909830" sldId="421"/>
        </pc:sldMkLst>
      </pc:sldChg>
      <pc:sldChg chg="modSp mod">
        <pc:chgData name="Tabea Monz" userId="f46a5392-c507-4495-8454-0a2fbbcf0cda" providerId="ADAL" clId="{19C36ED6-2F50-4F28-88A2-C87A37E0C74B}" dt="2025-02-01T20:04:03.610" v="4749" actId="1076"/>
        <pc:sldMkLst>
          <pc:docMk/>
          <pc:sldMk cId="2184080923" sldId="422"/>
        </pc:sldMkLst>
        <pc:spChg chg="mod">
          <ac:chgData name="Tabea Monz" userId="f46a5392-c507-4495-8454-0a2fbbcf0cda" providerId="ADAL" clId="{19C36ED6-2F50-4F28-88A2-C87A37E0C74B}" dt="2025-02-01T20:04:03.610" v="4749" actId="1076"/>
          <ac:spMkLst>
            <pc:docMk/>
            <pc:sldMk cId="2184080923" sldId="422"/>
            <ac:spMk id="40" creationId="{EE128098-A389-2D1E-19EA-67D8BBB9CCA6}"/>
          </ac:spMkLst>
        </pc:spChg>
      </pc:sldChg>
      <pc:sldChg chg="del">
        <pc:chgData name="Tabea Monz" userId="f46a5392-c507-4495-8454-0a2fbbcf0cda" providerId="ADAL" clId="{19C36ED6-2F50-4F28-88A2-C87A37E0C74B}" dt="2025-01-21T08:49:36.382" v="1040" actId="2696"/>
        <pc:sldMkLst>
          <pc:docMk/>
          <pc:sldMk cId="2133334594" sldId="425"/>
        </pc:sldMkLst>
      </pc:sldChg>
      <pc:sldChg chg="mod modShow">
        <pc:chgData name="Tabea Monz" userId="f46a5392-c507-4495-8454-0a2fbbcf0cda" providerId="ADAL" clId="{19C36ED6-2F50-4F28-88A2-C87A37E0C74B}" dt="2025-01-21T10:49:27.351" v="2963" actId="729"/>
        <pc:sldMkLst>
          <pc:docMk/>
          <pc:sldMk cId="3998095132" sldId="426"/>
        </pc:sldMkLst>
      </pc:sldChg>
      <pc:sldChg chg="mod modShow">
        <pc:chgData name="Tabea Monz" userId="f46a5392-c507-4495-8454-0a2fbbcf0cda" providerId="ADAL" clId="{19C36ED6-2F50-4F28-88A2-C87A37E0C74B}" dt="2025-01-21T10:49:48.059" v="2966" actId="729"/>
        <pc:sldMkLst>
          <pc:docMk/>
          <pc:sldMk cId="1509426377" sldId="428"/>
        </pc:sldMkLst>
      </pc:sldChg>
      <pc:sldChg chg="modSp mod">
        <pc:chgData name="Tabea Monz" userId="f46a5392-c507-4495-8454-0a2fbbcf0cda" providerId="ADAL" clId="{19C36ED6-2F50-4F28-88A2-C87A37E0C74B}" dt="2025-01-21T10:58:04.338" v="3247" actId="20577"/>
        <pc:sldMkLst>
          <pc:docMk/>
          <pc:sldMk cId="2492418948" sldId="431"/>
        </pc:sldMkLst>
      </pc:sldChg>
      <pc:sldChg chg="modSp mod">
        <pc:chgData name="Tabea Monz" userId="f46a5392-c507-4495-8454-0a2fbbcf0cda" providerId="ADAL" clId="{19C36ED6-2F50-4F28-88A2-C87A37E0C74B}" dt="2025-01-26T15:10:46.379" v="4174" actId="20577"/>
        <pc:sldMkLst>
          <pc:docMk/>
          <pc:sldMk cId="1100900693" sldId="432"/>
        </pc:sldMkLst>
      </pc:sldChg>
      <pc:sldChg chg="modSp mod">
        <pc:chgData name="Tabea Monz" userId="f46a5392-c507-4495-8454-0a2fbbcf0cda" providerId="ADAL" clId="{19C36ED6-2F50-4F28-88A2-C87A37E0C74B}" dt="2025-01-26T15:11:07.533" v="4182" actId="20577"/>
        <pc:sldMkLst>
          <pc:docMk/>
          <pc:sldMk cId="3629467396" sldId="433"/>
        </pc:sldMkLst>
      </pc:sldChg>
      <pc:sldChg chg="del">
        <pc:chgData name="Tabea Monz" userId="f46a5392-c507-4495-8454-0a2fbbcf0cda" providerId="ADAL" clId="{19C36ED6-2F50-4F28-88A2-C87A37E0C74B}" dt="2025-01-21T08:49:32.023" v="1039" actId="2696"/>
        <pc:sldMkLst>
          <pc:docMk/>
          <pc:sldMk cId="2481877112" sldId="436"/>
        </pc:sldMkLst>
      </pc:sldChg>
      <pc:sldChg chg="del">
        <pc:chgData name="Tabea Monz" userId="f46a5392-c507-4495-8454-0a2fbbcf0cda" providerId="ADAL" clId="{19C36ED6-2F50-4F28-88A2-C87A37E0C74B}" dt="2025-01-21T08:49:40.282" v="1041" actId="2696"/>
        <pc:sldMkLst>
          <pc:docMk/>
          <pc:sldMk cId="616578418" sldId="437"/>
        </pc:sldMkLst>
      </pc:sldChg>
      <pc:sldChg chg="modSp mod">
        <pc:chgData name="Tabea Monz" userId="f46a5392-c507-4495-8454-0a2fbbcf0cda" providerId="ADAL" clId="{19C36ED6-2F50-4F28-88A2-C87A37E0C74B}" dt="2025-01-26T21:12:35.490" v="4250" actId="20577"/>
        <pc:sldMkLst>
          <pc:docMk/>
          <pc:sldMk cId="2283035292" sldId="439"/>
        </pc:sldMkLst>
      </pc:sldChg>
      <pc:sldChg chg="modSp mod">
        <pc:chgData name="Tabea Monz" userId="f46a5392-c507-4495-8454-0a2fbbcf0cda" providerId="ADAL" clId="{19C36ED6-2F50-4F28-88A2-C87A37E0C74B}" dt="2025-01-26T21:13:59.858" v="4251" actId="1076"/>
        <pc:sldMkLst>
          <pc:docMk/>
          <pc:sldMk cId="1009469891" sldId="440"/>
        </pc:sldMkLst>
        <pc:spChg chg="mod">
          <ac:chgData name="Tabea Monz" userId="f46a5392-c507-4495-8454-0a2fbbcf0cda" providerId="ADAL" clId="{19C36ED6-2F50-4F28-88A2-C87A37E0C74B}" dt="2025-01-26T15:01:26.668" v="4073" actId="1076"/>
          <ac:spMkLst>
            <pc:docMk/>
            <pc:sldMk cId="1009469891" sldId="440"/>
            <ac:spMk id="2" creationId="{BF4A43F6-3684-F5A5-85F1-EEDC996D624E}"/>
          </ac:spMkLst>
        </pc:spChg>
        <pc:spChg chg="mod">
          <ac:chgData name="Tabea Monz" userId="f46a5392-c507-4495-8454-0a2fbbcf0cda" providerId="ADAL" clId="{19C36ED6-2F50-4F28-88A2-C87A37E0C74B}" dt="2025-01-26T21:13:59.858" v="4251" actId="1076"/>
          <ac:spMkLst>
            <pc:docMk/>
            <pc:sldMk cId="1009469891" sldId="440"/>
            <ac:spMk id="3" creationId="{F6F5A270-E5B3-1C34-7F0A-AEC95FE0FDDA}"/>
          </ac:spMkLst>
        </pc:spChg>
        <pc:spChg chg="mod">
          <ac:chgData name="Tabea Monz" userId="f46a5392-c507-4495-8454-0a2fbbcf0cda" providerId="ADAL" clId="{19C36ED6-2F50-4F28-88A2-C87A37E0C74B}" dt="2025-01-26T15:01:20.558" v="4071" actId="1076"/>
          <ac:spMkLst>
            <pc:docMk/>
            <pc:sldMk cId="1009469891" sldId="440"/>
            <ac:spMk id="9" creationId="{B6B497AA-972B-9F4E-E175-1E7500A7D45E}"/>
          </ac:spMkLst>
        </pc:spChg>
      </pc:sldChg>
      <pc:sldChg chg="modSp mod">
        <pc:chgData name="Tabea Monz" userId="f46a5392-c507-4495-8454-0a2fbbcf0cda" providerId="ADAL" clId="{19C36ED6-2F50-4F28-88A2-C87A37E0C74B}" dt="2025-01-26T15:00:25.873" v="4062" actId="20577"/>
        <pc:sldMkLst>
          <pc:docMk/>
          <pc:sldMk cId="3703175277" sldId="441"/>
        </pc:sldMkLst>
        <pc:spChg chg="mod">
          <ac:chgData name="Tabea Monz" userId="f46a5392-c507-4495-8454-0a2fbbcf0cda" providerId="ADAL" clId="{19C36ED6-2F50-4F28-88A2-C87A37E0C74B}" dt="2025-01-26T15:00:25.873" v="4062" actId="20577"/>
          <ac:spMkLst>
            <pc:docMk/>
            <pc:sldMk cId="3703175277" sldId="441"/>
            <ac:spMk id="4" creationId="{69B63D2F-BFD4-A1F4-6400-2D37EFA79895}"/>
          </ac:spMkLst>
        </pc:spChg>
      </pc:sldChg>
      <pc:sldChg chg="del">
        <pc:chgData name="Tabea Monz" userId="f46a5392-c507-4495-8454-0a2fbbcf0cda" providerId="ADAL" clId="{19C36ED6-2F50-4F28-88A2-C87A37E0C74B}" dt="2025-01-21T10:53:34.997" v="3188" actId="2696"/>
        <pc:sldMkLst>
          <pc:docMk/>
          <pc:sldMk cId="788011974" sldId="442"/>
        </pc:sldMkLst>
      </pc:sldChg>
      <pc:sldChg chg="addSp delSp modSp mod">
        <pc:chgData name="Tabea Monz" userId="f46a5392-c507-4495-8454-0a2fbbcf0cda" providerId="ADAL" clId="{19C36ED6-2F50-4F28-88A2-C87A37E0C74B}" dt="2025-01-26T15:07:44.024" v="4122" actId="1076"/>
        <pc:sldMkLst>
          <pc:docMk/>
          <pc:sldMk cId="2161542675" sldId="443"/>
        </pc:sldMkLst>
        <pc:spChg chg="mod">
          <ac:chgData name="Tabea Monz" userId="f46a5392-c507-4495-8454-0a2fbbcf0cda" providerId="ADAL" clId="{19C36ED6-2F50-4F28-88A2-C87A37E0C74B}" dt="2025-01-26T15:07:44.024" v="4122" actId="1076"/>
          <ac:spMkLst>
            <pc:docMk/>
            <pc:sldMk cId="2161542675" sldId="443"/>
            <ac:spMk id="8" creationId="{05F98F18-E122-0D7D-F115-4F947744DAF8}"/>
          </ac:spMkLst>
        </pc:spChg>
        <pc:spChg chg="add mod">
          <ac:chgData name="Tabea Monz" userId="f46a5392-c507-4495-8454-0a2fbbcf0cda" providerId="ADAL" clId="{19C36ED6-2F50-4F28-88A2-C87A37E0C74B}" dt="2025-01-21T11:07:59.365" v="3577" actId="20577"/>
          <ac:spMkLst>
            <pc:docMk/>
            <pc:sldMk cId="2161542675" sldId="443"/>
            <ac:spMk id="12" creationId="{4365DAFF-7F0A-59DA-3DB5-ACA5E40F77D3}"/>
          </ac:spMkLst>
        </pc:spChg>
        <pc:spChg chg="mod">
          <ac:chgData name="Tabea Monz" userId="f46a5392-c507-4495-8454-0a2fbbcf0cda" providerId="ADAL" clId="{19C36ED6-2F50-4F28-88A2-C87A37E0C74B}" dt="2025-01-21T11:08:03.872" v="3578" actId="1076"/>
          <ac:spMkLst>
            <pc:docMk/>
            <pc:sldMk cId="2161542675" sldId="443"/>
            <ac:spMk id="16" creationId="{35575719-D2CF-61D5-E851-E011B87C7DE9}"/>
          </ac:spMkLst>
        </pc:spChg>
        <pc:spChg chg="mod">
          <ac:chgData name="Tabea Monz" userId="f46a5392-c507-4495-8454-0a2fbbcf0cda" providerId="ADAL" clId="{19C36ED6-2F50-4F28-88A2-C87A37E0C74B}" dt="2025-01-21T07:58:37.279" v="40" actId="20577"/>
          <ac:spMkLst>
            <pc:docMk/>
            <pc:sldMk cId="2161542675" sldId="443"/>
            <ac:spMk id="17" creationId="{06BCB1F9-9216-DDAA-B85B-080B098309C0}"/>
          </ac:spMkLst>
        </pc:spChg>
        <pc:spChg chg="add mod">
          <ac:chgData name="Tabea Monz" userId="f46a5392-c507-4495-8454-0a2fbbcf0cda" providerId="ADAL" clId="{19C36ED6-2F50-4F28-88A2-C87A37E0C74B}" dt="2025-01-21T07:57:39.321" v="29" actId="20577"/>
          <ac:spMkLst>
            <pc:docMk/>
            <pc:sldMk cId="2161542675" sldId="443"/>
            <ac:spMk id="19" creationId="{E5323FBE-D6B8-546D-A78E-764727B6D58A}"/>
          </ac:spMkLst>
        </pc:spChg>
        <pc:cxnChg chg="mod">
          <ac:chgData name="Tabea Monz" userId="f46a5392-c507-4495-8454-0a2fbbcf0cda" providerId="ADAL" clId="{19C36ED6-2F50-4F28-88A2-C87A37E0C74B}" dt="2025-01-21T11:08:06.826" v="3579" actId="14100"/>
          <ac:cxnSpMkLst>
            <pc:docMk/>
            <pc:sldMk cId="2161542675" sldId="443"/>
            <ac:cxnSpMk id="15" creationId="{F134E2CA-A90D-40C8-A794-EA41F0EE2542}"/>
          </ac:cxnSpMkLst>
        </pc:cxnChg>
        <pc:cxnChg chg="mod">
          <ac:chgData name="Tabea Monz" userId="f46a5392-c507-4495-8454-0a2fbbcf0cda" providerId="ADAL" clId="{19C36ED6-2F50-4F28-88A2-C87A37E0C74B}" dt="2025-01-21T07:56:20.976" v="2" actId="1076"/>
          <ac:cxnSpMkLst>
            <pc:docMk/>
            <pc:sldMk cId="2161542675" sldId="443"/>
            <ac:cxnSpMk id="18" creationId="{56E07693-FC01-2BF3-D345-A92FD5842606}"/>
          </ac:cxnSpMkLst>
        </pc:cxnChg>
        <pc:cxnChg chg="add mod">
          <ac:chgData name="Tabea Monz" userId="f46a5392-c507-4495-8454-0a2fbbcf0cda" providerId="ADAL" clId="{19C36ED6-2F50-4F28-88A2-C87A37E0C74B}" dt="2025-01-21T07:57:50.736" v="32" actId="14100"/>
          <ac:cxnSpMkLst>
            <pc:docMk/>
            <pc:sldMk cId="2161542675" sldId="443"/>
            <ac:cxnSpMk id="20" creationId="{4DA86BB1-2E39-F0AE-78D3-448D2B83EE74}"/>
          </ac:cxnSpMkLst>
        </pc:cxnChg>
      </pc:sldChg>
      <pc:sldChg chg="modSp mod">
        <pc:chgData name="Tabea Monz" userId="f46a5392-c507-4495-8454-0a2fbbcf0cda" providerId="ADAL" clId="{19C36ED6-2F50-4F28-88A2-C87A37E0C74B}" dt="2025-01-26T15:04:25.390" v="4086" actId="20577"/>
        <pc:sldMkLst>
          <pc:docMk/>
          <pc:sldMk cId="1116173053" sldId="444"/>
        </pc:sldMkLst>
        <pc:spChg chg="mod">
          <ac:chgData name="Tabea Monz" userId="f46a5392-c507-4495-8454-0a2fbbcf0cda" providerId="ADAL" clId="{19C36ED6-2F50-4F28-88A2-C87A37E0C74B}" dt="2025-01-26T15:04:25.390" v="4086" actId="20577"/>
          <ac:spMkLst>
            <pc:docMk/>
            <pc:sldMk cId="1116173053" sldId="444"/>
            <ac:spMk id="2" creationId="{FE3A5165-8DD7-B00A-7B51-96C83EC80066}"/>
          </ac:spMkLst>
        </pc:spChg>
        <pc:spChg chg="mod">
          <ac:chgData name="Tabea Monz" userId="f46a5392-c507-4495-8454-0a2fbbcf0cda" providerId="ADAL" clId="{19C36ED6-2F50-4F28-88A2-C87A37E0C74B}" dt="2025-01-21T11:21:17.005" v="4027" actId="20577"/>
          <ac:spMkLst>
            <pc:docMk/>
            <pc:sldMk cId="1116173053" sldId="444"/>
            <ac:spMk id="23" creationId="{2785BB2D-B0B1-8459-16E4-9FAEC5F1B39C}"/>
          </ac:spMkLst>
        </pc:spChg>
      </pc:sldChg>
      <pc:sldChg chg="addSp delSp modSp mod">
        <pc:chgData name="Tabea Monz" userId="f46a5392-c507-4495-8454-0a2fbbcf0cda" providerId="ADAL" clId="{19C36ED6-2F50-4F28-88A2-C87A37E0C74B}" dt="2025-01-26T15:08:24.711" v="4130" actId="20577"/>
        <pc:sldMkLst>
          <pc:docMk/>
          <pc:sldMk cId="1246978811" sldId="445"/>
        </pc:sldMkLst>
        <pc:spChg chg="mod">
          <ac:chgData name="Tabea Monz" userId="f46a5392-c507-4495-8454-0a2fbbcf0cda" providerId="ADAL" clId="{19C36ED6-2F50-4F28-88A2-C87A37E0C74B}" dt="2025-01-21T09:42:19.933" v="1287" actId="20577"/>
          <ac:spMkLst>
            <pc:docMk/>
            <pc:sldMk cId="1246978811" sldId="445"/>
            <ac:spMk id="7" creationId="{07040397-228E-6D70-AECA-AD5770BA7339}"/>
          </ac:spMkLst>
        </pc:spChg>
        <pc:spChg chg="mod">
          <ac:chgData name="Tabea Monz" userId="f46a5392-c507-4495-8454-0a2fbbcf0cda" providerId="ADAL" clId="{19C36ED6-2F50-4F28-88A2-C87A37E0C74B}" dt="2025-01-21T11:09:03.615" v="3602" actId="20577"/>
          <ac:spMkLst>
            <pc:docMk/>
            <pc:sldMk cId="1246978811" sldId="445"/>
            <ac:spMk id="17" creationId="{95B4223F-CAFF-D66C-4B7C-D1F3986CE40C}"/>
          </ac:spMkLst>
        </pc:spChg>
      </pc:sldChg>
      <pc:sldChg chg="modSp mod">
        <pc:chgData name="Tabea Monz" userId="f46a5392-c507-4495-8454-0a2fbbcf0cda" providerId="ADAL" clId="{19C36ED6-2F50-4F28-88A2-C87A37E0C74B}" dt="2025-01-26T15:08:34.651" v="4136" actId="20577"/>
        <pc:sldMkLst>
          <pc:docMk/>
          <pc:sldMk cId="2173768082" sldId="446"/>
        </pc:sldMkLst>
      </pc:sldChg>
      <pc:sldChg chg="addSp delSp modSp mod">
        <pc:chgData name="Tabea Monz" userId="f46a5392-c507-4495-8454-0a2fbbcf0cda" providerId="ADAL" clId="{19C36ED6-2F50-4F28-88A2-C87A37E0C74B}" dt="2025-01-26T15:08:56.554" v="4142" actId="20577"/>
        <pc:sldMkLst>
          <pc:docMk/>
          <pc:sldMk cId="1795976439" sldId="447"/>
        </pc:sldMkLst>
        <pc:spChg chg="mod">
          <ac:chgData name="Tabea Monz" userId="f46a5392-c507-4495-8454-0a2fbbcf0cda" providerId="ADAL" clId="{19C36ED6-2F50-4F28-88A2-C87A37E0C74B}" dt="2025-01-21T11:10:29.436" v="3684" actId="20577"/>
          <ac:spMkLst>
            <pc:docMk/>
            <pc:sldMk cId="1795976439" sldId="447"/>
            <ac:spMk id="7" creationId="{07040397-228E-6D70-AECA-AD5770BA7339}"/>
          </ac:spMkLst>
        </pc:spChg>
        <pc:picChg chg="add mod">
          <ac:chgData name="Tabea Monz" userId="f46a5392-c507-4495-8454-0a2fbbcf0cda" providerId="ADAL" clId="{19C36ED6-2F50-4F28-88A2-C87A37E0C74B}" dt="2025-01-21T09:57:20.309" v="1808" actId="1076"/>
          <ac:picMkLst>
            <pc:docMk/>
            <pc:sldMk cId="1795976439" sldId="447"/>
            <ac:picMk id="18" creationId="{08B5F847-9091-BAEC-60BE-D408D73E5947}"/>
          </ac:picMkLst>
        </pc:picChg>
        <pc:picChg chg="add mod">
          <ac:chgData name="Tabea Monz" userId="f46a5392-c507-4495-8454-0a2fbbcf0cda" providerId="ADAL" clId="{19C36ED6-2F50-4F28-88A2-C87A37E0C74B}" dt="2025-01-21T09:57:18.339" v="1807" actId="1076"/>
          <ac:picMkLst>
            <pc:docMk/>
            <pc:sldMk cId="1795976439" sldId="447"/>
            <ac:picMk id="21" creationId="{9507CA95-70C2-518D-D37D-990F195973BA}"/>
          </ac:picMkLst>
        </pc:picChg>
      </pc:sldChg>
      <pc:sldChg chg="modSp mod">
        <pc:chgData name="Tabea Monz" userId="f46a5392-c507-4495-8454-0a2fbbcf0cda" providerId="ADAL" clId="{19C36ED6-2F50-4F28-88A2-C87A37E0C74B}" dt="2025-01-21T10:00:45.343" v="2015" actId="20577"/>
        <pc:sldMkLst>
          <pc:docMk/>
          <pc:sldMk cId="40871408" sldId="449"/>
        </pc:sldMkLst>
      </pc:sldChg>
      <pc:sldChg chg="modSp del mod">
        <pc:chgData name="Tabea Monz" userId="f46a5392-c507-4495-8454-0a2fbbcf0cda" providerId="ADAL" clId="{19C36ED6-2F50-4F28-88A2-C87A37E0C74B}" dt="2025-01-21T10:08:59.477" v="2124" actId="2696"/>
        <pc:sldMkLst>
          <pc:docMk/>
          <pc:sldMk cId="1198217199" sldId="450"/>
        </pc:sldMkLst>
      </pc:sldChg>
      <pc:sldChg chg="modSp del mod">
        <pc:chgData name="Tabea Monz" userId="f46a5392-c507-4495-8454-0a2fbbcf0cda" providerId="ADAL" clId="{19C36ED6-2F50-4F28-88A2-C87A37E0C74B}" dt="2025-01-21T10:13:01.489" v="2366" actId="2696"/>
        <pc:sldMkLst>
          <pc:docMk/>
          <pc:sldMk cId="2869791631" sldId="451"/>
        </pc:sldMkLst>
      </pc:sldChg>
      <pc:sldChg chg="addSp modSp mod">
        <pc:chgData name="Tabea Monz" userId="f46a5392-c507-4495-8454-0a2fbbcf0cda" providerId="ADAL" clId="{19C36ED6-2F50-4F28-88A2-C87A37E0C74B}" dt="2025-01-26T15:11:02.685" v="4178" actId="20577"/>
        <pc:sldMkLst>
          <pc:docMk/>
          <pc:sldMk cId="1212062671" sldId="452"/>
        </pc:sldMkLst>
        <pc:picChg chg="add mod">
          <ac:chgData name="Tabea Monz" userId="f46a5392-c507-4495-8454-0a2fbbcf0cda" providerId="ADAL" clId="{19C36ED6-2F50-4F28-88A2-C87A37E0C74B}" dt="2025-01-21T11:06:37.541" v="3547" actId="1076"/>
          <ac:picMkLst>
            <pc:docMk/>
            <pc:sldMk cId="1212062671" sldId="452"/>
            <ac:picMk id="2" creationId="{C85F922A-DF1A-3706-D5D2-299AD5284C2C}"/>
          </ac:picMkLst>
        </pc:picChg>
      </pc:sldChg>
      <pc:sldChg chg="modSp mod">
        <pc:chgData name="Tabea Monz" userId="f46a5392-c507-4495-8454-0a2fbbcf0cda" providerId="ADAL" clId="{19C36ED6-2F50-4F28-88A2-C87A37E0C74B}" dt="2025-01-26T15:13:49.084" v="4221" actId="20577"/>
        <pc:sldMkLst>
          <pc:docMk/>
          <pc:sldMk cId="2230229810" sldId="453"/>
        </pc:sldMkLst>
      </pc:sldChg>
      <pc:sldChg chg="modSp mod">
        <pc:chgData name="Tabea Monz" userId="f46a5392-c507-4495-8454-0a2fbbcf0cda" providerId="ADAL" clId="{19C36ED6-2F50-4F28-88A2-C87A37E0C74B}" dt="2025-01-26T15:09:42.908" v="4156" actId="20577"/>
        <pc:sldMkLst>
          <pc:docMk/>
          <pc:sldMk cId="2609831934" sldId="454"/>
        </pc:sldMkLst>
      </pc:sldChg>
      <pc:sldChg chg="addSp delSp modSp mod modShow chgLayout">
        <pc:chgData name="Tabea Monz" userId="f46a5392-c507-4495-8454-0a2fbbcf0cda" providerId="ADAL" clId="{19C36ED6-2F50-4F28-88A2-C87A37E0C74B}" dt="2025-01-21T10:49:43.446" v="2965" actId="729"/>
        <pc:sldMkLst>
          <pc:docMk/>
          <pc:sldMk cId="3180481810" sldId="455"/>
        </pc:sldMkLst>
      </pc:sldChg>
      <pc:sldChg chg="addSp delSp modSp mod">
        <pc:chgData name="Tabea Monz" userId="f46a5392-c507-4495-8454-0a2fbbcf0cda" providerId="ADAL" clId="{19C36ED6-2F50-4F28-88A2-C87A37E0C74B}" dt="2025-01-26T15:10:38.890" v="4170" actId="20577"/>
        <pc:sldMkLst>
          <pc:docMk/>
          <pc:sldMk cId="100426047" sldId="456"/>
        </pc:sldMkLst>
        <pc:picChg chg="add mod modCrop">
          <ac:chgData name="Tabea Monz" userId="f46a5392-c507-4495-8454-0a2fbbcf0cda" providerId="ADAL" clId="{19C36ED6-2F50-4F28-88A2-C87A37E0C74B}" dt="2025-01-21T10:57:16.189" v="3232" actId="1076"/>
          <ac:picMkLst>
            <pc:docMk/>
            <pc:sldMk cId="100426047" sldId="456"/>
            <ac:picMk id="6" creationId="{2181FD34-1CEB-1ECF-7124-4D9D04EBDFC1}"/>
          </ac:picMkLst>
        </pc:picChg>
        <pc:picChg chg="add mod modCrop">
          <ac:chgData name="Tabea Monz" userId="f46a5392-c507-4495-8454-0a2fbbcf0cda" providerId="ADAL" clId="{19C36ED6-2F50-4F28-88A2-C87A37E0C74B}" dt="2025-01-21T10:57:24.404" v="3233" actId="1076"/>
          <ac:picMkLst>
            <pc:docMk/>
            <pc:sldMk cId="100426047" sldId="456"/>
            <ac:picMk id="8" creationId="{7C246E8F-513D-3EAF-8C80-310132BA6CF0}"/>
          </ac:picMkLst>
        </pc:picChg>
      </pc:sldChg>
      <pc:sldChg chg="modSp mod">
        <pc:chgData name="Tabea Monz" userId="f46a5392-c507-4495-8454-0a2fbbcf0cda" providerId="ADAL" clId="{19C36ED6-2F50-4F28-88A2-C87A37E0C74B}" dt="2025-01-26T15:01:03.643" v="4070" actId="20577"/>
        <pc:sldMkLst>
          <pc:docMk/>
          <pc:sldMk cId="467972862" sldId="457"/>
        </pc:sldMkLst>
      </pc:sldChg>
      <pc:sldChg chg="modSp mod">
        <pc:chgData name="Tabea Monz" userId="f46a5392-c507-4495-8454-0a2fbbcf0cda" providerId="ADAL" clId="{19C36ED6-2F50-4F28-88A2-C87A37E0C74B}" dt="2025-01-26T15:10:22.149" v="4162" actId="20577"/>
        <pc:sldMkLst>
          <pc:docMk/>
          <pc:sldMk cId="4294162477" sldId="458"/>
        </pc:sldMkLst>
      </pc:sldChg>
      <pc:sldChg chg="addSp delSp modSp add mod">
        <pc:chgData name="Tabea Monz" userId="f46a5392-c507-4495-8454-0a2fbbcf0cda" providerId="ADAL" clId="{19C36ED6-2F50-4F28-88A2-C87A37E0C74B}" dt="2025-01-26T15:04:32.793" v="4090" actId="20577"/>
        <pc:sldMkLst>
          <pc:docMk/>
          <pc:sldMk cId="2438891682" sldId="459"/>
        </pc:sldMkLst>
        <pc:spChg chg="add mod">
          <ac:chgData name="Tabea Monz" userId="f46a5392-c507-4495-8454-0a2fbbcf0cda" providerId="ADAL" clId="{19C36ED6-2F50-4F28-88A2-C87A37E0C74B}" dt="2025-01-21T08:01:57.907" v="86" actId="20577"/>
          <ac:spMkLst>
            <pc:docMk/>
            <pc:sldMk cId="2438891682" sldId="459"/>
            <ac:spMk id="28" creationId="{E1A1C372-BFC7-A2DD-3B31-1DD6BBDA5EEF}"/>
          </ac:spMkLst>
        </pc:spChg>
        <pc:spChg chg="add mod">
          <ac:chgData name="Tabea Monz" userId="f46a5392-c507-4495-8454-0a2fbbcf0cda" providerId="ADAL" clId="{19C36ED6-2F50-4F28-88A2-C87A37E0C74B}" dt="2025-01-21T08:02:57.181" v="124" actId="20577"/>
          <ac:spMkLst>
            <pc:docMk/>
            <pc:sldMk cId="2438891682" sldId="459"/>
            <ac:spMk id="32" creationId="{231C7506-DC96-5BA1-9803-0673B8B4F9B7}"/>
          </ac:spMkLst>
        </pc:spChg>
        <pc:picChg chg="add mod">
          <ac:chgData name="Tabea Monz" userId="f46a5392-c507-4495-8454-0a2fbbcf0cda" providerId="ADAL" clId="{19C36ED6-2F50-4F28-88A2-C87A37E0C74B}" dt="2025-01-21T08:00:59.676" v="60" actId="1076"/>
          <ac:picMkLst>
            <pc:docMk/>
            <pc:sldMk cId="2438891682" sldId="459"/>
            <ac:picMk id="25" creationId="{E600F2B1-58BA-E8D9-6E26-3DC46039CCDE}"/>
          </ac:picMkLst>
        </pc:picChg>
        <pc:picChg chg="add mod">
          <ac:chgData name="Tabea Monz" userId="f46a5392-c507-4495-8454-0a2fbbcf0cda" providerId="ADAL" clId="{19C36ED6-2F50-4F28-88A2-C87A37E0C74B}" dt="2025-01-21T08:01:07.004" v="61" actId="1076"/>
          <ac:picMkLst>
            <pc:docMk/>
            <pc:sldMk cId="2438891682" sldId="459"/>
            <ac:picMk id="27" creationId="{D19E7DB3-6ED1-76D3-AC34-424507429107}"/>
          </ac:picMkLst>
        </pc:picChg>
        <pc:cxnChg chg="add mod">
          <ac:chgData name="Tabea Monz" userId="f46a5392-c507-4495-8454-0a2fbbcf0cda" providerId="ADAL" clId="{19C36ED6-2F50-4F28-88A2-C87A37E0C74B}" dt="2025-01-21T08:02:34.595" v="91" actId="14100"/>
          <ac:cxnSpMkLst>
            <pc:docMk/>
            <pc:sldMk cId="2438891682" sldId="459"/>
            <ac:cxnSpMk id="29" creationId="{7B429CE8-D605-57D1-7D72-E55B6953E635}"/>
          </ac:cxnSpMkLst>
        </pc:cxnChg>
      </pc:sldChg>
      <pc:sldChg chg="addSp delSp modSp add mod">
        <pc:chgData name="Tabea Monz" userId="f46a5392-c507-4495-8454-0a2fbbcf0cda" providerId="ADAL" clId="{19C36ED6-2F50-4F28-88A2-C87A37E0C74B}" dt="2025-01-26T15:08:04.088" v="4124" actId="1076"/>
        <pc:sldMkLst>
          <pc:docMk/>
          <pc:sldMk cId="781101471" sldId="460"/>
        </pc:sldMkLst>
      </pc:sldChg>
      <pc:sldChg chg="addSp delSp modSp add mod">
        <pc:chgData name="Tabea Monz" userId="f46a5392-c507-4495-8454-0a2fbbcf0cda" providerId="ADAL" clId="{19C36ED6-2F50-4F28-88A2-C87A37E0C74B}" dt="2025-01-26T15:08:30.782" v="4133" actId="20577"/>
        <pc:sldMkLst>
          <pc:docMk/>
          <pc:sldMk cId="4245375291" sldId="461"/>
        </pc:sldMkLst>
        <pc:spChg chg="add mod">
          <ac:chgData name="Tabea Monz" userId="f46a5392-c507-4495-8454-0a2fbbcf0cda" providerId="ADAL" clId="{19C36ED6-2F50-4F28-88A2-C87A37E0C74B}" dt="2025-01-21T09:47:59.896" v="1341" actId="255"/>
          <ac:spMkLst>
            <pc:docMk/>
            <pc:sldMk cId="4245375291" sldId="461"/>
            <ac:spMk id="11" creationId="{9FD96AF6-9C28-0307-4D9C-14AC1D3EBEAE}"/>
          </ac:spMkLst>
        </pc:spChg>
        <pc:picChg chg="mod">
          <ac:chgData name="Tabea Monz" userId="f46a5392-c507-4495-8454-0a2fbbcf0cda" providerId="ADAL" clId="{19C36ED6-2F50-4F28-88A2-C87A37E0C74B}" dt="2025-01-21T09:44:20.800" v="1316" actId="1076"/>
          <ac:picMkLst>
            <pc:docMk/>
            <pc:sldMk cId="4245375291" sldId="461"/>
            <ac:picMk id="18" creationId="{D588EE99-F29E-4384-DB68-BEACFE5ABBA6}"/>
          </ac:picMkLst>
        </pc:picChg>
        <pc:picChg chg="mod">
          <ac:chgData name="Tabea Monz" userId="f46a5392-c507-4495-8454-0a2fbbcf0cda" providerId="ADAL" clId="{19C36ED6-2F50-4F28-88A2-C87A37E0C74B}" dt="2025-01-21T09:44:33.542" v="1320" actId="1076"/>
          <ac:picMkLst>
            <pc:docMk/>
            <pc:sldMk cId="4245375291" sldId="461"/>
            <ac:picMk id="20" creationId="{0BE8353B-B64C-F631-E4B9-7B1C1F9ECD0F}"/>
          </ac:picMkLst>
        </pc:picChg>
        <pc:picChg chg="mod">
          <ac:chgData name="Tabea Monz" userId="f46a5392-c507-4495-8454-0a2fbbcf0cda" providerId="ADAL" clId="{19C36ED6-2F50-4F28-88A2-C87A37E0C74B}" dt="2025-01-21T09:44:35.585" v="1321" actId="1076"/>
          <ac:picMkLst>
            <pc:docMk/>
            <pc:sldMk cId="4245375291" sldId="461"/>
            <ac:picMk id="22" creationId="{75DA66B4-0365-5DBC-B3A9-6FE4999C048F}"/>
          </ac:picMkLst>
        </pc:picChg>
      </pc:sldChg>
      <pc:sldChg chg="delSp modSp mod">
        <pc:chgData name="Tabea Monz" userId="f46a5392-c507-4495-8454-0a2fbbcf0cda" providerId="ADAL" clId="{19C36ED6-2F50-4F28-88A2-C87A37E0C74B}" dt="2025-01-26T15:09:31.985" v="4150" actId="20577"/>
        <pc:sldMkLst>
          <pc:docMk/>
          <pc:sldMk cId="3515044065" sldId="462"/>
        </pc:sldMkLst>
        <pc:spChg chg="mod">
          <ac:chgData name="Tabea Monz" userId="f46a5392-c507-4495-8454-0a2fbbcf0cda" providerId="ADAL" clId="{19C36ED6-2F50-4F28-88A2-C87A37E0C74B}" dt="2025-01-21T11:12:27.851" v="3791" actId="20577"/>
          <ac:spMkLst>
            <pc:docMk/>
            <pc:sldMk cId="3515044065" sldId="462"/>
            <ac:spMk id="7" creationId="{B0D6E95B-706B-1A76-F93F-A6276D641BE9}"/>
          </ac:spMkLst>
        </pc:spChg>
      </pc:sldChg>
      <pc:sldChg chg="addSp delSp modSp add mod">
        <pc:chgData name="Tabea Monz" userId="f46a5392-c507-4495-8454-0a2fbbcf0cda" providerId="ADAL" clId="{19C36ED6-2F50-4F28-88A2-C87A37E0C74B}" dt="2025-01-26T15:09:38.726" v="4153" actId="20577"/>
        <pc:sldMkLst>
          <pc:docMk/>
          <pc:sldMk cId="2958026813" sldId="463"/>
        </pc:sldMkLst>
      </pc:sldChg>
      <pc:sldChg chg="addSp delSp modSp add mod">
        <pc:chgData name="Tabea Monz" userId="f46a5392-c507-4495-8454-0a2fbbcf0cda" providerId="ADAL" clId="{19C36ED6-2F50-4F28-88A2-C87A37E0C74B}" dt="2025-01-26T15:09:47.853" v="4159" actId="20577"/>
        <pc:sldMkLst>
          <pc:docMk/>
          <pc:sldMk cId="3162843186" sldId="464"/>
        </pc:sldMkLst>
        <pc:picChg chg="add mod ord modCrop">
          <ac:chgData name="Tabea Monz" userId="f46a5392-c507-4495-8454-0a2fbbcf0cda" providerId="ADAL" clId="{19C36ED6-2F50-4F28-88A2-C87A37E0C74B}" dt="2025-01-21T10:18:09.837" v="2469" actId="166"/>
          <ac:picMkLst>
            <pc:docMk/>
            <pc:sldMk cId="3162843186" sldId="464"/>
            <ac:picMk id="11" creationId="{7A4BDEEC-4827-8467-9AAD-04B28C1ABD8B}"/>
          </ac:picMkLst>
        </pc:picChg>
      </pc:sldChg>
      <pc:sldChg chg="delSp modSp mod">
        <pc:chgData name="Tabea Monz" userId="f46a5392-c507-4495-8454-0a2fbbcf0cda" providerId="ADAL" clId="{19C36ED6-2F50-4F28-88A2-C87A37E0C74B}" dt="2025-02-01T19:16:24.492" v="4407" actId="20577"/>
        <pc:sldMkLst>
          <pc:docMk/>
          <pc:sldMk cId="1069253942" sldId="465"/>
        </pc:sldMkLst>
        <pc:spChg chg="mod">
          <ac:chgData name="Tabea Monz" userId="f46a5392-c507-4495-8454-0a2fbbcf0cda" providerId="ADAL" clId="{19C36ED6-2F50-4F28-88A2-C87A37E0C74B}" dt="2025-02-01T19:16:24.492" v="4407" actId="20577"/>
          <ac:spMkLst>
            <pc:docMk/>
            <pc:sldMk cId="1069253942" sldId="465"/>
            <ac:spMk id="11" creationId="{D7AEC48C-8EFC-2CF7-8FF1-AFD9438E4FD1}"/>
          </ac:spMkLst>
        </pc:spChg>
      </pc:sldChg>
      <pc:sldChg chg="modSp mod">
        <pc:chgData name="Tabea Monz" userId="f46a5392-c507-4495-8454-0a2fbbcf0cda" providerId="ADAL" clId="{19C36ED6-2F50-4F28-88A2-C87A37E0C74B}" dt="2025-02-01T20:04:38.233" v="4755" actId="1076"/>
        <pc:sldMkLst>
          <pc:docMk/>
          <pc:sldMk cId="567736257" sldId="467"/>
        </pc:sldMkLst>
        <pc:spChg chg="mod">
          <ac:chgData name="Tabea Monz" userId="f46a5392-c507-4495-8454-0a2fbbcf0cda" providerId="ADAL" clId="{19C36ED6-2F50-4F28-88A2-C87A37E0C74B}" dt="2025-02-01T19:17:34.452" v="4462" actId="20577"/>
          <ac:spMkLst>
            <pc:docMk/>
            <pc:sldMk cId="567736257" sldId="467"/>
            <ac:spMk id="7" creationId="{3358476D-3240-DD26-03B4-C5E70685CE43}"/>
          </ac:spMkLst>
        </pc:spChg>
        <pc:spChg chg="mod">
          <ac:chgData name="Tabea Monz" userId="f46a5392-c507-4495-8454-0a2fbbcf0cda" providerId="ADAL" clId="{19C36ED6-2F50-4F28-88A2-C87A37E0C74B}" dt="2025-02-01T20:04:38.233" v="4755" actId="1076"/>
          <ac:spMkLst>
            <pc:docMk/>
            <pc:sldMk cId="567736257" sldId="467"/>
            <ac:spMk id="28" creationId="{E6D37276-12FF-3343-C611-F811600CB44D}"/>
          </ac:spMkLst>
        </pc:spChg>
      </pc:sldChg>
    </pc:docChg>
  </pc:docChgLst>
  <pc:docChgLst>
    <pc:chgData name="Ömer Taha Sevimli" userId="d68fb2f4-76b1-4cfc-96e6-800a7d956fcb" providerId="ADAL" clId="{25450D9F-5351-9849-AE62-3BFF347E1BEF}"/>
    <pc:docChg chg="undo redo custSel addSld delSld modSld sldOrd modSection">
      <pc:chgData name="Ömer Taha Sevimli" userId="d68fb2f4-76b1-4cfc-96e6-800a7d956fcb" providerId="ADAL" clId="{25450D9F-5351-9849-AE62-3BFF347E1BEF}" dt="2025-01-21T10:03:18.384" v="3626" actId="20577"/>
      <pc:docMkLst>
        <pc:docMk/>
      </pc:docMkLst>
      <pc:sldChg chg="addSp delSp modSp mod">
        <pc:chgData name="Ömer Taha Sevimli" userId="d68fb2f4-76b1-4cfc-96e6-800a7d956fcb" providerId="ADAL" clId="{25450D9F-5351-9849-AE62-3BFF347E1BEF}" dt="2025-01-20T15:51:26.449" v="3258" actId="1076"/>
        <pc:sldMkLst>
          <pc:docMk/>
          <pc:sldMk cId="855508414" sldId="301"/>
        </pc:sldMkLst>
        <pc:spChg chg="add mod">
          <ac:chgData name="Ömer Taha Sevimli" userId="d68fb2f4-76b1-4cfc-96e6-800a7d956fcb" providerId="ADAL" clId="{25450D9F-5351-9849-AE62-3BFF347E1BEF}" dt="2025-01-19T16:50:18.374" v="354" actId="20577"/>
          <ac:spMkLst>
            <pc:docMk/>
            <pc:sldMk cId="855508414" sldId="301"/>
            <ac:spMk id="5" creationId="{D4C413BD-98A7-F90F-8885-7185FB0495C4}"/>
          </ac:spMkLst>
        </pc:spChg>
        <pc:spChg chg="mod topLvl">
          <ac:chgData name="Ömer Taha Sevimli" userId="d68fb2f4-76b1-4cfc-96e6-800a7d956fcb" providerId="ADAL" clId="{25450D9F-5351-9849-AE62-3BFF347E1BEF}" dt="2025-01-20T15:51:19.764" v="3257" actId="1076"/>
          <ac:spMkLst>
            <pc:docMk/>
            <pc:sldMk cId="855508414" sldId="301"/>
            <ac:spMk id="14" creationId="{A1668B4A-6D4A-8D7F-025E-91402E10F567}"/>
          </ac:spMkLst>
        </pc:spChg>
        <pc:spChg chg="mod">
          <ac:chgData name="Ömer Taha Sevimli" userId="d68fb2f4-76b1-4cfc-96e6-800a7d956fcb" providerId="ADAL" clId="{25450D9F-5351-9849-AE62-3BFF347E1BEF}" dt="2025-01-19T16:47:53.129" v="324" actId="313"/>
          <ac:spMkLst>
            <pc:docMk/>
            <pc:sldMk cId="855508414" sldId="301"/>
            <ac:spMk id="45" creationId="{FDA57636-E66E-F394-3E03-5D03159A3A34}"/>
          </ac:spMkLst>
        </pc:spChg>
        <pc:spChg chg="mod">
          <ac:chgData name="Ömer Taha Sevimli" userId="d68fb2f4-76b1-4cfc-96e6-800a7d956fcb" providerId="ADAL" clId="{25450D9F-5351-9849-AE62-3BFF347E1BEF}" dt="2025-01-20T15:50:06.521" v="3245" actId="14100"/>
          <ac:spMkLst>
            <pc:docMk/>
            <pc:sldMk cId="855508414" sldId="301"/>
            <ac:spMk id="47" creationId="{B4038930-0E51-1F15-F0BF-04F535E1BD00}"/>
          </ac:spMkLst>
        </pc:spChg>
        <pc:spChg chg="mod">
          <ac:chgData name="Ömer Taha Sevimli" userId="d68fb2f4-76b1-4cfc-96e6-800a7d956fcb" providerId="ADAL" clId="{25450D9F-5351-9849-AE62-3BFF347E1BEF}" dt="2025-01-20T15:50:39.205" v="3250" actId="1076"/>
          <ac:spMkLst>
            <pc:docMk/>
            <pc:sldMk cId="855508414" sldId="301"/>
            <ac:spMk id="49" creationId="{82127627-34E5-8BD9-1F2B-D74DDC96773B}"/>
          </ac:spMkLst>
        </pc:spChg>
      </pc:sldChg>
      <pc:sldChg chg="modSp mod">
        <pc:chgData name="Ömer Taha Sevimli" userId="d68fb2f4-76b1-4cfc-96e6-800a7d956fcb" providerId="ADAL" clId="{25450D9F-5351-9849-AE62-3BFF347E1BEF}" dt="2025-01-21T09:10:18.494" v="3466" actId="20577"/>
        <pc:sldMkLst>
          <pc:docMk/>
          <pc:sldMk cId="656948936" sldId="307"/>
        </pc:sldMkLst>
        <pc:spChg chg="mod">
          <ac:chgData name="Ömer Taha Sevimli" userId="d68fb2f4-76b1-4cfc-96e6-800a7d956fcb" providerId="ADAL" clId="{25450D9F-5351-9849-AE62-3BFF347E1BEF}" dt="2025-01-21T09:10:18.494" v="3466" actId="20577"/>
          <ac:spMkLst>
            <pc:docMk/>
            <pc:sldMk cId="656948936" sldId="307"/>
            <ac:spMk id="18" creationId="{9D402FC9-B003-6ABB-29C8-CFE131F86AFE}"/>
          </ac:spMkLst>
        </pc:spChg>
      </pc:sldChg>
      <pc:sldChg chg="addSp delSp modSp del mod">
        <pc:chgData name="Ömer Taha Sevimli" userId="d68fb2f4-76b1-4cfc-96e6-800a7d956fcb" providerId="ADAL" clId="{25450D9F-5351-9849-AE62-3BFF347E1BEF}" dt="2025-01-20T15:51:31.042" v="3259" actId="2696"/>
        <pc:sldMkLst>
          <pc:docMk/>
          <pc:sldMk cId="1662382075" sldId="367"/>
        </pc:sldMkLst>
      </pc:sldChg>
      <pc:sldChg chg="modSp mod">
        <pc:chgData name="Ömer Taha Sevimli" userId="d68fb2f4-76b1-4cfc-96e6-800a7d956fcb" providerId="ADAL" clId="{25450D9F-5351-9849-AE62-3BFF347E1BEF}" dt="2025-01-21T10:03:18.384" v="3626" actId="20577"/>
        <pc:sldMkLst>
          <pc:docMk/>
          <pc:sldMk cId="2861992113" sldId="394"/>
        </pc:sldMkLst>
      </pc:sldChg>
      <pc:sldChg chg="modSp mod">
        <pc:chgData name="Ömer Taha Sevimli" userId="d68fb2f4-76b1-4cfc-96e6-800a7d956fcb" providerId="ADAL" clId="{25450D9F-5351-9849-AE62-3BFF347E1BEF}" dt="2025-01-20T20:46:29.787" v="3432" actId="20577"/>
        <pc:sldMkLst>
          <pc:docMk/>
          <pc:sldMk cId="380781371" sldId="419"/>
        </pc:sldMkLst>
      </pc:sldChg>
      <pc:sldChg chg="modSp mod">
        <pc:chgData name="Ömer Taha Sevimli" userId="d68fb2f4-76b1-4cfc-96e6-800a7d956fcb" providerId="ADAL" clId="{25450D9F-5351-9849-AE62-3BFF347E1BEF}" dt="2025-01-21T09:09:35.522" v="3444" actId="20577"/>
        <pc:sldMkLst>
          <pc:docMk/>
          <pc:sldMk cId="1722066996" sldId="420"/>
        </pc:sldMkLst>
        <pc:spChg chg="mod">
          <ac:chgData name="Ömer Taha Sevimli" userId="d68fb2f4-76b1-4cfc-96e6-800a7d956fcb" providerId="ADAL" clId="{25450D9F-5351-9849-AE62-3BFF347E1BEF}" dt="2025-01-21T09:09:35.522" v="3444" actId="20577"/>
          <ac:spMkLst>
            <pc:docMk/>
            <pc:sldMk cId="1722066996" sldId="420"/>
            <ac:spMk id="15" creationId="{D11F5D38-E76B-2625-D4C9-29A036A7C2F9}"/>
          </ac:spMkLst>
        </pc:spChg>
      </pc:sldChg>
      <pc:sldChg chg="modSp mod">
        <pc:chgData name="Ömer Taha Sevimli" userId="d68fb2f4-76b1-4cfc-96e6-800a7d956fcb" providerId="ADAL" clId="{25450D9F-5351-9849-AE62-3BFF347E1BEF}" dt="2025-01-21T09:13:09.468" v="3484" actId="20577"/>
        <pc:sldMkLst>
          <pc:docMk/>
          <pc:sldMk cId="2184080923" sldId="422"/>
        </pc:sldMkLst>
      </pc:sldChg>
      <pc:sldChg chg="addSp delSp modSp del mod">
        <pc:chgData name="Ömer Taha Sevimli" userId="d68fb2f4-76b1-4cfc-96e6-800a7d956fcb" providerId="ADAL" clId="{25450D9F-5351-9849-AE62-3BFF347E1BEF}" dt="2025-01-20T10:49:40.333" v="518" actId="2696"/>
        <pc:sldMkLst>
          <pc:docMk/>
          <pc:sldMk cId="1781335970" sldId="423"/>
        </pc:sldMkLst>
      </pc:sldChg>
      <pc:sldChg chg="del">
        <pc:chgData name="Ömer Taha Sevimli" userId="d68fb2f4-76b1-4cfc-96e6-800a7d956fcb" providerId="ADAL" clId="{25450D9F-5351-9849-AE62-3BFF347E1BEF}" dt="2025-01-20T11:13:28.795" v="1357" actId="2696"/>
        <pc:sldMkLst>
          <pc:docMk/>
          <pc:sldMk cId="1907105927" sldId="424"/>
        </pc:sldMkLst>
      </pc:sldChg>
      <pc:sldChg chg="mod modShow">
        <pc:chgData name="Ömer Taha Sevimli" userId="d68fb2f4-76b1-4cfc-96e6-800a7d956fcb" providerId="ADAL" clId="{25450D9F-5351-9849-AE62-3BFF347E1BEF}" dt="2025-01-20T11:13:52.213" v="1360" actId="729"/>
        <pc:sldMkLst>
          <pc:docMk/>
          <pc:sldMk cId="2133334594" sldId="425"/>
        </pc:sldMkLst>
      </pc:sldChg>
      <pc:sldChg chg="mod modShow">
        <pc:chgData name="Ömer Taha Sevimli" userId="d68fb2f4-76b1-4cfc-96e6-800a7d956fcb" providerId="ADAL" clId="{25450D9F-5351-9849-AE62-3BFF347E1BEF}" dt="2025-01-20T11:27:16.805" v="2047" actId="729"/>
        <pc:sldMkLst>
          <pc:docMk/>
          <pc:sldMk cId="2481877112" sldId="436"/>
        </pc:sldMkLst>
      </pc:sldChg>
      <pc:sldChg chg="mod modShow">
        <pc:chgData name="Ömer Taha Sevimli" userId="d68fb2f4-76b1-4cfc-96e6-800a7d956fcb" providerId="ADAL" clId="{25450D9F-5351-9849-AE62-3BFF347E1BEF}" dt="2025-01-20T11:13:47.569" v="1359" actId="729"/>
        <pc:sldMkLst>
          <pc:docMk/>
          <pc:sldMk cId="616578418" sldId="437"/>
        </pc:sldMkLst>
      </pc:sldChg>
      <pc:sldChg chg="delSp modSp mod">
        <pc:chgData name="Ömer Taha Sevimli" userId="d68fb2f4-76b1-4cfc-96e6-800a7d956fcb" providerId="ADAL" clId="{25450D9F-5351-9849-AE62-3BFF347E1BEF}" dt="2025-01-21T10:00:53.345" v="3624" actId="1076"/>
        <pc:sldMkLst>
          <pc:docMk/>
          <pc:sldMk cId="3703175277" sldId="441"/>
        </pc:sldMkLst>
        <pc:spChg chg="mod">
          <ac:chgData name="Ömer Taha Sevimli" userId="d68fb2f4-76b1-4cfc-96e6-800a7d956fcb" providerId="ADAL" clId="{25450D9F-5351-9849-AE62-3BFF347E1BEF}" dt="2025-01-21T10:00:26.719" v="3623" actId="20577"/>
          <ac:spMkLst>
            <pc:docMk/>
            <pc:sldMk cId="3703175277" sldId="441"/>
            <ac:spMk id="7" creationId="{07040397-228E-6D70-AECA-AD5770BA7339}"/>
          </ac:spMkLst>
        </pc:spChg>
      </pc:sldChg>
      <pc:sldChg chg="modSp mod">
        <pc:chgData name="Ömer Taha Sevimli" userId="d68fb2f4-76b1-4cfc-96e6-800a7d956fcb" providerId="ADAL" clId="{25450D9F-5351-9849-AE62-3BFF347E1BEF}" dt="2025-01-21T09:10:34.080" v="3472" actId="20577"/>
        <pc:sldMkLst>
          <pc:docMk/>
          <pc:sldMk cId="1116173053" sldId="444"/>
        </pc:sldMkLst>
        <pc:spChg chg="mod">
          <ac:chgData name="Ömer Taha Sevimli" userId="d68fb2f4-76b1-4cfc-96e6-800a7d956fcb" providerId="ADAL" clId="{25450D9F-5351-9849-AE62-3BFF347E1BEF}" dt="2025-01-20T20:46:32.772" v="3434" actId="20577"/>
          <ac:spMkLst>
            <pc:docMk/>
            <pc:sldMk cId="1116173053" sldId="444"/>
            <ac:spMk id="2" creationId="{FE3A5165-8DD7-B00A-7B51-96C83EC80066}"/>
          </ac:spMkLst>
        </pc:spChg>
        <pc:spChg chg="mod">
          <ac:chgData name="Ömer Taha Sevimli" userId="d68fb2f4-76b1-4cfc-96e6-800a7d956fcb" providerId="ADAL" clId="{25450D9F-5351-9849-AE62-3BFF347E1BEF}" dt="2025-01-21T09:10:29.160" v="3470" actId="20577"/>
          <ac:spMkLst>
            <pc:docMk/>
            <pc:sldMk cId="1116173053" sldId="444"/>
            <ac:spMk id="19" creationId="{14F227C7-A804-2912-72FE-C68256D689CF}"/>
          </ac:spMkLst>
        </pc:spChg>
        <pc:spChg chg="mod">
          <ac:chgData name="Ömer Taha Sevimli" userId="d68fb2f4-76b1-4cfc-96e6-800a7d956fcb" providerId="ADAL" clId="{25450D9F-5351-9849-AE62-3BFF347E1BEF}" dt="2025-01-21T09:10:26.685" v="3468" actId="20577"/>
          <ac:spMkLst>
            <pc:docMk/>
            <pc:sldMk cId="1116173053" sldId="444"/>
            <ac:spMk id="21" creationId="{E66736C9-2D9B-3583-01F1-392C5ADBE345}"/>
          </ac:spMkLst>
        </pc:spChg>
        <pc:spChg chg="mod">
          <ac:chgData name="Ömer Taha Sevimli" userId="d68fb2f4-76b1-4cfc-96e6-800a7d956fcb" providerId="ADAL" clId="{25450D9F-5351-9849-AE62-3BFF347E1BEF}" dt="2025-01-21T09:10:34.080" v="3472" actId="20577"/>
          <ac:spMkLst>
            <pc:docMk/>
            <pc:sldMk cId="1116173053" sldId="444"/>
            <ac:spMk id="24" creationId="{8BB4E438-D041-97D3-C1DF-91CB8C7B1078}"/>
          </ac:spMkLst>
        </pc:spChg>
      </pc:sldChg>
      <pc:sldChg chg="modSp mod">
        <pc:chgData name="Ömer Taha Sevimli" userId="d68fb2f4-76b1-4cfc-96e6-800a7d956fcb" providerId="ADAL" clId="{25450D9F-5351-9849-AE62-3BFF347E1BEF}" dt="2025-01-20T20:46:40.555" v="3438" actId="20577"/>
        <pc:sldMkLst>
          <pc:docMk/>
          <pc:sldMk cId="1246978811" sldId="445"/>
        </pc:sldMkLst>
      </pc:sldChg>
      <pc:sldChg chg="modSp mod">
        <pc:chgData name="Ömer Taha Sevimli" userId="d68fb2f4-76b1-4cfc-96e6-800a7d956fcb" providerId="ADAL" clId="{25450D9F-5351-9849-AE62-3BFF347E1BEF}" dt="2025-01-20T20:46:46.291" v="3442" actId="20577"/>
        <pc:sldMkLst>
          <pc:docMk/>
          <pc:sldMk cId="2173768082" sldId="446"/>
        </pc:sldMkLst>
      </pc:sldChg>
      <pc:sldChg chg="modSp mod">
        <pc:chgData name="Ömer Taha Sevimli" userId="d68fb2f4-76b1-4cfc-96e6-800a7d956fcb" providerId="ADAL" clId="{25450D9F-5351-9849-AE62-3BFF347E1BEF}" dt="2025-01-20T20:46:12.902" v="3428" actId="20577"/>
        <pc:sldMkLst>
          <pc:docMk/>
          <pc:sldMk cId="1795976439" sldId="447"/>
        </pc:sldMkLst>
      </pc:sldChg>
      <pc:sldChg chg="addSp delSp modSp add mod ord">
        <pc:chgData name="Ömer Taha Sevimli" userId="d68fb2f4-76b1-4cfc-96e6-800a7d956fcb" providerId="ADAL" clId="{25450D9F-5351-9849-AE62-3BFF347E1BEF}" dt="2025-01-20T20:39:11.798" v="3273" actId="20577"/>
        <pc:sldMkLst>
          <pc:docMk/>
          <pc:sldMk cId="1198217199" sldId="450"/>
        </pc:sldMkLst>
      </pc:sldChg>
      <pc:sldChg chg="add del">
        <pc:chgData name="Ömer Taha Sevimli" userId="d68fb2f4-76b1-4cfc-96e6-800a7d956fcb" providerId="ADAL" clId="{25450D9F-5351-9849-AE62-3BFF347E1BEF}" dt="2025-01-20T11:01:00.524" v="793" actId="2696"/>
        <pc:sldMkLst>
          <pc:docMk/>
          <pc:sldMk cId="2805671340" sldId="451"/>
        </pc:sldMkLst>
      </pc:sldChg>
      <pc:sldChg chg="addSp delSp modSp add mod">
        <pc:chgData name="Ömer Taha Sevimli" userId="d68fb2f4-76b1-4cfc-96e6-800a7d956fcb" providerId="ADAL" clId="{25450D9F-5351-9849-AE62-3BFF347E1BEF}" dt="2025-01-20T20:44:03.888" v="3381" actId="20577"/>
        <pc:sldMkLst>
          <pc:docMk/>
          <pc:sldMk cId="2869791631" sldId="451"/>
        </pc:sldMkLst>
      </pc:sldChg>
      <pc:sldChg chg="modSp mod">
        <pc:chgData name="Ömer Taha Sevimli" userId="d68fb2f4-76b1-4cfc-96e6-800a7d956fcb" providerId="ADAL" clId="{25450D9F-5351-9849-AE62-3BFF347E1BEF}" dt="2025-01-21T09:12:34.886" v="3482" actId="20577"/>
        <pc:sldMkLst>
          <pc:docMk/>
          <pc:sldMk cId="1212062671" sldId="452"/>
        </pc:sldMkLst>
      </pc:sldChg>
      <pc:sldChg chg="addSp delSp modSp add del mod">
        <pc:chgData name="Ömer Taha Sevimli" userId="d68fb2f4-76b1-4cfc-96e6-800a7d956fcb" providerId="ADAL" clId="{25450D9F-5351-9849-AE62-3BFF347E1BEF}" dt="2025-01-20T12:34:14.546" v="2753" actId="2696"/>
        <pc:sldMkLst>
          <pc:docMk/>
          <pc:sldMk cId="2277200037" sldId="452"/>
        </pc:sldMkLst>
      </pc:sldChg>
      <pc:sldChg chg="addSp delSp modSp add mod">
        <pc:chgData name="Ömer Taha Sevimli" userId="d68fb2f4-76b1-4cfc-96e6-800a7d956fcb" providerId="ADAL" clId="{25450D9F-5351-9849-AE62-3BFF347E1BEF}" dt="2025-01-21T09:11:43.993" v="3474" actId="20577"/>
        <pc:sldMkLst>
          <pc:docMk/>
          <pc:sldMk cId="2609831934" sldId="454"/>
        </pc:sldMkLst>
      </pc:sldChg>
      <pc:sldChg chg="modSp mod">
        <pc:chgData name="Ömer Taha Sevimli" userId="d68fb2f4-76b1-4cfc-96e6-800a7d956fcb" providerId="ADAL" clId="{25450D9F-5351-9849-AE62-3BFF347E1BEF}" dt="2025-01-21T09:12:07.844" v="3480" actId="20577"/>
        <pc:sldMkLst>
          <pc:docMk/>
          <pc:sldMk cId="3180481810" sldId="455"/>
        </pc:sldMkLst>
      </pc:sldChg>
      <pc:sldChg chg="addSp delSp modSp add mod">
        <pc:chgData name="Ömer Taha Sevimli" userId="d68fb2f4-76b1-4cfc-96e6-800a7d956fcb" providerId="ADAL" clId="{25450D9F-5351-9849-AE62-3BFF347E1BEF}" dt="2025-01-21T09:11:56.337" v="3476" actId="20577"/>
        <pc:sldMkLst>
          <pc:docMk/>
          <pc:sldMk cId="4294162477" sldId="458"/>
        </pc:sldMkLst>
      </pc:sldChg>
    </pc:docChg>
  </pc:docChgLst>
  <pc:docChgLst>
    <pc:chgData name="Nina Steger" userId="efda762e-901d-408b-befd-9a071afe5357" providerId="ADAL" clId="{B1430754-EA55-E948-8BC0-1EE9C8470C1A}"/>
    <pc:docChg chg="undo custSel modSld">
      <pc:chgData name="Nina Steger" userId="efda762e-901d-408b-befd-9a071afe5357" providerId="ADAL" clId="{B1430754-EA55-E948-8BC0-1EE9C8470C1A}" dt="2025-02-01T16:48:22.263" v="458" actId="12"/>
      <pc:docMkLst>
        <pc:docMk/>
      </pc:docMkLst>
      <pc:sldChg chg="modSp mod">
        <pc:chgData name="Nina Steger" userId="efda762e-901d-408b-befd-9a071afe5357" providerId="ADAL" clId="{B1430754-EA55-E948-8BC0-1EE9C8470C1A}" dt="2025-02-01T12:15:53.439" v="68" actId="20577"/>
        <pc:sldMkLst>
          <pc:docMk/>
          <pc:sldMk cId="3573279774" sldId="286"/>
        </pc:sldMkLst>
        <pc:spChg chg="mod">
          <ac:chgData name="Nina Steger" userId="efda762e-901d-408b-befd-9a071afe5357" providerId="ADAL" clId="{B1430754-EA55-E948-8BC0-1EE9C8470C1A}" dt="2025-02-01T12:15:53.439" v="68" actId="20577"/>
          <ac:spMkLst>
            <pc:docMk/>
            <pc:sldMk cId="3573279774" sldId="286"/>
            <ac:spMk id="6" creationId="{EECBEFEB-9C0E-5927-15A7-351A5C54385E}"/>
          </ac:spMkLst>
        </pc:spChg>
        <pc:spChg chg="mod">
          <ac:chgData name="Nina Steger" userId="efda762e-901d-408b-befd-9a071afe5357" providerId="ADAL" clId="{B1430754-EA55-E948-8BC0-1EE9C8470C1A}" dt="2025-02-01T12:14:27.316" v="48"/>
          <ac:spMkLst>
            <pc:docMk/>
            <pc:sldMk cId="3573279774" sldId="286"/>
            <ac:spMk id="16" creationId="{9512D10A-8AFA-B149-A351-9F6D9825A080}"/>
          </ac:spMkLst>
        </pc:spChg>
      </pc:sldChg>
      <pc:sldChg chg="modSp mod">
        <pc:chgData name="Nina Steger" userId="efda762e-901d-408b-befd-9a071afe5357" providerId="ADAL" clId="{B1430754-EA55-E948-8BC0-1EE9C8470C1A}" dt="2025-02-01T12:40:36.909" v="137"/>
        <pc:sldMkLst>
          <pc:docMk/>
          <pc:sldMk cId="1997358788" sldId="297"/>
        </pc:sldMkLst>
        <pc:spChg chg="mod">
          <ac:chgData name="Nina Steger" userId="efda762e-901d-408b-befd-9a071afe5357" providerId="ADAL" clId="{B1430754-EA55-E948-8BC0-1EE9C8470C1A}" dt="2025-02-01T12:40:36.909" v="137"/>
          <ac:spMkLst>
            <pc:docMk/>
            <pc:sldMk cId="1997358788" sldId="297"/>
            <ac:spMk id="13" creationId="{817FCBA3-EFE9-7AA6-9D84-3B990635EB2E}"/>
          </ac:spMkLst>
        </pc:spChg>
      </pc:sldChg>
      <pc:sldChg chg="modSp mod">
        <pc:chgData name="Nina Steger" userId="efda762e-901d-408b-befd-9a071afe5357" providerId="ADAL" clId="{B1430754-EA55-E948-8BC0-1EE9C8470C1A}" dt="2025-01-31T12:26:16.891" v="14" actId="20577"/>
        <pc:sldMkLst>
          <pc:docMk/>
          <pc:sldMk cId="2738800295" sldId="302"/>
        </pc:sldMkLst>
        <pc:spChg chg="mod">
          <ac:chgData name="Nina Steger" userId="efda762e-901d-408b-befd-9a071afe5357" providerId="ADAL" clId="{B1430754-EA55-E948-8BC0-1EE9C8470C1A}" dt="2025-01-31T12:26:16.891" v="14" actId="20577"/>
          <ac:spMkLst>
            <pc:docMk/>
            <pc:sldMk cId="2738800295" sldId="302"/>
            <ac:spMk id="7" creationId="{48E25BC3-2A78-5F2C-F720-366C9B167CBD}"/>
          </ac:spMkLst>
        </pc:spChg>
      </pc:sldChg>
      <pc:sldChg chg="modSp mod">
        <pc:chgData name="Nina Steger" userId="efda762e-901d-408b-befd-9a071afe5357" providerId="ADAL" clId="{B1430754-EA55-E948-8BC0-1EE9C8470C1A}" dt="2025-02-01T10:10:40.234" v="21" actId="20577"/>
        <pc:sldMkLst>
          <pc:docMk/>
          <pc:sldMk cId="1608053785" sldId="303"/>
        </pc:sldMkLst>
        <pc:spChg chg="mod">
          <ac:chgData name="Nina Steger" userId="efda762e-901d-408b-befd-9a071afe5357" providerId="ADAL" clId="{B1430754-EA55-E948-8BC0-1EE9C8470C1A}" dt="2025-02-01T10:10:40.234" v="21" actId="20577"/>
          <ac:spMkLst>
            <pc:docMk/>
            <pc:sldMk cId="1608053785" sldId="303"/>
            <ac:spMk id="7" creationId="{48E25BC3-2A78-5F2C-F720-366C9B167CBD}"/>
          </ac:spMkLst>
        </pc:spChg>
      </pc:sldChg>
      <pc:sldChg chg="modSp mod">
        <pc:chgData name="Nina Steger" userId="efda762e-901d-408b-befd-9a071afe5357" providerId="ADAL" clId="{B1430754-EA55-E948-8BC0-1EE9C8470C1A}" dt="2025-02-01T12:38:16.208" v="129"/>
        <pc:sldMkLst>
          <pc:docMk/>
          <pc:sldMk cId="373550321" sldId="318"/>
        </pc:sldMkLst>
        <pc:spChg chg="mod">
          <ac:chgData name="Nina Steger" userId="efda762e-901d-408b-befd-9a071afe5357" providerId="ADAL" clId="{B1430754-EA55-E948-8BC0-1EE9C8470C1A}" dt="2025-02-01T12:32:00.586" v="114" actId="1076"/>
          <ac:spMkLst>
            <pc:docMk/>
            <pc:sldMk cId="373550321" sldId="318"/>
            <ac:spMk id="2" creationId="{F0B2C064-86E3-B316-5126-29978F8DC037}"/>
          </ac:spMkLst>
        </pc:spChg>
        <pc:spChg chg="mod">
          <ac:chgData name="Nina Steger" userId="efda762e-901d-408b-befd-9a071afe5357" providerId="ADAL" clId="{B1430754-EA55-E948-8BC0-1EE9C8470C1A}" dt="2025-02-01T12:38:16.208" v="129"/>
          <ac:spMkLst>
            <pc:docMk/>
            <pc:sldMk cId="373550321" sldId="318"/>
            <ac:spMk id="7" creationId="{2E9A378D-8DB5-F059-10CF-019382FA312B}"/>
          </ac:spMkLst>
        </pc:spChg>
      </pc:sldChg>
      <pc:sldChg chg="modSp mod">
        <pc:chgData name="Nina Steger" userId="efda762e-901d-408b-befd-9a071afe5357" providerId="ADAL" clId="{B1430754-EA55-E948-8BC0-1EE9C8470C1A}" dt="2025-02-01T10:21:43.446" v="23" actId="20577"/>
        <pc:sldMkLst>
          <pc:docMk/>
          <pc:sldMk cId="1183542163" sldId="339"/>
        </pc:sldMkLst>
        <pc:spChg chg="mod">
          <ac:chgData name="Nina Steger" userId="efda762e-901d-408b-befd-9a071afe5357" providerId="ADAL" clId="{B1430754-EA55-E948-8BC0-1EE9C8470C1A}" dt="2025-02-01T10:21:43.446" v="23" actId="20577"/>
          <ac:spMkLst>
            <pc:docMk/>
            <pc:sldMk cId="1183542163" sldId="339"/>
            <ac:spMk id="6" creationId="{0E630E31-56A7-45D2-FE61-A1F165CD464C}"/>
          </ac:spMkLst>
        </pc:spChg>
      </pc:sldChg>
      <pc:sldChg chg="modSp mod">
        <pc:chgData name="Nina Steger" userId="efda762e-901d-408b-befd-9a071afe5357" providerId="ADAL" clId="{B1430754-EA55-E948-8BC0-1EE9C8470C1A}" dt="2025-02-01T13:00:29.094" v="168"/>
        <pc:sldMkLst>
          <pc:docMk/>
          <pc:sldMk cId="2461222098" sldId="399"/>
        </pc:sldMkLst>
        <pc:spChg chg="mod">
          <ac:chgData name="Nina Steger" userId="efda762e-901d-408b-befd-9a071afe5357" providerId="ADAL" clId="{B1430754-EA55-E948-8BC0-1EE9C8470C1A}" dt="2025-02-01T13:00:29.094" v="168"/>
          <ac:spMkLst>
            <pc:docMk/>
            <pc:sldMk cId="2461222098" sldId="399"/>
            <ac:spMk id="22" creationId="{3217CAE4-727E-902E-01B2-390D4371FDCA}"/>
          </ac:spMkLst>
        </pc:spChg>
      </pc:sldChg>
      <pc:sldChg chg="modSp mod">
        <pc:chgData name="Nina Steger" userId="efda762e-901d-408b-befd-9a071afe5357" providerId="ADAL" clId="{B1430754-EA55-E948-8BC0-1EE9C8470C1A}" dt="2025-02-01T12:58:00.269" v="162" actId="20577"/>
        <pc:sldMkLst>
          <pc:docMk/>
          <pc:sldMk cId="582580800" sldId="401"/>
        </pc:sldMkLst>
        <pc:spChg chg="mod">
          <ac:chgData name="Nina Steger" userId="efda762e-901d-408b-befd-9a071afe5357" providerId="ADAL" clId="{B1430754-EA55-E948-8BC0-1EE9C8470C1A}" dt="2025-02-01T12:58:00.269" v="162" actId="20577"/>
          <ac:spMkLst>
            <pc:docMk/>
            <pc:sldMk cId="582580800" sldId="401"/>
            <ac:spMk id="29" creationId="{CA6837E9-0CA2-31C7-139C-BB9C3A8FBD8F}"/>
          </ac:spMkLst>
        </pc:spChg>
      </pc:sldChg>
      <pc:sldChg chg="modSp mod">
        <pc:chgData name="Nina Steger" userId="efda762e-901d-408b-befd-9a071afe5357" providerId="ADAL" clId="{B1430754-EA55-E948-8BC0-1EE9C8470C1A}" dt="2025-02-01T12:45:30.351" v="156" actId="20577"/>
        <pc:sldMkLst>
          <pc:docMk/>
          <pc:sldMk cId="1179567158" sldId="404"/>
        </pc:sldMkLst>
        <pc:spChg chg="mod">
          <ac:chgData name="Nina Steger" userId="efda762e-901d-408b-befd-9a071afe5357" providerId="ADAL" clId="{B1430754-EA55-E948-8BC0-1EE9C8470C1A}" dt="2025-02-01T12:45:06.816" v="152"/>
          <ac:spMkLst>
            <pc:docMk/>
            <pc:sldMk cId="1179567158" sldId="404"/>
            <ac:spMk id="13" creationId="{817FCBA3-EFE9-7AA6-9D84-3B990635EB2E}"/>
          </ac:spMkLst>
        </pc:spChg>
        <pc:spChg chg="mod">
          <ac:chgData name="Nina Steger" userId="efda762e-901d-408b-befd-9a071afe5357" providerId="ADAL" clId="{B1430754-EA55-E948-8BC0-1EE9C8470C1A}" dt="2025-02-01T12:45:30.351" v="156" actId="20577"/>
          <ac:spMkLst>
            <pc:docMk/>
            <pc:sldMk cId="1179567158" sldId="404"/>
            <ac:spMk id="27" creationId="{00ABFF18-6492-8656-11B0-91CC9D11CAC2}"/>
          </ac:spMkLst>
        </pc:spChg>
      </pc:sldChg>
      <pc:sldChg chg="modSp mod">
        <pc:chgData name="Nina Steger" userId="efda762e-901d-408b-befd-9a071afe5357" providerId="ADAL" clId="{B1430754-EA55-E948-8BC0-1EE9C8470C1A}" dt="2025-02-01T12:12:52.080" v="45" actId="20577"/>
        <pc:sldMkLst>
          <pc:docMk/>
          <pc:sldMk cId="1350676828" sldId="407"/>
        </pc:sldMkLst>
        <pc:spChg chg="mod">
          <ac:chgData name="Nina Steger" userId="efda762e-901d-408b-befd-9a071afe5357" providerId="ADAL" clId="{B1430754-EA55-E948-8BC0-1EE9C8470C1A}" dt="2025-02-01T12:12:52.080" v="45" actId="20577"/>
          <ac:spMkLst>
            <pc:docMk/>
            <pc:sldMk cId="1350676828" sldId="407"/>
            <ac:spMk id="6" creationId="{60826006-F73F-8F4D-B400-0565C4DD04A9}"/>
          </ac:spMkLst>
        </pc:spChg>
      </pc:sldChg>
      <pc:sldChg chg="modSp mod">
        <pc:chgData name="Nina Steger" userId="efda762e-901d-408b-befd-9a071afe5357" providerId="ADAL" clId="{B1430754-EA55-E948-8BC0-1EE9C8470C1A}" dt="2025-02-01T11:56:10.518" v="43" actId="20577"/>
        <pc:sldMkLst>
          <pc:docMk/>
          <pc:sldMk cId="3374372959" sldId="410"/>
        </pc:sldMkLst>
        <pc:spChg chg="mod">
          <ac:chgData name="Nina Steger" userId="efda762e-901d-408b-befd-9a071afe5357" providerId="ADAL" clId="{B1430754-EA55-E948-8BC0-1EE9C8470C1A}" dt="2025-02-01T11:56:10.518" v="43" actId="20577"/>
          <ac:spMkLst>
            <pc:docMk/>
            <pc:sldMk cId="3374372959" sldId="410"/>
            <ac:spMk id="6" creationId="{EECBEFEB-9C0E-5927-15A7-351A5C54385E}"/>
          </ac:spMkLst>
        </pc:spChg>
      </pc:sldChg>
      <pc:sldChg chg="modSp mod">
        <pc:chgData name="Nina Steger" userId="efda762e-901d-408b-befd-9a071afe5357" providerId="ADAL" clId="{B1430754-EA55-E948-8BC0-1EE9C8470C1A}" dt="2025-02-01T12:20:23.779" v="88" actId="20577"/>
        <pc:sldMkLst>
          <pc:docMk/>
          <pc:sldMk cId="374364369" sldId="413"/>
        </pc:sldMkLst>
        <pc:spChg chg="mod">
          <ac:chgData name="Nina Steger" userId="efda762e-901d-408b-befd-9a071afe5357" providerId="ADAL" clId="{B1430754-EA55-E948-8BC0-1EE9C8470C1A}" dt="2025-02-01T12:20:00.286" v="87" actId="20577"/>
          <ac:spMkLst>
            <pc:docMk/>
            <pc:sldMk cId="374364369" sldId="413"/>
            <ac:spMk id="11" creationId="{C5107335-C559-E6D1-CF82-CCF7C8E26BC5}"/>
          </ac:spMkLst>
        </pc:spChg>
        <pc:spChg chg="mod">
          <ac:chgData name="Nina Steger" userId="efda762e-901d-408b-befd-9a071afe5357" providerId="ADAL" clId="{B1430754-EA55-E948-8BC0-1EE9C8470C1A}" dt="2025-02-01T12:20:23.779" v="88" actId="20577"/>
          <ac:spMkLst>
            <pc:docMk/>
            <pc:sldMk cId="374364369" sldId="413"/>
            <ac:spMk id="23" creationId="{398755E3-11DE-4DE7-84A9-771248D82E97}"/>
          </ac:spMkLst>
        </pc:spChg>
        <pc:spChg chg="mod">
          <ac:chgData name="Nina Steger" userId="efda762e-901d-408b-befd-9a071afe5357" providerId="ADAL" clId="{B1430754-EA55-E948-8BC0-1EE9C8470C1A}" dt="2025-02-01T12:19:46.981" v="84"/>
          <ac:spMkLst>
            <pc:docMk/>
            <pc:sldMk cId="374364369" sldId="413"/>
            <ac:spMk id="24" creationId="{9EE61C21-2AA6-419B-A73E-1A606DEA4621}"/>
          </ac:spMkLst>
        </pc:spChg>
        <pc:graphicFrameChg chg="mod">
          <ac:chgData name="Nina Steger" userId="efda762e-901d-408b-befd-9a071afe5357" providerId="ADAL" clId="{B1430754-EA55-E948-8BC0-1EE9C8470C1A}" dt="2025-02-01T12:19:00.452" v="81"/>
          <ac:graphicFrameMkLst>
            <pc:docMk/>
            <pc:sldMk cId="374364369" sldId="413"/>
            <ac:graphicFrameMk id="9" creationId="{997CC2AE-7AEE-FB9A-9D2A-5EDD08D09BCA}"/>
          </ac:graphicFrameMkLst>
        </pc:graphicFrameChg>
      </pc:sldChg>
      <pc:sldChg chg="modSp mod">
        <pc:chgData name="Nina Steger" userId="efda762e-901d-408b-befd-9a071afe5357" providerId="ADAL" clId="{B1430754-EA55-E948-8BC0-1EE9C8470C1A}" dt="2025-02-01T12:23:38.231" v="111" actId="20577"/>
        <pc:sldMkLst>
          <pc:docMk/>
          <pc:sldMk cId="3390966927" sldId="414"/>
        </pc:sldMkLst>
        <pc:spChg chg="mod">
          <ac:chgData name="Nina Steger" userId="efda762e-901d-408b-befd-9a071afe5357" providerId="ADAL" clId="{B1430754-EA55-E948-8BC0-1EE9C8470C1A}" dt="2025-02-01T12:23:38.231" v="111" actId="20577"/>
          <ac:spMkLst>
            <pc:docMk/>
            <pc:sldMk cId="3390966927" sldId="414"/>
            <ac:spMk id="11" creationId="{C5107335-C559-E6D1-CF82-CCF7C8E26BC5}"/>
          </ac:spMkLst>
        </pc:spChg>
      </pc:sldChg>
      <pc:sldChg chg="modSp mod">
        <pc:chgData name="Nina Steger" userId="efda762e-901d-408b-befd-9a071afe5357" providerId="ADAL" clId="{B1430754-EA55-E948-8BC0-1EE9C8470C1A}" dt="2025-02-01T13:16:45.935" v="306" actId="120"/>
        <pc:sldMkLst>
          <pc:docMk/>
          <pc:sldMk cId="380781371" sldId="419"/>
        </pc:sldMkLst>
        <pc:spChg chg="mod">
          <ac:chgData name="Nina Steger" userId="efda762e-901d-408b-befd-9a071afe5357" providerId="ADAL" clId="{B1430754-EA55-E948-8BC0-1EE9C8470C1A}" dt="2025-02-01T13:09:13.517" v="213" actId="20577"/>
          <ac:spMkLst>
            <pc:docMk/>
            <pc:sldMk cId="380781371" sldId="419"/>
            <ac:spMk id="17" creationId="{BDC8A6CB-F00E-F93D-737E-1C1FD241D494}"/>
          </ac:spMkLst>
        </pc:spChg>
        <pc:spChg chg="mod">
          <ac:chgData name="Nina Steger" userId="efda762e-901d-408b-befd-9a071afe5357" providerId="ADAL" clId="{B1430754-EA55-E948-8BC0-1EE9C8470C1A}" dt="2025-02-01T13:16:45.935" v="306" actId="120"/>
          <ac:spMkLst>
            <pc:docMk/>
            <pc:sldMk cId="380781371" sldId="419"/>
            <ac:spMk id="34" creationId="{7C7A7413-0363-407D-0AE3-A223F52C4D2F}"/>
          </ac:spMkLst>
        </pc:spChg>
      </pc:sldChg>
      <pc:sldChg chg="modSp mod">
        <pc:chgData name="Nina Steger" userId="efda762e-901d-408b-befd-9a071afe5357" providerId="ADAL" clId="{B1430754-EA55-E948-8BC0-1EE9C8470C1A}" dt="2025-02-01T13:12:08.856" v="236"/>
        <pc:sldMkLst>
          <pc:docMk/>
          <pc:sldMk cId="4205909830" sldId="421"/>
        </pc:sldMkLst>
        <pc:spChg chg="mod">
          <ac:chgData name="Nina Steger" userId="efda762e-901d-408b-befd-9a071afe5357" providerId="ADAL" clId="{B1430754-EA55-E948-8BC0-1EE9C8470C1A}" dt="2025-02-01T13:12:08.856" v="236"/>
          <ac:spMkLst>
            <pc:docMk/>
            <pc:sldMk cId="4205909830" sldId="421"/>
            <ac:spMk id="21" creationId="{8EF1CBC8-C5B4-938F-2E0A-921052B59EAA}"/>
          </ac:spMkLst>
        </pc:spChg>
      </pc:sldChg>
      <pc:sldChg chg="modSp mod">
        <pc:chgData name="Nina Steger" userId="efda762e-901d-408b-befd-9a071afe5357" providerId="ADAL" clId="{B1430754-EA55-E948-8BC0-1EE9C8470C1A}" dt="2025-02-01T13:16:25.471" v="303" actId="207"/>
        <pc:sldMkLst>
          <pc:docMk/>
          <pc:sldMk cId="2184080923" sldId="422"/>
        </pc:sldMkLst>
        <pc:spChg chg="mod">
          <ac:chgData name="Nina Steger" userId="efda762e-901d-408b-befd-9a071afe5357" providerId="ADAL" clId="{B1430754-EA55-E948-8BC0-1EE9C8470C1A}" dt="2025-02-01T13:16:25.471" v="303" actId="207"/>
          <ac:spMkLst>
            <pc:docMk/>
            <pc:sldMk cId="2184080923" sldId="422"/>
            <ac:spMk id="40" creationId="{EE128098-A389-2D1E-19EA-67D8BBB9CCA6}"/>
          </ac:spMkLst>
        </pc:spChg>
      </pc:sldChg>
      <pc:sldChg chg="modSp mod">
        <pc:chgData name="Nina Steger" userId="efda762e-901d-408b-befd-9a071afe5357" providerId="ADAL" clId="{B1430754-EA55-E948-8BC0-1EE9C8470C1A}" dt="2025-02-01T16:06:39.078" v="328"/>
        <pc:sldMkLst>
          <pc:docMk/>
          <pc:sldMk cId="2492418948" sldId="431"/>
        </pc:sldMkLst>
        <pc:spChg chg="mod">
          <ac:chgData name="Nina Steger" userId="efda762e-901d-408b-befd-9a071afe5357" providerId="ADAL" clId="{B1430754-EA55-E948-8BC0-1EE9C8470C1A}" dt="2025-02-01T16:06:10.576" v="327" actId="20577"/>
          <ac:spMkLst>
            <pc:docMk/>
            <pc:sldMk cId="2492418948" sldId="431"/>
            <ac:spMk id="8" creationId="{CE749D75-BB64-EA3F-4A37-8B6B98B5B366}"/>
          </ac:spMkLst>
        </pc:spChg>
        <pc:spChg chg="mod">
          <ac:chgData name="Nina Steger" userId="efda762e-901d-408b-befd-9a071afe5357" providerId="ADAL" clId="{B1430754-EA55-E948-8BC0-1EE9C8470C1A}" dt="2025-02-01T16:06:39.078" v="328"/>
          <ac:spMkLst>
            <pc:docMk/>
            <pc:sldMk cId="2492418948" sldId="431"/>
            <ac:spMk id="30" creationId="{A8420004-1790-CD47-B95D-EB7AF963E833}"/>
          </ac:spMkLst>
        </pc:spChg>
      </pc:sldChg>
      <pc:sldChg chg="modSp mod">
        <pc:chgData name="Nina Steger" userId="efda762e-901d-408b-befd-9a071afe5357" providerId="ADAL" clId="{B1430754-EA55-E948-8BC0-1EE9C8470C1A}" dt="2025-02-01T16:09:12.030" v="331"/>
        <pc:sldMkLst>
          <pc:docMk/>
          <pc:sldMk cId="1100900693" sldId="432"/>
        </pc:sldMkLst>
        <pc:spChg chg="mod">
          <ac:chgData name="Nina Steger" userId="efda762e-901d-408b-befd-9a071afe5357" providerId="ADAL" clId="{B1430754-EA55-E948-8BC0-1EE9C8470C1A}" dt="2025-02-01T16:09:12.030" v="331"/>
          <ac:spMkLst>
            <pc:docMk/>
            <pc:sldMk cId="1100900693" sldId="432"/>
            <ac:spMk id="25" creationId="{817BB6A0-0639-AAA9-B660-032968B2E89E}"/>
          </ac:spMkLst>
        </pc:spChg>
      </pc:sldChg>
      <pc:sldChg chg="modSp mod">
        <pc:chgData name="Nina Steger" userId="efda762e-901d-408b-befd-9a071afe5357" providerId="ADAL" clId="{B1430754-EA55-E948-8BC0-1EE9C8470C1A}" dt="2025-02-01T16:25:35.550" v="354" actId="20577"/>
        <pc:sldMkLst>
          <pc:docMk/>
          <pc:sldMk cId="3629467396" sldId="433"/>
        </pc:sldMkLst>
        <pc:spChg chg="mod">
          <ac:chgData name="Nina Steger" userId="efda762e-901d-408b-befd-9a071afe5357" providerId="ADAL" clId="{B1430754-EA55-E948-8BC0-1EE9C8470C1A}" dt="2025-02-01T16:25:35.550" v="354" actId="20577"/>
          <ac:spMkLst>
            <pc:docMk/>
            <pc:sldMk cId="3629467396" sldId="433"/>
            <ac:spMk id="25" creationId="{3258169D-FE3D-0FEC-D9C6-ED907D82A6FD}"/>
          </ac:spMkLst>
        </pc:spChg>
      </pc:sldChg>
      <pc:sldChg chg="modSp mod">
        <pc:chgData name="Nina Steger" userId="efda762e-901d-408b-befd-9a071afe5357" providerId="ADAL" clId="{B1430754-EA55-E948-8BC0-1EE9C8470C1A}" dt="2025-02-01T16:43:26.972" v="441" actId="179"/>
        <pc:sldMkLst>
          <pc:docMk/>
          <pc:sldMk cId="2283035292" sldId="439"/>
        </pc:sldMkLst>
        <pc:spChg chg="mod">
          <ac:chgData name="Nina Steger" userId="efda762e-901d-408b-befd-9a071afe5357" providerId="ADAL" clId="{B1430754-EA55-E948-8BC0-1EE9C8470C1A}" dt="2025-02-01T16:43:26.972" v="441" actId="179"/>
          <ac:spMkLst>
            <pc:docMk/>
            <pc:sldMk cId="2283035292" sldId="439"/>
            <ac:spMk id="21" creationId="{947682F6-087A-D022-9662-9405CB44E2AF}"/>
          </ac:spMkLst>
        </pc:spChg>
      </pc:sldChg>
      <pc:sldChg chg="modSp mod">
        <pc:chgData name="Nina Steger" userId="efda762e-901d-408b-befd-9a071afe5357" providerId="ADAL" clId="{B1430754-EA55-E948-8BC0-1EE9C8470C1A}" dt="2025-02-01T12:50:05.839" v="161" actId="20577"/>
        <pc:sldMkLst>
          <pc:docMk/>
          <pc:sldMk cId="1009469891" sldId="440"/>
        </pc:sldMkLst>
        <pc:spChg chg="mod">
          <ac:chgData name="Nina Steger" userId="efda762e-901d-408b-befd-9a071afe5357" providerId="ADAL" clId="{B1430754-EA55-E948-8BC0-1EE9C8470C1A}" dt="2025-02-01T12:50:05.839" v="161" actId="20577"/>
          <ac:spMkLst>
            <pc:docMk/>
            <pc:sldMk cId="1009469891" sldId="440"/>
            <ac:spMk id="9" creationId="{B6B497AA-972B-9F4E-E175-1E7500A7D45E}"/>
          </ac:spMkLst>
        </pc:spChg>
      </pc:sldChg>
      <pc:sldChg chg="modSp mod">
        <pc:chgData name="Nina Steger" userId="efda762e-901d-408b-befd-9a071afe5357" providerId="ADAL" clId="{B1430754-EA55-E948-8BC0-1EE9C8470C1A}" dt="2025-02-01T12:39:20.019" v="134" actId="20577"/>
        <pc:sldMkLst>
          <pc:docMk/>
          <pc:sldMk cId="3703175277" sldId="441"/>
        </pc:sldMkLst>
        <pc:spChg chg="mod">
          <ac:chgData name="Nina Steger" userId="efda762e-901d-408b-befd-9a071afe5357" providerId="ADAL" clId="{B1430754-EA55-E948-8BC0-1EE9C8470C1A}" dt="2025-02-01T12:39:20.019" v="134" actId="20577"/>
          <ac:spMkLst>
            <pc:docMk/>
            <pc:sldMk cId="3703175277" sldId="441"/>
            <ac:spMk id="7" creationId="{07040397-228E-6D70-AECA-AD5770BA7339}"/>
          </ac:spMkLst>
        </pc:spChg>
        <pc:spChg chg="mod">
          <ac:chgData name="Nina Steger" userId="efda762e-901d-408b-befd-9a071afe5357" providerId="ADAL" clId="{B1430754-EA55-E948-8BC0-1EE9C8470C1A}" dt="2025-02-01T12:39:01.863" v="131" actId="20577"/>
          <ac:spMkLst>
            <pc:docMk/>
            <pc:sldMk cId="3703175277" sldId="441"/>
            <ac:spMk id="45" creationId="{69797BFC-036B-2843-CD72-D59C41514EC4}"/>
          </ac:spMkLst>
        </pc:spChg>
      </pc:sldChg>
      <pc:sldChg chg="modSp mod">
        <pc:chgData name="Nina Steger" userId="efda762e-901d-408b-befd-9a071afe5357" providerId="ADAL" clId="{B1430754-EA55-E948-8BC0-1EE9C8470C1A}" dt="2025-02-01T16:46:08.502" v="455" actId="404"/>
        <pc:sldMkLst>
          <pc:docMk/>
          <pc:sldMk cId="2161542675" sldId="443"/>
        </pc:sldMkLst>
        <pc:spChg chg="mod">
          <ac:chgData name="Nina Steger" userId="efda762e-901d-408b-befd-9a071afe5357" providerId="ADAL" clId="{B1430754-EA55-E948-8BC0-1EE9C8470C1A}" dt="2025-02-01T16:45:14.981" v="444" actId="1076"/>
          <ac:spMkLst>
            <pc:docMk/>
            <pc:sldMk cId="2161542675" sldId="443"/>
            <ac:spMk id="8" creationId="{05F98F18-E122-0D7D-F115-4F947744DAF8}"/>
          </ac:spMkLst>
        </pc:spChg>
        <pc:spChg chg="mod">
          <ac:chgData name="Nina Steger" userId="efda762e-901d-408b-befd-9a071afe5357" providerId="ADAL" clId="{B1430754-EA55-E948-8BC0-1EE9C8470C1A}" dt="2025-02-01T16:45:53.619" v="452" actId="404"/>
          <ac:spMkLst>
            <pc:docMk/>
            <pc:sldMk cId="2161542675" sldId="443"/>
            <ac:spMk id="10" creationId="{D3DCE5C9-309C-EB72-77C5-9F9F7226E956}"/>
          </ac:spMkLst>
        </pc:spChg>
        <pc:spChg chg="mod">
          <ac:chgData name="Nina Steger" userId="efda762e-901d-408b-befd-9a071afe5357" providerId="ADAL" clId="{B1430754-EA55-E948-8BC0-1EE9C8470C1A}" dt="2025-02-01T16:45:32.299" v="447" actId="404"/>
          <ac:spMkLst>
            <pc:docMk/>
            <pc:sldMk cId="2161542675" sldId="443"/>
            <ac:spMk id="11" creationId="{15105156-EA42-4204-7CEA-2C34DDC9F965}"/>
          </ac:spMkLst>
        </pc:spChg>
        <pc:spChg chg="mod">
          <ac:chgData name="Nina Steger" userId="efda762e-901d-408b-befd-9a071afe5357" providerId="ADAL" clId="{B1430754-EA55-E948-8BC0-1EE9C8470C1A}" dt="2025-02-01T16:45:40.512" v="449" actId="404"/>
          <ac:spMkLst>
            <pc:docMk/>
            <pc:sldMk cId="2161542675" sldId="443"/>
            <ac:spMk id="12" creationId="{4365DAFF-7F0A-59DA-3DB5-ACA5E40F77D3}"/>
          </ac:spMkLst>
        </pc:spChg>
        <pc:spChg chg="mod">
          <ac:chgData name="Nina Steger" userId="efda762e-901d-408b-befd-9a071afe5357" providerId="ADAL" clId="{B1430754-EA55-E948-8BC0-1EE9C8470C1A}" dt="2025-02-01T16:45:45.586" v="450" actId="404"/>
          <ac:spMkLst>
            <pc:docMk/>
            <pc:sldMk cId="2161542675" sldId="443"/>
            <ac:spMk id="16" creationId="{35575719-D2CF-61D5-E851-E011B87C7DE9}"/>
          </ac:spMkLst>
        </pc:spChg>
        <pc:spChg chg="mod">
          <ac:chgData name="Nina Steger" userId="efda762e-901d-408b-befd-9a071afe5357" providerId="ADAL" clId="{B1430754-EA55-E948-8BC0-1EE9C8470C1A}" dt="2025-02-01T16:45:36.768" v="448" actId="404"/>
          <ac:spMkLst>
            <pc:docMk/>
            <pc:sldMk cId="2161542675" sldId="443"/>
            <ac:spMk id="17" creationId="{06BCB1F9-9216-DDAA-B85B-080B098309C0}"/>
          </ac:spMkLst>
        </pc:spChg>
        <pc:spChg chg="mod">
          <ac:chgData name="Nina Steger" userId="efda762e-901d-408b-befd-9a071afe5357" providerId="ADAL" clId="{B1430754-EA55-E948-8BC0-1EE9C8470C1A}" dt="2025-02-01T16:45:50.601" v="451" actId="404"/>
          <ac:spMkLst>
            <pc:docMk/>
            <pc:sldMk cId="2161542675" sldId="443"/>
            <ac:spMk id="19" creationId="{E5323FBE-D6B8-546D-A78E-764727B6D58A}"/>
          </ac:spMkLst>
        </pc:spChg>
        <pc:spChg chg="mod">
          <ac:chgData name="Nina Steger" userId="efda762e-901d-408b-befd-9a071afe5357" providerId="ADAL" clId="{B1430754-EA55-E948-8BC0-1EE9C8470C1A}" dt="2025-02-01T16:45:25.832" v="446" actId="1076"/>
          <ac:spMkLst>
            <pc:docMk/>
            <pc:sldMk cId="2161542675" sldId="443"/>
            <ac:spMk id="32" creationId="{734D938D-F272-CA10-147D-DE3A60800377}"/>
          </ac:spMkLst>
        </pc:spChg>
        <pc:spChg chg="mod">
          <ac:chgData name="Nina Steger" userId="efda762e-901d-408b-befd-9a071afe5357" providerId="ADAL" clId="{B1430754-EA55-E948-8BC0-1EE9C8470C1A}" dt="2025-02-01T16:45:57.735" v="453" actId="404"/>
          <ac:spMkLst>
            <pc:docMk/>
            <pc:sldMk cId="2161542675" sldId="443"/>
            <ac:spMk id="40" creationId="{4E6D9957-4097-7A69-2FB5-866BD7458012}"/>
          </ac:spMkLst>
        </pc:spChg>
        <pc:spChg chg="mod">
          <ac:chgData name="Nina Steger" userId="efda762e-901d-408b-befd-9a071afe5357" providerId="ADAL" clId="{B1430754-EA55-E948-8BC0-1EE9C8470C1A}" dt="2025-02-01T16:46:01.584" v="454" actId="404"/>
          <ac:spMkLst>
            <pc:docMk/>
            <pc:sldMk cId="2161542675" sldId="443"/>
            <ac:spMk id="44" creationId="{28641160-0E33-2B23-29D4-77AE5F363B3B}"/>
          </ac:spMkLst>
        </pc:spChg>
        <pc:spChg chg="mod">
          <ac:chgData name="Nina Steger" userId="efda762e-901d-408b-befd-9a071afe5357" providerId="ADAL" clId="{B1430754-EA55-E948-8BC0-1EE9C8470C1A}" dt="2025-02-01T16:46:08.502" v="455" actId="404"/>
          <ac:spMkLst>
            <pc:docMk/>
            <pc:sldMk cId="2161542675" sldId="443"/>
            <ac:spMk id="50" creationId="{16A49EC7-8ED2-8493-61B8-FDA4A81843C5}"/>
          </ac:spMkLst>
        </pc:spChg>
        <pc:cxnChg chg="mod">
          <ac:chgData name="Nina Steger" userId="efda762e-901d-408b-befd-9a071afe5357" providerId="ADAL" clId="{B1430754-EA55-E948-8BC0-1EE9C8470C1A}" dt="2025-02-01T16:45:53.619" v="452" actId="404"/>
          <ac:cxnSpMkLst>
            <pc:docMk/>
            <pc:sldMk cId="2161542675" sldId="443"/>
            <ac:cxnSpMk id="5" creationId="{E5329174-AC25-9D2F-5612-75B5A28BC1C2}"/>
          </ac:cxnSpMkLst>
        </pc:cxnChg>
        <pc:cxnChg chg="mod">
          <ac:chgData name="Nina Steger" userId="efda762e-901d-408b-befd-9a071afe5357" providerId="ADAL" clId="{B1430754-EA55-E948-8BC0-1EE9C8470C1A}" dt="2025-02-01T16:45:32.299" v="447" actId="404"/>
          <ac:cxnSpMkLst>
            <pc:docMk/>
            <pc:sldMk cId="2161542675" sldId="443"/>
            <ac:cxnSpMk id="13" creationId="{C989B777-85BE-89BC-BAC0-E2ED8FDACA6A}"/>
          </ac:cxnSpMkLst>
        </pc:cxnChg>
        <pc:cxnChg chg="mod">
          <ac:chgData name="Nina Steger" userId="efda762e-901d-408b-befd-9a071afe5357" providerId="ADAL" clId="{B1430754-EA55-E948-8BC0-1EE9C8470C1A}" dt="2025-02-01T16:45:36.768" v="448" actId="404"/>
          <ac:cxnSpMkLst>
            <pc:docMk/>
            <pc:sldMk cId="2161542675" sldId="443"/>
            <ac:cxnSpMk id="14" creationId="{21E7AA92-D03B-CD29-C2DB-1BA4A448FFA5}"/>
          </ac:cxnSpMkLst>
        </pc:cxnChg>
        <pc:cxnChg chg="mod">
          <ac:chgData name="Nina Steger" userId="efda762e-901d-408b-befd-9a071afe5357" providerId="ADAL" clId="{B1430754-EA55-E948-8BC0-1EE9C8470C1A}" dt="2025-02-01T16:45:45.586" v="450" actId="404"/>
          <ac:cxnSpMkLst>
            <pc:docMk/>
            <pc:sldMk cId="2161542675" sldId="443"/>
            <ac:cxnSpMk id="15" creationId="{F134E2CA-A90D-40C8-A794-EA41F0EE2542}"/>
          </ac:cxnSpMkLst>
        </pc:cxnChg>
        <pc:cxnChg chg="mod">
          <ac:chgData name="Nina Steger" userId="efda762e-901d-408b-befd-9a071afe5357" providerId="ADAL" clId="{B1430754-EA55-E948-8BC0-1EE9C8470C1A}" dt="2025-02-01T16:45:40.512" v="449" actId="404"/>
          <ac:cxnSpMkLst>
            <pc:docMk/>
            <pc:sldMk cId="2161542675" sldId="443"/>
            <ac:cxnSpMk id="18" creationId="{56E07693-FC01-2BF3-D345-A92FD5842606}"/>
          </ac:cxnSpMkLst>
        </pc:cxnChg>
        <pc:cxnChg chg="mod">
          <ac:chgData name="Nina Steger" userId="efda762e-901d-408b-befd-9a071afe5357" providerId="ADAL" clId="{B1430754-EA55-E948-8BC0-1EE9C8470C1A}" dt="2025-02-01T16:45:50.601" v="451" actId="404"/>
          <ac:cxnSpMkLst>
            <pc:docMk/>
            <pc:sldMk cId="2161542675" sldId="443"/>
            <ac:cxnSpMk id="20" creationId="{4DA86BB1-2E39-F0AE-78D3-448D2B83EE74}"/>
          </ac:cxnSpMkLst>
        </pc:cxnChg>
        <pc:cxnChg chg="mod">
          <ac:chgData name="Nina Steger" userId="efda762e-901d-408b-befd-9a071afe5357" providerId="ADAL" clId="{B1430754-EA55-E948-8BC0-1EE9C8470C1A}" dt="2025-02-01T16:45:57.735" v="453" actId="404"/>
          <ac:cxnSpMkLst>
            <pc:docMk/>
            <pc:sldMk cId="2161542675" sldId="443"/>
            <ac:cxnSpMk id="41" creationId="{9756E366-3231-05FA-73B2-1B930B79D8DA}"/>
          </ac:cxnSpMkLst>
        </pc:cxnChg>
        <pc:cxnChg chg="mod">
          <ac:chgData name="Nina Steger" userId="efda762e-901d-408b-befd-9a071afe5357" providerId="ADAL" clId="{B1430754-EA55-E948-8BC0-1EE9C8470C1A}" dt="2025-02-01T16:46:01.584" v="454" actId="404"/>
          <ac:cxnSpMkLst>
            <pc:docMk/>
            <pc:sldMk cId="2161542675" sldId="443"/>
            <ac:cxnSpMk id="45" creationId="{82ECCD0D-DF02-111E-4657-E1D264A1D881}"/>
          </ac:cxnSpMkLst>
        </pc:cxnChg>
      </pc:sldChg>
      <pc:sldChg chg="modSp mod">
        <pc:chgData name="Nina Steger" userId="efda762e-901d-408b-befd-9a071afe5357" providerId="ADAL" clId="{B1430754-EA55-E948-8BC0-1EE9C8470C1A}" dt="2025-02-01T16:47:32.095" v="457" actId="12"/>
        <pc:sldMkLst>
          <pc:docMk/>
          <pc:sldMk cId="1246978811" sldId="445"/>
        </pc:sldMkLst>
        <pc:spChg chg="mod">
          <ac:chgData name="Nina Steger" userId="efda762e-901d-408b-befd-9a071afe5357" providerId="ADAL" clId="{B1430754-EA55-E948-8BC0-1EE9C8470C1A}" dt="2025-02-01T13:10:09.036" v="218" actId="20577"/>
          <ac:spMkLst>
            <pc:docMk/>
            <pc:sldMk cId="1246978811" sldId="445"/>
            <ac:spMk id="7" creationId="{07040397-228E-6D70-AECA-AD5770BA7339}"/>
          </ac:spMkLst>
        </pc:spChg>
        <pc:spChg chg="mod">
          <ac:chgData name="Nina Steger" userId="efda762e-901d-408b-befd-9a071afe5357" providerId="ADAL" clId="{B1430754-EA55-E948-8BC0-1EE9C8470C1A}" dt="2025-02-01T16:47:32.095" v="457" actId="12"/>
          <ac:spMkLst>
            <pc:docMk/>
            <pc:sldMk cId="1246978811" sldId="445"/>
            <ac:spMk id="34" creationId="{FB0BB605-A574-39B7-D8B3-E5286C3B21FF}"/>
          </ac:spMkLst>
        </pc:spChg>
      </pc:sldChg>
      <pc:sldChg chg="modSp mod">
        <pc:chgData name="Nina Steger" userId="efda762e-901d-408b-befd-9a071afe5357" providerId="ADAL" clId="{B1430754-EA55-E948-8BC0-1EE9C8470C1A}" dt="2025-02-01T13:11:09.647" v="233" actId="20577"/>
        <pc:sldMkLst>
          <pc:docMk/>
          <pc:sldMk cId="2173768082" sldId="446"/>
        </pc:sldMkLst>
        <pc:spChg chg="mod">
          <ac:chgData name="Nina Steger" userId="efda762e-901d-408b-befd-9a071afe5357" providerId="ADAL" clId="{B1430754-EA55-E948-8BC0-1EE9C8470C1A}" dt="2025-02-01T13:11:09.647" v="233" actId="20577"/>
          <ac:spMkLst>
            <pc:docMk/>
            <pc:sldMk cId="2173768082" sldId="446"/>
            <ac:spMk id="12" creationId="{D5C3C06F-FDAE-D38B-F384-875235F6AE3F}"/>
          </ac:spMkLst>
        </pc:spChg>
      </pc:sldChg>
      <pc:sldChg chg="delSp modSp mod">
        <pc:chgData name="Nina Steger" userId="efda762e-901d-408b-befd-9a071afe5357" providerId="ADAL" clId="{B1430754-EA55-E948-8BC0-1EE9C8470C1A}" dt="2025-02-01T13:14:33.318" v="254" actId="478"/>
        <pc:sldMkLst>
          <pc:docMk/>
          <pc:sldMk cId="1795976439" sldId="447"/>
        </pc:sldMkLst>
        <pc:spChg chg="mod">
          <ac:chgData name="Nina Steger" userId="efda762e-901d-408b-befd-9a071afe5357" providerId="ADAL" clId="{B1430754-EA55-E948-8BC0-1EE9C8470C1A}" dt="2025-02-01T13:13:17.289" v="248" actId="20577"/>
          <ac:spMkLst>
            <pc:docMk/>
            <pc:sldMk cId="1795976439" sldId="447"/>
            <ac:spMk id="7" creationId="{07040397-228E-6D70-AECA-AD5770BA7339}"/>
          </ac:spMkLst>
        </pc:spChg>
        <pc:spChg chg="mod">
          <ac:chgData name="Nina Steger" userId="efda762e-901d-408b-befd-9a071afe5357" providerId="ADAL" clId="{B1430754-EA55-E948-8BC0-1EE9C8470C1A}" dt="2025-02-01T13:12:29.237" v="239" actId="14100"/>
          <ac:spMkLst>
            <pc:docMk/>
            <pc:sldMk cId="1795976439" sldId="447"/>
            <ac:spMk id="22" creationId="{495D73BF-1B0D-CA60-EBA2-1EF73218FA51}"/>
          </ac:spMkLst>
        </pc:spChg>
        <pc:spChg chg="mod">
          <ac:chgData name="Nina Steger" userId="efda762e-901d-408b-befd-9a071afe5357" providerId="ADAL" clId="{B1430754-EA55-E948-8BC0-1EE9C8470C1A}" dt="2025-02-01T13:14:09.096" v="251" actId="1076"/>
          <ac:spMkLst>
            <pc:docMk/>
            <pc:sldMk cId="1795976439" sldId="447"/>
            <ac:spMk id="30" creationId="{1EA168AD-D855-0491-A5FC-14C7D9AEBF5A}"/>
          </ac:spMkLst>
        </pc:spChg>
        <pc:spChg chg="mod">
          <ac:chgData name="Nina Steger" userId="efda762e-901d-408b-befd-9a071afe5357" providerId="ADAL" clId="{B1430754-EA55-E948-8BC0-1EE9C8470C1A}" dt="2025-02-01T13:14:31.096" v="253" actId="14100"/>
          <ac:spMkLst>
            <pc:docMk/>
            <pc:sldMk cId="1795976439" sldId="447"/>
            <ac:spMk id="32" creationId="{2CE4547D-2AFC-783C-EB1E-9EE25F775F14}"/>
          </ac:spMkLst>
        </pc:spChg>
        <pc:spChg chg="del">
          <ac:chgData name="Nina Steger" userId="efda762e-901d-408b-befd-9a071afe5357" providerId="ADAL" clId="{B1430754-EA55-E948-8BC0-1EE9C8470C1A}" dt="2025-02-01T13:14:33.318" v="254" actId="478"/>
          <ac:spMkLst>
            <pc:docMk/>
            <pc:sldMk cId="1795976439" sldId="447"/>
            <ac:spMk id="33" creationId="{A216D612-5A8F-E3D2-4413-C4BC47F4E730}"/>
          </ac:spMkLst>
        </pc:spChg>
      </pc:sldChg>
      <pc:sldChg chg="modSp mod">
        <pc:chgData name="Nina Steger" userId="efda762e-901d-408b-befd-9a071afe5357" providerId="ADAL" clId="{B1430754-EA55-E948-8BC0-1EE9C8470C1A}" dt="2025-02-01T13:15:34.065" v="264"/>
        <pc:sldMkLst>
          <pc:docMk/>
          <pc:sldMk cId="40871408" sldId="449"/>
        </pc:sldMkLst>
        <pc:spChg chg="mod">
          <ac:chgData name="Nina Steger" userId="efda762e-901d-408b-befd-9a071afe5357" providerId="ADAL" clId="{B1430754-EA55-E948-8BC0-1EE9C8470C1A}" dt="2025-02-01T13:14:58.973" v="255"/>
          <ac:spMkLst>
            <pc:docMk/>
            <pc:sldMk cId="40871408" sldId="449"/>
            <ac:spMk id="11" creationId="{79124305-4F1A-1BED-8787-CFE159A3F73A}"/>
          </ac:spMkLst>
        </pc:spChg>
        <pc:spChg chg="mod">
          <ac:chgData name="Nina Steger" userId="efda762e-901d-408b-befd-9a071afe5357" providerId="ADAL" clId="{B1430754-EA55-E948-8BC0-1EE9C8470C1A}" dt="2025-02-01T13:15:10.280" v="263" actId="20577"/>
          <ac:spMkLst>
            <pc:docMk/>
            <pc:sldMk cId="40871408" sldId="449"/>
            <ac:spMk id="26" creationId="{17AB6FE6-2BBE-86A6-FA1A-CA71AED0ED99}"/>
          </ac:spMkLst>
        </pc:spChg>
        <pc:spChg chg="mod">
          <ac:chgData name="Nina Steger" userId="efda762e-901d-408b-befd-9a071afe5357" providerId="ADAL" clId="{B1430754-EA55-E948-8BC0-1EE9C8470C1A}" dt="2025-02-01T13:15:34.065" v="264"/>
          <ac:spMkLst>
            <pc:docMk/>
            <pc:sldMk cId="40871408" sldId="449"/>
            <ac:spMk id="38" creationId="{922104CE-9575-3B24-2116-EBD5827CD0F2}"/>
          </ac:spMkLst>
        </pc:spChg>
      </pc:sldChg>
      <pc:sldChg chg="delSp modSp mod">
        <pc:chgData name="Nina Steger" userId="efda762e-901d-408b-befd-9a071afe5357" providerId="ADAL" clId="{B1430754-EA55-E948-8BC0-1EE9C8470C1A}" dt="2025-02-01T16:24:27.125" v="348" actId="478"/>
        <pc:sldMkLst>
          <pc:docMk/>
          <pc:sldMk cId="1212062671" sldId="452"/>
        </pc:sldMkLst>
        <pc:spChg chg="del">
          <ac:chgData name="Nina Steger" userId="efda762e-901d-408b-befd-9a071afe5357" providerId="ADAL" clId="{B1430754-EA55-E948-8BC0-1EE9C8470C1A}" dt="2025-02-01T16:24:27.125" v="348" actId="478"/>
          <ac:spMkLst>
            <pc:docMk/>
            <pc:sldMk cId="1212062671" sldId="452"/>
            <ac:spMk id="9" creationId="{E2076EC5-B95A-E808-4C3E-ADD9906DDE33}"/>
          </ac:spMkLst>
        </pc:spChg>
        <pc:spChg chg="mod">
          <ac:chgData name="Nina Steger" userId="efda762e-901d-408b-befd-9a071afe5357" providerId="ADAL" clId="{B1430754-EA55-E948-8BC0-1EE9C8470C1A}" dt="2025-02-01T16:23:48.548" v="346" actId="20577"/>
          <ac:spMkLst>
            <pc:docMk/>
            <pc:sldMk cId="1212062671" sldId="452"/>
            <ac:spMk id="15" creationId="{B8BC3293-6A76-F266-CE7E-37A486215AAE}"/>
          </ac:spMkLst>
        </pc:spChg>
        <pc:graphicFrameChg chg="modGraphic">
          <ac:chgData name="Nina Steger" userId="efda762e-901d-408b-befd-9a071afe5357" providerId="ADAL" clId="{B1430754-EA55-E948-8BC0-1EE9C8470C1A}" dt="2025-02-01T16:24:24.530" v="347" actId="20577"/>
          <ac:graphicFrameMkLst>
            <pc:docMk/>
            <pc:sldMk cId="1212062671" sldId="452"/>
            <ac:graphicFrameMk id="8" creationId="{BEBB5852-0A17-66C6-DB5F-A40DDC499642}"/>
          </ac:graphicFrameMkLst>
        </pc:graphicFrameChg>
      </pc:sldChg>
      <pc:sldChg chg="delSp modSp mod">
        <pc:chgData name="Nina Steger" userId="efda762e-901d-408b-befd-9a071afe5357" providerId="ADAL" clId="{B1430754-EA55-E948-8BC0-1EE9C8470C1A}" dt="2025-02-01T13:19:10.859" v="312"/>
        <pc:sldMkLst>
          <pc:docMk/>
          <pc:sldMk cId="2609831934" sldId="454"/>
        </pc:sldMkLst>
        <pc:spChg chg="del">
          <ac:chgData name="Nina Steger" userId="efda762e-901d-408b-befd-9a071afe5357" providerId="ADAL" clId="{B1430754-EA55-E948-8BC0-1EE9C8470C1A}" dt="2025-02-01T13:18:39.806" v="311" actId="478"/>
          <ac:spMkLst>
            <pc:docMk/>
            <pc:sldMk cId="2609831934" sldId="454"/>
            <ac:spMk id="9" creationId="{F34EEF86-794E-A868-167D-7D5C931562A5}"/>
          </ac:spMkLst>
        </pc:spChg>
        <pc:spChg chg="mod">
          <ac:chgData name="Nina Steger" userId="efda762e-901d-408b-befd-9a071afe5357" providerId="ADAL" clId="{B1430754-EA55-E948-8BC0-1EE9C8470C1A}" dt="2025-02-01T13:19:10.859" v="312"/>
          <ac:spMkLst>
            <pc:docMk/>
            <pc:sldMk cId="2609831934" sldId="454"/>
            <ac:spMk id="23" creationId="{B85A4E80-DE93-B2CC-10CA-0E4188407868}"/>
          </ac:spMkLst>
        </pc:spChg>
      </pc:sldChg>
      <pc:sldChg chg="modSp mod">
        <pc:chgData name="Nina Steger" userId="efda762e-901d-408b-befd-9a071afe5357" providerId="ADAL" clId="{B1430754-EA55-E948-8BC0-1EE9C8470C1A}" dt="2025-02-01T13:20:05.670" v="316" actId="20577"/>
        <pc:sldMkLst>
          <pc:docMk/>
          <pc:sldMk cId="4294162477" sldId="458"/>
        </pc:sldMkLst>
        <pc:spChg chg="mod">
          <ac:chgData name="Nina Steger" userId="efda762e-901d-408b-befd-9a071afe5357" providerId="ADAL" clId="{B1430754-EA55-E948-8BC0-1EE9C8470C1A}" dt="2025-02-01T13:20:05.670" v="316" actId="20577"/>
          <ac:spMkLst>
            <pc:docMk/>
            <pc:sldMk cId="4294162477" sldId="458"/>
            <ac:spMk id="13" creationId="{10516AA5-604C-8BFA-B64B-F730EC10DB07}"/>
          </ac:spMkLst>
        </pc:spChg>
      </pc:sldChg>
      <pc:sldChg chg="modSp mod">
        <pc:chgData name="Nina Steger" userId="efda762e-901d-408b-befd-9a071afe5357" providerId="ADAL" clId="{B1430754-EA55-E948-8BC0-1EE9C8470C1A}" dt="2025-02-01T13:18:17.414" v="310" actId="20577"/>
        <pc:sldMkLst>
          <pc:docMk/>
          <pc:sldMk cId="3515044065" sldId="462"/>
        </pc:sldMkLst>
        <pc:spChg chg="mod">
          <ac:chgData name="Nina Steger" userId="efda762e-901d-408b-befd-9a071afe5357" providerId="ADAL" clId="{B1430754-EA55-E948-8BC0-1EE9C8470C1A}" dt="2025-02-01T13:18:17.414" v="310" actId="20577"/>
          <ac:spMkLst>
            <pc:docMk/>
            <pc:sldMk cId="3515044065" sldId="462"/>
            <ac:spMk id="7" creationId="{B0D6E95B-706B-1A76-F93F-A6276D641BE9}"/>
          </ac:spMkLst>
        </pc:spChg>
      </pc:sldChg>
      <pc:sldChg chg="modSp mod">
        <pc:chgData name="Nina Steger" userId="efda762e-901d-408b-befd-9a071afe5357" providerId="ADAL" clId="{B1430754-EA55-E948-8BC0-1EE9C8470C1A}" dt="2025-02-01T16:48:22.263" v="458" actId="12"/>
        <pc:sldMkLst>
          <pc:docMk/>
          <pc:sldMk cId="3162843186" sldId="464"/>
        </pc:sldMkLst>
        <pc:spChg chg="mod">
          <ac:chgData name="Nina Steger" userId="efda762e-901d-408b-befd-9a071afe5357" providerId="ADAL" clId="{B1430754-EA55-E948-8BC0-1EE9C8470C1A}" dt="2025-02-01T13:19:47.188" v="314" actId="20577"/>
          <ac:spMkLst>
            <pc:docMk/>
            <pc:sldMk cId="3162843186" sldId="464"/>
            <ac:spMk id="2" creationId="{A871690F-6B60-E0E8-A8EE-12AED2DDCC36}"/>
          </ac:spMkLst>
        </pc:spChg>
        <pc:spChg chg="mod">
          <ac:chgData name="Nina Steger" userId="efda762e-901d-408b-befd-9a071afe5357" providerId="ADAL" clId="{B1430754-EA55-E948-8BC0-1EE9C8470C1A}" dt="2025-02-01T16:48:22.263" v="458" actId="12"/>
          <ac:spMkLst>
            <pc:docMk/>
            <pc:sldMk cId="3162843186" sldId="464"/>
            <ac:spMk id="23" creationId="{CD0D7A4B-1BF5-C7E3-3151-89CD5DC14BB4}"/>
          </ac:spMkLst>
        </pc:spChg>
      </pc:sldChg>
      <pc:sldChg chg="modSp mod">
        <pc:chgData name="Nina Steger" userId="efda762e-901d-408b-befd-9a071afe5357" providerId="ADAL" clId="{B1430754-EA55-E948-8BC0-1EE9C8470C1A}" dt="2025-02-01T13:20:45.108" v="318" actId="20577"/>
        <pc:sldMkLst>
          <pc:docMk/>
          <pc:sldMk cId="1069253942" sldId="465"/>
        </pc:sldMkLst>
        <pc:spChg chg="mod">
          <ac:chgData name="Nina Steger" userId="efda762e-901d-408b-befd-9a071afe5357" providerId="ADAL" clId="{B1430754-EA55-E948-8BC0-1EE9C8470C1A}" dt="2025-02-01T13:20:45.108" v="318" actId="20577"/>
          <ac:spMkLst>
            <pc:docMk/>
            <pc:sldMk cId="1069253942" sldId="465"/>
            <ac:spMk id="2" creationId="{0ECB1FBA-6316-6802-E479-7929B2D88870}"/>
          </ac:spMkLst>
        </pc:spChg>
      </pc:sldChg>
      <pc:sldChg chg="modSp mod">
        <pc:chgData name="Nina Steger" userId="efda762e-901d-408b-befd-9a071afe5357" providerId="ADAL" clId="{B1430754-EA55-E948-8BC0-1EE9C8470C1A}" dt="2025-02-01T16:26:13.068" v="382" actId="1076"/>
        <pc:sldMkLst>
          <pc:docMk/>
          <pc:sldMk cId="567736257" sldId="467"/>
        </pc:sldMkLst>
        <pc:spChg chg="mod">
          <ac:chgData name="Nina Steger" userId="efda762e-901d-408b-befd-9a071afe5357" providerId="ADAL" clId="{B1430754-EA55-E948-8BC0-1EE9C8470C1A}" dt="2025-02-01T16:26:13.068" v="382" actId="1076"/>
          <ac:spMkLst>
            <pc:docMk/>
            <pc:sldMk cId="567736257" sldId="467"/>
            <ac:spMk id="28" creationId="{E6D37276-12FF-3343-C611-F811600CB44D}"/>
          </ac:spMkLst>
        </pc:spChg>
      </pc:sldChg>
      <pc:sldChg chg="modSp mod">
        <pc:chgData name="Nina Steger" userId="efda762e-901d-408b-befd-9a071afe5357" providerId="ADAL" clId="{B1430754-EA55-E948-8BC0-1EE9C8470C1A}" dt="2025-02-01T16:28:17.694" v="392" actId="179"/>
        <pc:sldMkLst>
          <pc:docMk/>
          <pc:sldMk cId="1640100988" sldId="468"/>
        </pc:sldMkLst>
        <pc:spChg chg="mod">
          <ac:chgData name="Nina Steger" userId="efda762e-901d-408b-befd-9a071afe5357" providerId="ADAL" clId="{B1430754-EA55-E948-8BC0-1EE9C8470C1A}" dt="2025-02-01T16:28:17.694" v="392" actId="179"/>
          <ac:spMkLst>
            <pc:docMk/>
            <pc:sldMk cId="1640100988" sldId="468"/>
            <ac:spMk id="7" creationId="{F29AAD47-90D2-FB9F-3FBB-1B3CFF1EE008}"/>
          </ac:spMkLst>
        </pc:spChg>
      </pc:sldChg>
      <pc:sldChg chg="modSp mod">
        <pc:chgData name="Nina Steger" userId="efda762e-901d-408b-befd-9a071afe5357" providerId="ADAL" clId="{B1430754-EA55-E948-8BC0-1EE9C8470C1A}" dt="2025-02-01T12:43:46.871" v="151" actId="20577"/>
        <pc:sldMkLst>
          <pc:docMk/>
          <pc:sldMk cId="822356106" sldId="469"/>
        </pc:sldMkLst>
        <pc:spChg chg="mod">
          <ac:chgData name="Nina Steger" userId="efda762e-901d-408b-befd-9a071afe5357" providerId="ADAL" clId="{B1430754-EA55-E948-8BC0-1EE9C8470C1A}" dt="2025-02-01T12:43:46.871" v="151" actId="20577"/>
          <ac:spMkLst>
            <pc:docMk/>
            <pc:sldMk cId="822356106" sldId="469"/>
            <ac:spMk id="7" creationId="{2E9A378D-8DB5-F059-10CF-019382FA312B}"/>
          </ac:spMkLst>
        </pc:spChg>
        <pc:spChg chg="mod">
          <ac:chgData name="Nina Steger" userId="efda762e-901d-408b-befd-9a071afe5357" providerId="ADAL" clId="{B1430754-EA55-E948-8BC0-1EE9C8470C1A}" dt="2025-02-01T12:41:35.423" v="139" actId="20577"/>
          <ac:spMkLst>
            <pc:docMk/>
            <pc:sldMk cId="822356106" sldId="469"/>
            <ac:spMk id="36" creationId="{BFD64908-8205-429E-A6FC-FB938BCAA5EA}"/>
          </ac:spMkLst>
        </pc:spChg>
      </pc:sldChg>
    </pc:docChg>
  </pc:docChgLst>
  <pc:docChgLst>
    <pc:chgData name="Tabea Monz" userId="S::t.monz@tum.de::f46a5392-c507-4495-8454-0a2fbbcf0cda" providerId="AD" clId="Web-{993A73A2-BFA6-6BAC-83FA-95581700A06A}"/>
    <pc:docChg chg="modSld">
      <pc:chgData name="Tabea Monz" userId="S::t.monz@tum.de::f46a5392-c507-4495-8454-0a2fbbcf0cda" providerId="AD" clId="Web-{993A73A2-BFA6-6BAC-83FA-95581700A06A}" dt="2025-01-20T20:17:48.768" v="1" actId="20577"/>
      <pc:docMkLst>
        <pc:docMk/>
      </pc:docMkLst>
      <pc:sldChg chg="modSp">
        <pc:chgData name="Tabea Monz" userId="S::t.monz@tum.de::f46a5392-c507-4495-8454-0a2fbbcf0cda" providerId="AD" clId="Web-{993A73A2-BFA6-6BAC-83FA-95581700A06A}" dt="2025-01-20T20:17:48.768" v="1" actId="20577"/>
        <pc:sldMkLst>
          <pc:docMk/>
          <pc:sldMk cId="2184080923" sldId="422"/>
        </pc:sldMkLst>
      </pc:sldChg>
    </pc:docChg>
  </pc:docChgLst>
  <pc:docChgLst>
    <pc:chgData name="Ömer Taha Sevimli" userId="S::omer.sevimli@tum.de::d68fb2f4-76b1-4cfc-96e6-800a7d956fcb" providerId="AD" clId="Web-{4AB54AF8-6FF7-7410-2296-5F58C1AAE0D7}"/>
    <pc:docChg chg="modSld">
      <pc:chgData name="Ömer Taha Sevimli" userId="S::omer.sevimli@tum.de::d68fb2f4-76b1-4cfc-96e6-800a7d956fcb" providerId="AD" clId="Web-{4AB54AF8-6FF7-7410-2296-5F58C1AAE0D7}" dt="2024-12-16T15:41:35.144" v="117" actId="1076"/>
      <pc:docMkLst>
        <pc:docMk/>
      </pc:docMkLst>
      <pc:sldChg chg="modSp">
        <pc:chgData name="Ömer Taha Sevimli" userId="S::omer.sevimli@tum.de::d68fb2f4-76b1-4cfc-96e6-800a7d956fcb" providerId="AD" clId="Web-{4AB54AF8-6FF7-7410-2296-5F58C1AAE0D7}" dt="2024-12-16T15:36:39.882" v="102" actId="20577"/>
        <pc:sldMkLst>
          <pc:docMk/>
          <pc:sldMk cId="1781335970" sldId="423"/>
        </pc:sldMkLst>
      </pc:sldChg>
      <pc:sldChg chg="addSp modSp">
        <pc:chgData name="Ömer Taha Sevimli" userId="S::omer.sevimli@tum.de::d68fb2f4-76b1-4cfc-96e6-800a7d956fcb" providerId="AD" clId="Web-{4AB54AF8-6FF7-7410-2296-5F58C1AAE0D7}" dt="2024-12-16T15:41:35.144" v="117" actId="1076"/>
        <pc:sldMkLst>
          <pc:docMk/>
          <pc:sldMk cId="1907105927" sldId="424"/>
        </pc:sldMkLst>
      </pc:sldChg>
    </pc:docChg>
  </pc:docChgLst>
  <pc:docChgLst>
    <pc:chgData name="Era Poudel" userId="S::era.poudel@tum.de::4038d143-4a25-4ddb-a450-cddf29410981" providerId="AD" clId="Web-{EC72EC14-3A3F-24F7-66F8-D2E45129BF57}"/>
    <pc:docChg chg="addSld delSld modSld modSection">
      <pc:chgData name="Era Poudel" userId="S::era.poudel@tum.de::4038d143-4a25-4ddb-a450-cddf29410981" providerId="AD" clId="Web-{EC72EC14-3A3F-24F7-66F8-D2E45129BF57}" dt="2024-11-18T14:54:49.773" v="71"/>
      <pc:docMkLst>
        <pc:docMk/>
      </pc:docMkLst>
      <pc:sldChg chg="modSp">
        <pc:chgData name="Era Poudel" userId="S::era.poudel@tum.de::4038d143-4a25-4ddb-a450-cddf29410981" providerId="AD" clId="Web-{EC72EC14-3A3F-24F7-66F8-D2E45129BF57}" dt="2024-11-18T14:47:21.270" v="18" actId="20577"/>
        <pc:sldMkLst>
          <pc:docMk/>
          <pc:sldMk cId="373550321" sldId="318"/>
        </pc:sldMkLst>
        <pc:spChg chg="mod">
          <ac:chgData name="Era Poudel" userId="S::era.poudel@tum.de::4038d143-4a25-4ddb-a450-cddf29410981" providerId="AD" clId="Web-{EC72EC14-3A3F-24F7-66F8-D2E45129BF57}" dt="2024-11-18T14:47:21.270" v="18" actId="20577"/>
          <ac:spMkLst>
            <pc:docMk/>
            <pc:sldMk cId="373550321" sldId="318"/>
            <ac:spMk id="7" creationId="{2E9A378D-8DB5-F059-10CF-019382FA312B}"/>
          </ac:spMkLst>
        </pc:spChg>
      </pc:sldChg>
      <pc:sldChg chg="del">
        <pc:chgData name="Era Poudel" userId="S::era.poudel@tum.de::4038d143-4a25-4ddb-a450-cddf29410981" providerId="AD" clId="Web-{EC72EC14-3A3F-24F7-66F8-D2E45129BF57}" dt="2024-11-18T14:51:12.295" v="23"/>
        <pc:sldMkLst>
          <pc:docMk/>
          <pc:sldMk cId="1572863144" sldId="387"/>
        </pc:sldMkLst>
      </pc:sldChg>
      <pc:sldChg chg="addSp delSp new">
        <pc:chgData name="Era Poudel" userId="S::era.poudel@tum.de::4038d143-4a25-4ddb-a450-cddf29410981" providerId="AD" clId="Web-{EC72EC14-3A3F-24F7-66F8-D2E45129BF57}" dt="2024-11-18T14:50:37.575" v="21"/>
        <pc:sldMkLst>
          <pc:docMk/>
          <pc:sldMk cId="1890939302" sldId="389"/>
        </pc:sldMkLst>
      </pc:sldChg>
      <pc:sldChg chg="addSp delSp modSp add replId">
        <pc:chgData name="Era Poudel" userId="S::era.poudel@tum.de::4038d143-4a25-4ddb-a450-cddf29410981" providerId="AD" clId="Web-{EC72EC14-3A3F-24F7-66F8-D2E45129BF57}" dt="2024-11-18T14:54:49.773" v="71"/>
        <pc:sldMkLst>
          <pc:docMk/>
          <pc:sldMk cId="3056559578" sldId="390"/>
        </pc:sldMkLst>
      </pc:sldChg>
    </pc:docChg>
  </pc:docChgLst>
  <pc:docChgLst>
    <pc:chgData name="Tabea Monz" userId="S::t.monz@tum.de::f46a5392-c507-4495-8454-0a2fbbcf0cda" providerId="AD" clId="Web-{74C9D02D-CBBE-2C35-F438-41C2FFBB6072}"/>
    <pc:docChg chg="modSld">
      <pc:chgData name="Tabea Monz" userId="S::t.monz@tum.de::f46a5392-c507-4495-8454-0a2fbbcf0cda" providerId="AD" clId="Web-{74C9D02D-CBBE-2C35-F438-41C2FFBB6072}" dt="2025-01-21T14:29:59.461" v="55" actId="20577"/>
      <pc:docMkLst>
        <pc:docMk/>
      </pc:docMkLst>
      <pc:sldChg chg="modSp">
        <pc:chgData name="Tabea Monz" userId="S::t.monz@tum.de::f46a5392-c507-4495-8454-0a2fbbcf0cda" providerId="AD" clId="Web-{74C9D02D-CBBE-2C35-F438-41C2FFBB6072}" dt="2025-01-21T14:29:20.959" v="29" actId="20577"/>
        <pc:sldMkLst>
          <pc:docMk/>
          <pc:sldMk cId="2492418948" sldId="431"/>
        </pc:sldMkLst>
      </pc:sldChg>
      <pc:sldChg chg="modSp">
        <pc:chgData name="Tabea Monz" userId="S::t.monz@tum.de::f46a5392-c507-4495-8454-0a2fbbcf0cda" providerId="AD" clId="Web-{74C9D02D-CBBE-2C35-F438-41C2FFBB6072}" dt="2025-01-21T14:29:59.461" v="55" actId="20577"/>
        <pc:sldMkLst>
          <pc:docMk/>
          <pc:sldMk cId="3629467396" sldId="433"/>
        </pc:sldMkLst>
      </pc:sldChg>
    </pc:docChg>
  </pc:docChgLst>
  <pc:docChgLst>
    <pc:chgData name="Era Poudel" userId="S::era.poudel@tum.de::4038d143-4a25-4ddb-a450-cddf29410981" providerId="AD" clId="Web-{679BA682-57CD-8A74-8D02-ECA6D38A3758}"/>
    <pc:docChg chg="addSld delSld modSld sldOrd modSection">
      <pc:chgData name="Era Poudel" userId="S::era.poudel@tum.de::4038d143-4a25-4ddb-a450-cddf29410981" providerId="AD" clId="Web-{679BA682-57CD-8A74-8D02-ECA6D38A3758}" dt="2024-11-18T10:43:10.133" v="415" actId="20577"/>
      <pc:docMkLst>
        <pc:docMk/>
      </pc:docMkLst>
      <pc:sldChg chg="add del">
        <pc:chgData name="Era Poudel" userId="S::era.poudel@tum.de::4038d143-4a25-4ddb-a450-cddf29410981" providerId="AD" clId="Web-{679BA682-57CD-8A74-8D02-ECA6D38A3758}" dt="2024-11-18T09:47:24.201" v="55"/>
        <pc:sldMkLst>
          <pc:docMk/>
          <pc:sldMk cId="1997358788" sldId="297"/>
        </pc:sldMkLst>
      </pc:sldChg>
      <pc:sldChg chg="ord">
        <pc:chgData name="Era Poudel" userId="S::era.poudel@tum.de::4038d143-4a25-4ddb-a450-cddf29410981" providerId="AD" clId="Web-{679BA682-57CD-8A74-8D02-ECA6D38A3758}" dt="2024-11-18T10:24:56.834" v="195"/>
        <pc:sldMkLst>
          <pc:docMk/>
          <pc:sldMk cId="3109028800" sldId="306"/>
        </pc:sldMkLst>
      </pc:sldChg>
      <pc:sldChg chg="modSp">
        <pc:chgData name="Era Poudel" userId="S::era.poudel@tum.de::4038d143-4a25-4ddb-a450-cddf29410981" providerId="AD" clId="Web-{679BA682-57CD-8A74-8D02-ECA6D38A3758}" dt="2024-11-18T09:48:02.155" v="81" actId="20577"/>
        <pc:sldMkLst>
          <pc:docMk/>
          <pc:sldMk cId="1126850562" sldId="317"/>
        </pc:sldMkLst>
        <pc:spChg chg="mod">
          <ac:chgData name="Era Poudel" userId="S::era.poudel@tum.de::4038d143-4a25-4ddb-a450-cddf29410981" providerId="AD" clId="Web-{679BA682-57CD-8A74-8D02-ECA6D38A3758}" dt="2024-11-18T09:48:02.155" v="81" actId="20577"/>
          <ac:spMkLst>
            <pc:docMk/>
            <pc:sldMk cId="1126850562" sldId="317"/>
            <ac:spMk id="8" creationId="{EAE65E17-24BD-9146-7605-4AD45B45C364}"/>
          </ac:spMkLst>
        </pc:spChg>
        <pc:spChg chg="mod">
          <ac:chgData name="Era Poudel" userId="S::era.poudel@tum.de::4038d143-4a25-4ddb-a450-cddf29410981" providerId="AD" clId="Web-{679BA682-57CD-8A74-8D02-ECA6D38A3758}" dt="2024-11-18T09:29:14.715" v="42" actId="20577"/>
          <ac:spMkLst>
            <pc:docMk/>
            <pc:sldMk cId="1126850562" sldId="317"/>
            <ac:spMk id="13" creationId="{37B1975D-5314-EF92-0D9E-E2A606B471A6}"/>
          </ac:spMkLst>
        </pc:spChg>
        <pc:spChg chg="mod">
          <ac:chgData name="Era Poudel" userId="S::era.poudel@tum.de::4038d143-4a25-4ddb-a450-cddf29410981" providerId="AD" clId="Web-{679BA682-57CD-8A74-8D02-ECA6D38A3758}" dt="2024-11-18T09:29:21.153" v="44" actId="20577"/>
          <ac:spMkLst>
            <pc:docMk/>
            <pc:sldMk cId="1126850562" sldId="317"/>
            <ac:spMk id="14" creationId="{70D8283B-838F-7304-E20E-E3F94B3F6925}"/>
          </ac:spMkLst>
        </pc:spChg>
      </pc:sldChg>
      <pc:sldChg chg="addSp delSp modSp add del">
        <pc:chgData name="Era Poudel" userId="S::era.poudel@tum.de::4038d143-4a25-4ddb-a450-cddf29410981" providerId="AD" clId="Web-{679BA682-57CD-8A74-8D02-ECA6D38A3758}" dt="2024-11-18T10:42:37.757" v="401" actId="20577"/>
        <pc:sldMkLst>
          <pc:docMk/>
          <pc:sldMk cId="373550321" sldId="318"/>
        </pc:sldMkLst>
        <pc:spChg chg="add mod">
          <ac:chgData name="Era Poudel" userId="S::era.poudel@tum.de::4038d143-4a25-4ddb-a450-cddf29410981" providerId="AD" clId="Web-{679BA682-57CD-8A74-8D02-ECA6D38A3758}" dt="2024-11-18T10:24:37.052" v="192" actId="1076"/>
          <ac:spMkLst>
            <pc:docMk/>
            <pc:sldMk cId="373550321" sldId="318"/>
            <ac:spMk id="2" creationId="{F0B2C064-86E3-B316-5126-29978F8DC037}"/>
          </ac:spMkLst>
        </pc:spChg>
        <pc:spChg chg="mod">
          <ac:chgData name="Era Poudel" userId="S::era.poudel@tum.de::4038d143-4a25-4ddb-a450-cddf29410981" providerId="AD" clId="Web-{679BA682-57CD-8A74-8D02-ECA6D38A3758}" dt="2024-11-18T10:32:12.269" v="248" actId="20577"/>
          <ac:spMkLst>
            <pc:docMk/>
            <pc:sldMk cId="373550321" sldId="318"/>
            <ac:spMk id="4" creationId="{9FED2E82-8B4E-CED3-E7CC-13BEEA6B927D}"/>
          </ac:spMkLst>
        </pc:spChg>
        <pc:spChg chg="mod">
          <ac:chgData name="Era Poudel" userId="S::era.poudel@tum.de::4038d143-4a25-4ddb-a450-cddf29410981" providerId="AD" clId="Web-{679BA682-57CD-8A74-8D02-ECA6D38A3758}" dt="2024-11-18T10:24:06.739" v="183" actId="1076"/>
          <ac:spMkLst>
            <pc:docMk/>
            <pc:sldMk cId="373550321" sldId="318"/>
            <ac:spMk id="5" creationId="{E6634E1F-ED4E-EBC3-8C25-332130472F39}"/>
          </ac:spMkLst>
        </pc:spChg>
        <pc:spChg chg="mod">
          <ac:chgData name="Era Poudel" userId="S::era.poudel@tum.de::4038d143-4a25-4ddb-a450-cddf29410981" providerId="AD" clId="Web-{679BA682-57CD-8A74-8D02-ECA6D38A3758}" dt="2024-11-18T10:27:53.652" v="201" actId="20577"/>
          <ac:spMkLst>
            <pc:docMk/>
            <pc:sldMk cId="373550321" sldId="318"/>
            <ac:spMk id="7" creationId="{2E9A378D-8DB5-F059-10CF-019382FA312B}"/>
          </ac:spMkLst>
        </pc:spChg>
        <pc:spChg chg="mod">
          <ac:chgData name="Era Poudel" userId="S::era.poudel@tum.de::4038d143-4a25-4ddb-a450-cddf29410981" providerId="AD" clId="Web-{679BA682-57CD-8A74-8D02-ECA6D38A3758}" dt="2024-11-18T10:24:17.021" v="186" actId="1076"/>
          <ac:spMkLst>
            <pc:docMk/>
            <pc:sldMk cId="373550321" sldId="318"/>
            <ac:spMk id="8" creationId="{F309E364-4510-6EA0-B942-89FF1547896D}"/>
          </ac:spMkLst>
        </pc:spChg>
        <pc:spChg chg="mod">
          <ac:chgData name="Era Poudel" userId="S::era.poudel@tum.de::4038d143-4a25-4ddb-a450-cddf29410981" providerId="AD" clId="Web-{679BA682-57CD-8A74-8D02-ECA6D38A3758}" dt="2024-11-18T10:24:30.177" v="190" actId="1076"/>
          <ac:spMkLst>
            <pc:docMk/>
            <pc:sldMk cId="373550321" sldId="318"/>
            <ac:spMk id="9" creationId="{4D387D8D-F8F0-B2EA-4880-22E503CFD85E}"/>
          </ac:spMkLst>
        </pc:spChg>
        <pc:spChg chg="mod">
          <ac:chgData name="Era Poudel" userId="S::era.poudel@tum.de::4038d143-4a25-4ddb-a450-cddf29410981" providerId="AD" clId="Web-{679BA682-57CD-8A74-8D02-ECA6D38A3758}" dt="2024-11-18T10:24:34.099" v="191" actId="1076"/>
          <ac:spMkLst>
            <pc:docMk/>
            <pc:sldMk cId="373550321" sldId="318"/>
            <ac:spMk id="10" creationId="{7DBB0F79-1DB5-6396-A5C4-0BBE18530FCE}"/>
          </ac:spMkLst>
        </pc:spChg>
        <pc:spChg chg="mod">
          <ac:chgData name="Era Poudel" userId="S::era.poudel@tum.de::4038d143-4a25-4ddb-a450-cddf29410981" providerId="AD" clId="Web-{679BA682-57CD-8A74-8D02-ECA6D38A3758}" dt="2024-11-18T10:42:37.757" v="401" actId="20577"/>
          <ac:spMkLst>
            <pc:docMk/>
            <pc:sldMk cId="373550321" sldId="318"/>
            <ac:spMk id="12" creationId="{84E00281-1DB3-8406-67D3-458AB6C1B5BB}"/>
          </ac:spMkLst>
        </pc:spChg>
        <pc:grpChg chg="mod">
          <ac:chgData name="Era Poudel" userId="S::era.poudel@tum.de::4038d143-4a25-4ddb-a450-cddf29410981" providerId="AD" clId="Web-{679BA682-57CD-8A74-8D02-ECA6D38A3758}" dt="2024-11-18T10:24:21.489" v="187" actId="1076"/>
          <ac:grpSpMkLst>
            <pc:docMk/>
            <pc:sldMk cId="373550321" sldId="318"/>
            <ac:grpSpMk id="13" creationId="{7C32F558-D4D0-0AA6-34AE-3BB25B83D758}"/>
          </ac:grpSpMkLst>
        </pc:grpChg>
        <pc:picChg chg="mod">
          <ac:chgData name="Era Poudel" userId="S::era.poudel@tum.de::4038d143-4a25-4ddb-a450-cddf29410981" providerId="AD" clId="Web-{679BA682-57CD-8A74-8D02-ECA6D38A3758}" dt="2024-11-18T10:24:11.161" v="185" actId="1076"/>
          <ac:picMkLst>
            <pc:docMk/>
            <pc:sldMk cId="373550321" sldId="318"/>
            <ac:picMk id="31" creationId="{26E19198-3DC9-0B46-7676-34A8E0CE74C7}"/>
          </ac:picMkLst>
        </pc:picChg>
      </pc:sldChg>
      <pc:sldChg chg="add del">
        <pc:chgData name="Era Poudel" userId="S::era.poudel@tum.de::4038d143-4a25-4ddb-a450-cddf29410981" providerId="AD" clId="Web-{679BA682-57CD-8A74-8D02-ECA6D38A3758}" dt="2024-11-18T09:47:24.044" v="54"/>
        <pc:sldMkLst>
          <pc:docMk/>
          <pc:sldMk cId="2310605384" sldId="319"/>
        </pc:sldMkLst>
      </pc:sldChg>
      <pc:sldChg chg="modSp">
        <pc:chgData name="Era Poudel" userId="S::era.poudel@tum.de::4038d143-4a25-4ddb-a450-cddf29410981" providerId="AD" clId="Web-{679BA682-57CD-8A74-8D02-ECA6D38A3758}" dt="2024-11-18T09:28:31.183" v="40" actId="20577"/>
        <pc:sldMkLst>
          <pc:docMk/>
          <pc:sldMk cId="1558425071" sldId="334"/>
        </pc:sldMkLst>
        <pc:spChg chg="mod">
          <ac:chgData name="Era Poudel" userId="S::era.poudel@tum.de::4038d143-4a25-4ddb-a450-cddf29410981" providerId="AD" clId="Web-{679BA682-57CD-8A74-8D02-ECA6D38A3758}" dt="2024-11-18T09:28:31.183" v="40" actId="20577"/>
          <ac:spMkLst>
            <pc:docMk/>
            <pc:sldMk cId="1558425071" sldId="334"/>
            <ac:spMk id="5" creationId="{AF8A9881-9AFE-21B0-C166-37DE4B084308}"/>
          </ac:spMkLst>
        </pc:spChg>
        <pc:spChg chg="mod">
          <ac:chgData name="Era Poudel" userId="S::era.poudel@tum.de::4038d143-4a25-4ddb-a450-cddf29410981" providerId="AD" clId="Web-{679BA682-57CD-8A74-8D02-ECA6D38A3758}" dt="2024-11-18T09:22:19.016" v="9" actId="20577"/>
          <ac:spMkLst>
            <pc:docMk/>
            <pc:sldMk cId="1558425071" sldId="334"/>
            <ac:spMk id="326" creationId="{00000000-0000-0000-0000-000000000000}"/>
          </ac:spMkLst>
        </pc:spChg>
      </pc:sldChg>
      <pc:sldChg chg="add replId">
        <pc:chgData name="Era Poudel" userId="S::era.poudel@tum.de::4038d143-4a25-4ddb-a450-cddf29410981" providerId="AD" clId="Web-{679BA682-57CD-8A74-8D02-ECA6D38A3758}" dt="2024-11-18T09:48:45.672" v="110"/>
        <pc:sldMkLst>
          <pc:docMk/>
          <pc:sldMk cId="1572863144" sldId="387"/>
        </pc:sldMkLst>
      </pc:sldChg>
      <pc:sldChg chg="addSp delSp modSp add ord replId">
        <pc:chgData name="Era Poudel" userId="S::era.poudel@tum.de::4038d143-4a25-4ddb-a450-cddf29410981" providerId="AD" clId="Web-{679BA682-57CD-8A74-8D02-ECA6D38A3758}" dt="2024-11-18T10:43:10.133" v="415" actId="20577"/>
        <pc:sldMkLst>
          <pc:docMk/>
          <pc:sldMk cId="2024038645" sldId="388"/>
        </pc:sldMkLst>
      </pc:sldChg>
      <pc:sldChg chg="new del">
        <pc:chgData name="Era Poudel" userId="S::era.poudel@tum.de::4038d143-4a25-4ddb-a450-cddf29410981" providerId="AD" clId="Web-{679BA682-57CD-8A74-8D02-ECA6D38A3758}" dt="2024-11-18T10:42:19.007" v="376"/>
        <pc:sldMkLst>
          <pc:docMk/>
          <pc:sldMk cId="1832802096" sldId="389"/>
        </pc:sldMkLst>
      </pc:sldChg>
    </pc:docChg>
  </pc:docChgLst>
  <pc:docChgLst>
    <pc:chgData name="Tabea Monz" userId="S::t.monz@tum.de::f46a5392-c507-4495-8454-0a2fbbcf0cda" providerId="AD" clId="Web-{58D04AB0-206F-5BAA-1BAD-90E0125EDBC1}"/>
    <pc:docChg chg="addSld modSld modSection">
      <pc:chgData name="Tabea Monz" userId="S::t.monz@tum.de::f46a5392-c507-4495-8454-0a2fbbcf0cda" providerId="AD" clId="Web-{58D04AB0-206F-5BAA-1BAD-90E0125EDBC1}" dt="2024-12-10T14:06:41.050" v="32" actId="14100"/>
      <pc:docMkLst>
        <pc:docMk/>
      </pc:docMkLst>
      <pc:sldChg chg="modSp">
        <pc:chgData name="Tabea Monz" userId="S::t.monz@tum.de::f46a5392-c507-4495-8454-0a2fbbcf0cda" providerId="AD" clId="Web-{58D04AB0-206F-5BAA-1BAD-90E0125EDBC1}" dt="2024-12-10T14:05:47.736" v="1" actId="20577"/>
        <pc:sldMkLst>
          <pc:docMk/>
          <pc:sldMk cId="1149059724" sldId="416"/>
        </pc:sldMkLst>
      </pc:sldChg>
      <pc:sldChg chg="modSp add replId">
        <pc:chgData name="Tabea Monz" userId="S::t.monz@tum.de::f46a5392-c507-4495-8454-0a2fbbcf0cda" providerId="AD" clId="Web-{58D04AB0-206F-5BAA-1BAD-90E0125EDBC1}" dt="2024-12-10T14:06:41.050" v="32" actId="14100"/>
        <pc:sldMkLst>
          <pc:docMk/>
          <pc:sldMk cId="1748707832" sldId="418"/>
        </pc:sldMkLst>
        <pc:spChg chg="mod">
          <ac:chgData name="Tabea Monz" userId="S::t.monz@tum.de::f46a5392-c507-4495-8454-0a2fbbcf0cda" providerId="AD" clId="Web-{58D04AB0-206F-5BAA-1BAD-90E0125EDBC1}" dt="2024-12-10T14:06:28.300" v="4" actId="20577"/>
          <ac:spMkLst>
            <pc:docMk/>
            <pc:sldMk cId="1748707832" sldId="418"/>
            <ac:spMk id="326" creationId="{00000000-0000-0000-0000-000000000000}"/>
          </ac:spMkLst>
        </pc:spChg>
        <pc:spChg chg="mod">
          <ac:chgData name="Tabea Monz" userId="S::t.monz@tum.de::f46a5392-c507-4495-8454-0a2fbbcf0cda" providerId="AD" clId="Web-{58D04AB0-206F-5BAA-1BAD-90E0125EDBC1}" dt="2024-12-10T14:06:41.050" v="32" actId="14100"/>
          <ac:spMkLst>
            <pc:docMk/>
            <pc:sldMk cId="1748707832" sldId="418"/>
            <ac:spMk id="327" creationId="{00000000-0000-0000-0000-000000000000}"/>
          </ac:spMkLst>
        </pc:spChg>
      </pc:sldChg>
    </pc:docChg>
  </pc:docChgLst>
  <pc:docChgLst>
    <pc:chgData name="Tabea Monz" userId="S::t.monz@tum.de::f46a5392-c507-4495-8454-0a2fbbcf0cda" providerId="AD" clId="Web-{CF45D9DD-9A45-B7F1-075C-709200D94901}"/>
    <pc:docChg chg="addSld delSld modSld delSection modSection">
      <pc:chgData name="Tabea Monz" userId="S::t.monz@tum.de::f46a5392-c507-4495-8454-0a2fbbcf0cda" providerId="AD" clId="Web-{CF45D9DD-9A45-B7F1-075C-709200D94901}" dt="2025-01-14T14:57:16.238" v="1783" actId="20577"/>
      <pc:docMkLst>
        <pc:docMk/>
      </pc:docMkLst>
      <pc:sldChg chg="modSp">
        <pc:chgData name="Tabea Monz" userId="S::t.monz@tum.de::f46a5392-c507-4495-8454-0a2fbbcf0cda" providerId="AD" clId="Web-{CF45D9DD-9A45-B7F1-075C-709200D94901}" dt="2025-01-14T14:57:16.238" v="1783" actId="20577"/>
        <pc:sldMkLst>
          <pc:docMk/>
          <pc:sldMk cId="2457093950" sldId="281"/>
        </pc:sldMkLst>
        <pc:spChg chg="mod">
          <ac:chgData name="Tabea Monz" userId="S::t.monz@tum.de::f46a5392-c507-4495-8454-0a2fbbcf0cda" providerId="AD" clId="Web-{CF45D9DD-9A45-B7F1-075C-709200D94901}" dt="2025-01-14T12:17:19.531" v="539" actId="14100"/>
          <ac:spMkLst>
            <pc:docMk/>
            <pc:sldMk cId="2457093950" sldId="281"/>
            <ac:spMk id="2" creationId="{BF4A43F6-3684-F5A5-85F1-EEDC996D624E}"/>
          </ac:spMkLst>
        </pc:spChg>
        <pc:spChg chg="mod">
          <ac:chgData name="Tabea Monz" userId="S::t.monz@tum.de::f46a5392-c507-4495-8454-0a2fbbcf0cda" providerId="AD" clId="Web-{CF45D9DD-9A45-B7F1-075C-709200D94901}" dt="2025-01-14T14:57:16.238" v="1783" actId="20577"/>
          <ac:spMkLst>
            <pc:docMk/>
            <pc:sldMk cId="2457093950" sldId="281"/>
            <ac:spMk id="3" creationId="{F6F5A270-E5B3-1C34-7F0A-AEC95FE0FDDA}"/>
          </ac:spMkLst>
        </pc:spChg>
        <pc:spChg chg="mod">
          <ac:chgData name="Tabea Monz" userId="S::t.monz@tum.de::f46a5392-c507-4495-8454-0a2fbbcf0cda" providerId="AD" clId="Web-{CF45D9DD-9A45-B7F1-075C-709200D94901}" dt="2025-01-14T12:16:20.983" v="432" actId="20577"/>
          <ac:spMkLst>
            <pc:docMk/>
            <pc:sldMk cId="2457093950" sldId="281"/>
            <ac:spMk id="9" creationId="{B6B497AA-972B-9F4E-E175-1E7500A7D45E}"/>
          </ac:spMkLst>
        </pc:spChg>
      </pc:sldChg>
      <pc:sldChg chg="addSp delSp modSp">
        <pc:chgData name="Tabea Monz" userId="S::t.monz@tum.de::f46a5392-c507-4495-8454-0a2fbbcf0cda" providerId="AD" clId="Web-{CF45D9DD-9A45-B7F1-075C-709200D94901}" dt="2025-01-14T12:41:42.019" v="597" actId="14100"/>
        <pc:sldMkLst>
          <pc:docMk/>
          <pc:sldMk cId="3573279774" sldId="286"/>
        </pc:sldMkLst>
        <pc:spChg chg="mod">
          <ac:chgData name="Tabea Monz" userId="S::t.monz@tum.de::f46a5392-c507-4495-8454-0a2fbbcf0cda" providerId="AD" clId="Web-{CF45D9DD-9A45-B7F1-075C-709200D94901}" dt="2025-01-14T12:39:27.905" v="542" actId="1076"/>
          <ac:spMkLst>
            <pc:docMk/>
            <pc:sldMk cId="3573279774" sldId="286"/>
            <ac:spMk id="2" creationId="{61FC4D4D-A852-3684-AEF3-B33B3F8311BC}"/>
          </ac:spMkLst>
        </pc:spChg>
        <pc:spChg chg="mod">
          <ac:chgData name="Tabea Monz" userId="S::t.monz@tum.de::f46a5392-c507-4495-8454-0a2fbbcf0cda" providerId="AD" clId="Web-{CF45D9DD-9A45-B7F1-075C-709200D94901}" dt="2025-01-14T12:39:27.952" v="543" actId="1076"/>
          <ac:spMkLst>
            <pc:docMk/>
            <pc:sldMk cId="3573279774" sldId="286"/>
            <ac:spMk id="3" creationId="{855A30B5-31EC-CF54-E7E3-4E2BE1B24C7A}"/>
          </ac:spMkLst>
        </pc:spChg>
        <pc:spChg chg="mod">
          <ac:chgData name="Tabea Monz" userId="S::t.monz@tum.de::f46a5392-c507-4495-8454-0a2fbbcf0cda" providerId="AD" clId="Web-{CF45D9DD-9A45-B7F1-075C-709200D94901}" dt="2025-01-14T12:39:28.155" v="545" actId="1076"/>
          <ac:spMkLst>
            <pc:docMk/>
            <pc:sldMk cId="3573279774" sldId="286"/>
            <ac:spMk id="5" creationId="{86D9B208-016D-11B1-A5B7-841961C1B3AD}"/>
          </ac:spMkLst>
        </pc:spChg>
        <pc:spChg chg="mod">
          <ac:chgData name="Tabea Monz" userId="S::t.monz@tum.de::f46a5392-c507-4495-8454-0a2fbbcf0cda" providerId="AD" clId="Web-{CF45D9DD-9A45-B7F1-075C-709200D94901}" dt="2025-01-14T12:39:28.202" v="546" actId="1076"/>
          <ac:spMkLst>
            <pc:docMk/>
            <pc:sldMk cId="3573279774" sldId="286"/>
            <ac:spMk id="6" creationId="{EECBEFEB-9C0E-5927-15A7-351A5C54385E}"/>
          </ac:spMkLst>
        </pc:spChg>
        <pc:spChg chg="add mod">
          <ac:chgData name="Tabea Monz" userId="S::t.monz@tum.de::f46a5392-c507-4495-8454-0a2fbbcf0cda" providerId="AD" clId="Web-{CF45D9DD-9A45-B7F1-075C-709200D94901}" dt="2025-01-14T12:41:42.019" v="597" actId="14100"/>
          <ac:spMkLst>
            <pc:docMk/>
            <pc:sldMk cId="3573279774" sldId="286"/>
            <ac:spMk id="16" creationId="{9512D10A-8AFA-B149-A351-9F6D9825A080}"/>
          </ac:spMkLst>
        </pc:spChg>
        <pc:picChg chg="mod">
          <ac:chgData name="Tabea Monz" userId="S::t.monz@tum.de::f46a5392-c507-4495-8454-0a2fbbcf0cda" providerId="AD" clId="Web-{CF45D9DD-9A45-B7F1-075C-709200D94901}" dt="2025-01-14T12:39:28.124" v="544" actId="1076"/>
          <ac:picMkLst>
            <pc:docMk/>
            <pc:sldMk cId="3573279774" sldId="286"/>
            <ac:picMk id="20" creationId="{65CEF2F0-0EE8-EB62-7168-208D0FD3E6EB}"/>
          </ac:picMkLst>
        </pc:picChg>
      </pc:sldChg>
      <pc:sldChg chg="del">
        <pc:chgData name="Tabea Monz" userId="S::t.monz@tum.de::f46a5392-c507-4495-8454-0a2fbbcf0cda" providerId="AD" clId="Web-{CF45D9DD-9A45-B7F1-075C-709200D94901}" dt="2025-01-14T11:44:29.043" v="18"/>
        <pc:sldMkLst>
          <pc:docMk/>
          <pc:sldMk cId="3553033900" sldId="287"/>
        </pc:sldMkLst>
      </pc:sldChg>
      <pc:sldChg chg="del">
        <pc:chgData name="Tabea Monz" userId="S::t.monz@tum.de::f46a5392-c507-4495-8454-0a2fbbcf0cda" providerId="AD" clId="Web-{CF45D9DD-9A45-B7F1-075C-709200D94901}" dt="2025-01-14T11:44:28.996" v="14"/>
        <pc:sldMkLst>
          <pc:docMk/>
          <pc:sldMk cId="3909716140" sldId="289"/>
        </pc:sldMkLst>
      </pc:sldChg>
      <pc:sldChg chg="del">
        <pc:chgData name="Tabea Monz" userId="S::t.monz@tum.de::f46a5392-c507-4495-8454-0a2fbbcf0cda" providerId="AD" clId="Web-{CF45D9DD-9A45-B7F1-075C-709200D94901}" dt="2025-01-14T11:44:28.980" v="13"/>
        <pc:sldMkLst>
          <pc:docMk/>
          <pc:sldMk cId="1836807439" sldId="290"/>
        </pc:sldMkLst>
      </pc:sldChg>
      <pc:sldChg chg="del">
        <pc:chgData name="Tabea Monz" userId="S::t.monz@tum.de::f46a5392-c507-4495-8454-0a2fbbcf0cda" providerId="AD" clId="Web-{CF45D9DD-9A45-B7F1-075C-709200D94901}" dt="2025-01-14T11:44:28.949" v="11"/>
        <pc:sldMkLst>
          <pc:docMk/>
          <pc:sldMk cId="3118018366" sldId="291"/>
        </pc:sldMkLst>
      </pc:sldChg>
      <pc:sldChg chg="del">
        <pc:chgData name="Tabea Monz" userId="S::t.monz@tum.de::f46a5392-c507-4495-8454-0a2fbbcf0cda" providerId="AD" clId="Web-{CF45D9DD-9A45-B7F1-075C-709200D94901}" dt="2025-01-14T11:44:28.933" v="9"/>
        <pc:sldMkLst>
          <pc:docMk/>
          <pc:sldMk cId="3807836379" sldId="292"/>
        </pc:sldMkLst>
      </pc:sldChg>
      <pc:sldChg chg="del">
        <pc:chgData name="Tabea Monz" userId="S::t.monz@tum.de::f46a5392-c507-4495-8454-0a2fbbcf0cda" providerId="AD" clId="Web-{CF45D9DD-9A45-B7F1-075C-709200D94901}" dt="2025-01-14T11:44:28.918" v="8"/>
        <pc:sldMkLst>
          <pc:docMk/>
          <pc:sldMk cId="3642159981" sldId="294"/>
        </pc:sldMkLst>
      </pc:sldChg>
      <pc:sldChg chg="del">
        <pc:chgData name="Tabea Monz" userId="S::t.monz@tum.de::f46a5392-c507-4495-8454-0a2fbbcf0cda" providerId="AD" clId="Web-{CF45D9DD-9A45-B7F1-075C-709200D94901}" dt="2025-01-14T11:44:28.902" v="6"/>
        <pc:sldMkLst>
          <pc:docMk/>
          <pc:sldMk cId="1360738081" sldId="295"/>
        </pc:sldMkLst>
      </pc:sldChg>
      <pc:sldChg chg="del">
        <pc:chgData name="Tabea Monz" userId="S::t.monz@tum.de::f46a5392-c507-4495-8454-0a2fbbcf0cda" providerId="AD" clId="Web-{CF45D9DD-9A45-B7F1-075C-709200D94901}" dt="2025-01-14T11:44:28.886" v="5"/>
        <pc:sldMkLst>
          <pc:docMk/>
          <pc:sldMk cId="1340192637" sldId="305"/>
        </pc:sldMkLst>
      </pc:sldChg>
      <pc:sldChg chg="del">
        <pc:chgData name="Tabea Monz" userId="S::t.monz@tum.de::f46a5392-c507-4495-8454-0a2fbbcf0cda" providerId="AD" clId="Web-{CF45D9DD-9A45-B7F1-075C-709200D94901}" dt="2025-01-14T11:44:28.871" v="3"/>
        <pc:sldMkLst>
          <pc:docMk/>
          <pc:sldMk cId="3109028800" sldId="306"/>
        </pc:sldMkLst>
      </pc:sldChg>
      <pc:sldChg chg="modSp">
        <pc:chgData name="Tabea Monz" userId="S::t.monz@tum.de::f46a5392-c507-4495-8454-0a2fbbcf0cda" providerId="AD" clId="Web-{CF45D9DD-9A45-B7F1-075C-709200D94901}" dt="2025-01-14T11:59:00.697" v="66" actId="20577"/>
        <pc:sldMkLst>
          <pc:docMk/>
          <pc:sldMk cId="656948936" sldId="307"/>
        </pc:sldMkLst>
        <pc:spChg chg="mod">
          <ac:chgData name="Tabea Monz" userId="S::t.monz@tum.de::f46a5392-c507-4495-8454-0a2fbbcf0cda" providerId="AD" clId="Web-{CF45D9DD-9A45-B7F1-075C-709200D94901}" dt="2025-01-14T11:59:00.697" v="66" actId="20577"/>
          <ac:spMkLst>
            <pc:docMk/>
            <pc:sldMk cId="656948936" sldId="307"/>
            <ac:spMk id="2" creationId="{FE3A5165-8DD7-B00A-7B51-96C83EC80066}"/>
          </ac:spMkLst>
        </pc:spChg>
        <pc:spChg chg="mod">
          <ac:chgData name="Tabea Monz" userId="S::t.monz@tum.de::f46a5392-c507-4495-8454-0a2fbbcf0cda" providerId="AD" clId="Web-{CF45D9DD-9A45-B7F1-075C-709200D94901}" dt="2025-01-14T11:53:04.466" v="58" actId="20577"/>
          <ac:spMkLst>
            <pc:docMk/>
            <pc:sldMk cId="656948936" sldId="307"/>
            <ac:spMk id="18" creationId="{9D402FC9-B003-6ABB-29C8-CFE131F86AFE}"/>
          </ac:spMkLst>
        </pc:spChg>
      </pc:sldChg>
      <pc:sldChg chg="del">
        <pc:chgData name="Tabea Monz" userId="S::t.monz@tum.de::f46a5392-c507-4495-8454-0a2fbbcf0cda" providerId="AD" clId="Web-{CF45D9DD-9A45-B7F1-075C-709200D94901}" dt="2025-01-14T11:44:28.855" v="2"/>
        <pc:sldMkLst>
          <pc:docMk/>
          <pc:sldMk cId="2790215641" sldId="308"/>
        </pc:sldMkLst>
      </pc:sldChg>
      <pc:sldChg chg="del">
        <pc:chgData name="Tabea Monz" userId="S::t.monz@tum.de::f46a5392-c507-4495-8454-0a2fbbcf0cda" providerId="AD" clId="Web-{CF45D9DD-9A45-B7F1-075C-709200D94901}" dt="2025-01-14T11:44:28.824" v="1"/>
        <pc:sldMkLst>
          <pc:docMk/>
          <pc:sldMk cId="3944894673" sldId="309"/>
        </pc:sldMkLst>
      </pc:sldChg>
      <pc:sldChg chg="modSp">
        <pc:chgData name="Tabea Monz" userId="S::t.monz@tum.de::f46a5392-c507-4495-8454-0a2fbbcf0cda" providerId="AD" clId="Web-{CF45D9DD-9A45-B7F1-075C-709200D94901}" dt="2025-01-14T13:36:01.728" v="1183" actId="20577"/>
        <pc:sldMkLst>
          <pc:docMk/>
          <pc:sldMk cId="4118735400" sldId="311"/>
        </pc:sldMkLst>
      </pc:sldChg>
      <pc:sldChg chg="del">
        <pc:chgData name="Tabea Monz" userId="S::t.monz@tum.de::f46a5392-c507-4495-8454-0a2fbbcf0cda" providerId="AD" clId="Web-{CF45D9DD-9A45-B7F1-075C-709200D94901}" dt="2025-01-14T11:44:28.964" v="12"/>
        <pc:sldMkLst>
          <pc:docMk/>
          <pc:sldMk cId="1054077313" sldId="312"/>
        </pc:sldMkLst>
      </pc:sldChg>
      <pc:sldChg chg="del">
        <pc:chgData name="Tabea Monz" userId="S::t.monz@tum.de::f46a5392-c507-4495-8454-0a2fbbcf0cda" providerId="AD" clId="Web-{CF45D9DD-9A45-B7F1-075C-709200D94901}" dt="2025-01-14T11:44:28.918" v="7"/>
        <pc:sldMkLst>
          <pc:docMk/>
          <pc:sldMk cId="1288072368" sldId="313"/>
        </pc:sldMkLst>
      </pc:sldChg>
      <pc:sldChg chg="del">
        <pc:chgData name="Tabea Monz" userId="S::t.monz@tum.de::f46a5392-c507-4495-8454-0a2fbbcf0cda" providerId="AD" clId="Web-{CF45D9DD-9A45-B7F1-075C-709200D94901}" dt="2025-01-14T11:44:28.824" v="0"/>
        <pc:sldMkLst>
          <pc:docMk/>
          <pc:sldMk cId="767817792" sldId="314"/>
        </pc:sldMkLst>
      </pc:sldChg>
      <pc:sldChg chg="del">
        <pc:chgData name="Tabea Monz" userId="S::t.monz@tum.de::f46a5392-c507-4495-8454-0a2fbbcf0cda" providerId="AD" clId="Web-{CF45D9DD-9A45-B7F1-075C-709200D94901}" dt="2025-01-14T11:44:29.058" v="20"/>
        <pc:sldMkLst>
          <pc:docMk/>
          <pc:sldMk cId="3420601596" sldId="315"/>
        </pc:sldMkLst>
      </pc:sldChg>
      <pc:sldChg chg="del">
        <pc:chgData name="Tabea Monz" userId="S::t.monz@tum.de::f46a5392-c507-4495-8454-0a2fbbcf0cda" providerId="AD" clId="Web-{CF45D9DD-9A45-B7F1-075C-709200D94901}" dt="2025-01-14T11:44:28.949" v="10"/>
        <pc:sldMkLst>
          <pc:docMk/>
          <pc:sldMk cId="2849113408" sldId="375"/>
        </pc:sldMkLst>
      </pc:sldChg>
      <pc:sldChg chg="del">
        <pc:chgData name="Tabea Monz" userId="S::t.monz@tum.de::f46a5392-c507-4495-8454-0a2fbbcf0cda" providerId="AD" clId="Web-{CF45D9DD-9A45-B7F1-075C-709200D94901}" dt="2025-01-14T11:44:28.886" v="4"/>
        <pc:sldMkLst>
          <pc:docMk/>
          <pc:sldMk cId="1767982433" sldId="377"/>
        </pc:sldMkLst>
      </pc:sldChg>
      <pc:sldChg chg="del">
        <pc:chgData name="Tabea Monz" userId="S::t.monz@tum.de::f46a5392-c507-4495-8454-0a2fbbcf0cda" providerId="AD" clId="Web-{CF45D9DD-9A45-B7F1-075C-709200D94901}" dt="2025-01-14T11:59:11.729" v="67"/>
        <pc:sldMkLst>
          <pc:docMk/>
          <pc:sldMk cId="3645510430" sldId="379"/>
        </pc:sldMkLst>
      </pc:sldChg>
      <pc:sldChg chg="del">
        <pc:chgData name="Tabea Monz" userId="S::t.monz@tum.de::f46a5392-c507-4495-8454-0a2fbbcf0cda" providerId="AD" clId="Web-{CF45D9DD-9A45-B7F1-075C-709200D94901}" dt="2025-01-14T11:44:29.027" v="17"/>
        <pc:sldMkLst>
          <pc:docMk/>
          <pc:sldMk cId="4270279149" sldId="384"/>
        </pc:sldMkLst>
      </pc:sldChg>
      <pc:sldChg chg="del">
        <pc:chgData name="Tabea Monz" userId="S::t.monz@tum.de::f46a5392-c507-4495-8454-0a2fbbcf0cda" providerId="AD" clId="Web-{CF45D9DD-9A45-B7F1-075C-709200D94901}" dt="2025-01-14T11:44:29.011" v="16"/>
        <pc:sldMkLst>
          <pc:docMk/>
          <pc:sldMk cId="3575259689" sldId="385"/>
        </pc:sldMkLst>
      </pc:sldChg>
      <pc:sldChg chg="del">
        <pc:chgData name="Tabea Monz" userId="S::t.monz@tum.de::f46a5392-c507-4495-8454-0a2fbbcf0cda" providerId="AD" clId="Web-{CF45D9DD-9A45-B7F1-075C-709200D94901}" dt="2025-01-14T11:44:29.011" v="15"/>
        <pc:sldMkLst>
          <pc:docMk/>
          <pc:sldMk cId="2271628823" sldId="386"/>
        </pc:sldMkLst>
      </pc:sldChg>
      <pc:sldChg chg="del">
        <pc:chgData name="Tabea Monz" userId="S::t.monz@tum.de::f46a5392-c507-4495-8454-0a2fbbcf0cda" providerId="AD" clId="Web-{CF45D9DD-9A45-B7F1-075C-709200D94901}" dt="2025-01-14T11:44:29.058" v="21"/>
        <pc:sldMkLst>
          <pc:docMk/>
          <pc:sldMk cId="3488579986" sldId="392"/>
        </pc:sldMkLst>
      </pc:sldChg>
      <pc:sldChg chg="del">
        <pc:chgData name="Tabea Monz" userId="S::t.monz@tum.de::f46a5392-c507-4495-8454-0a2fbbcf0cda" providerId="AD" clId="Web-{CF45D9DD-9A45-B7F1-075C-709200D94901}" dt="2025-01-14T11:44:29.043" v="19"/>
        <pc:sldMkLst>
          <pc:docMk/>
          <pc:sldMk cId="561075100" sldId="393"/>
        </pc:sldMkLst>
      </pc:sldChg>
      <pc:sldChg chg="addSp modSp">
        <pc:chgData name="Tabea Monz" userId="S::t.monz@tum.de::f46a5392-c507-4495-8454-0a2fbbcf0cda" providerId="AD" clId="Web-{CF45D9DD-9A45-B7F1-075C-709200D94901}" dt="2025-01-14T14:41:39.345" v="1612" actId="1076"/>
        <pc:sldMkLst>
          <pc:docMk/>
          <pc:sldMk cId="1557925452" sldId="397"/>
        </pc:sldMkLst>
        <pc:spChg chg="mod">
          <ac:chgData name="Tabea Monz" userId="S::t.monz@tum.de::f46a5392-c507-4495-8454-0a2fbbcf0cda" providerId="AD" clId="Web-{CF45D9DD-9A45-B7F1-075C-709200D94901}" dt="2025-01-14T14:40:44.028" v="1597" actId="1076"/>
          <ac:spMkLst>
            <pc:docMk/>
            <pc:sldMk cId="1557925452" sldId="397"/>
            <ac:spMk id="2" creationId="{2226C690-FDA5-1BF1-07D6-F8A0FE929463}"/>
          </ac:spMkLst>
        </pc:spChg>
        <pc:spChg chg="add mod">
          <ac:chgData name="Tabea Monz" userId="S::t.monz@tum.de::f46a5392-c507-4495-8454-0a2fbbcf0cda" providerId="AD" clId="Web-{CF45D9DD-9A45-B7F1-075C-709200D94901}" dt="2025-01-14T14:41:27.672" v="1609" actId="1076"/>
          <ac:spMkLst>
            <pc:docMk/>
            <pc:sldMk cId="1557925452" sldId="397"/>
            <ac:spMk id="7" creationId="{0E726489-E85C-E3B0-D302-2ECB0D80D9D0}"/>
          </ac:spMkLst>
        </pc:spChg>
        <pc:spChg chg="add mod">
          <ac:chgData name="Tabea Monz" userId="S::t.monz@tum.de::f46a5392-c507-4495-8454-0a2fbbcf0cda" providerId="AD" clId="Web-{CF45D9DD-9A45-B7F1-075C-709200D94901}" dt="2025-01-14T14:41:20.703" v="1607" actId="1076"/>
          <ac:spMkLst>
            <pc:docMk/>
            <pc:sldMk cId="1557925452" sldId="397"/>
            <ac:spMk id="9" creationId="{6E769508-9355-93D3-8A39-589575A413BA}"/>
          </ac:spMkLst>
        </pc:spChg>
        <pc:spChg chg="mod">
          <ac:chgData name="Tabea Monz" userId="S::t.monz@tum.de::f46a5392-c507-4495-8454-0a2fbbcf0cda" providerId="AD" clId="Web-{CF45D9DD-9A45-B7F1-075C-709200D94901}" dt="2025-01-14T14:40:44.122" v="1598" actId="1076"/>
          <ac:spMkLst>
            <pc:docMk/>
            <pc:sldMk cId="1557925452" sldId="397"/>
            <ac:spMk id="12" creationId="{3CCD2D1A-1DA2-AD54-4F05-393E79DADEA7}"/>
          </ac:spMkLst>
        </pc:spChg>
        <pc:spChg chg="add mod">
          <ac:chgData name="Tabea Monz" userId="S::t.monz@tum.de::f46a5392-c507-4495-8454-0a2fbbcf0cda" providerId="AD" clId="Web-{CF45D9DD-9A45-B7F1-075C-709200D94901}" dt="2025-01-14T14:41:15.515" v="1606" actId="1076"/>
          <ac:spMkLst>
            <pc:docMk/>
            <pc:sldMk cId="1557925452" sldId="397"/>
            <ac:spMk id="14" creationId="{93C2DEA0-AA87-8B8B-24B7-45A5D337F06D}"/>
          </ac:spMkLst>
        </pc:spChg>
        <pc:spChg chg="add mod">
          <ac:chgData name="Tabea Monz" userId="S::t.monz@tum.de::f46a5392-c507-4495-8454-0a2fbbcf0cda" providerId="AD" clId="Web-{CF45D9DD-9A45-B7F1-075C-709200D94901}" dt="2025-01-14T14:41:37.610" v="1611" actId="1076"/>
          <ac:spMkLst>
            <pc:docMk/>
            <pc:sldMk cId="1557925452" sldId="397"/>
            <ac:spMk id="20" creationId="{96A7A15F-B86E-5ADE-747E-172AF09E9E00}"/>
          </ac:spMkLst>
        </pc:spChg>
      </pc:sldChg>
      <pc:sldChg chg="delSp modSp del">
        <pc:chgData name="Tabea Monz" userId="S::t.monz@tum.de::f46a5392-c507-4495-8454-0a2fbbcf0cda" providerId="AD" clId="Web-{CF45D9DD-9A45-B7F1-075C-709200D94901}" dt="2025-01-14T14:41:47.877" v="1613"/>
        <pc:sldMkLst>
          <pc:docMk/>
          <pc:sldMk cId="3010641126" sldId="402"/>
        </pc:sldMkLst>
      </pc:sldChg>
      <pc:sldChg chg="modSp">
        <pc:chgData name="Tabea Monz" userId="S::t.monz@tum.de::f46a5392-c507-4495-8454-0a2fbbcf0cda" providerId="AD" clId="Web-{CF45D9DD-9A45-B7F1-075C-709200D94901}" dt="2025-01-14T12:34:57.911" v="541" actId="20577"/>
        <pc:sldMkLst>
          <pc:docMk/>
          <pc:sldMk cId="2146858438" sldId="408"/>
        </pc:sldMkLst>
      </pc:sldChg>
      <pc:sldChg chg="addSp modSp">
        <pc:chgData name="Tabea Monz" userId="S::t.monz@tum.de::f46a5392-c507-4495-8454-0a2fbbcf0cda" providerId="AD" clId="Web-{CF45D9DD-9A45-B7F1-075C-709200D94901}" dt="2025-01-14T12:48:31.064" v="603" actId="14100"/>
        <pc:sldMkLst>
          <pc:docMk/>
          <pc:sldMk cId="3374372959" sldId="410"/>
        </pc:sldMkLst>
      </pc:sldChg>
      <pc:sldChg chg="del">
        <pc:chgData name="Tabea Monz" userId="S::t.monz@tum.de::f46a5392-c507-4495-8454-0a2fbbcf0cda" providerId="AD" clId="Web-{CF45D9DD-9A45-B7F1-075C-709200D94901}" dt="2025-01-14T11:44:29.074" v="22"/>
        <pc:sldMkLst>
          <pc:docMk/>
          <pc:sldMk cId="3275806885" sldId="412"/>
        </pc:sldMkLst>
      </pc:sldChg>
      <pc:sldChg chg="addSp delSp modSp">
        <pc:chgData name="Tabea Monz" userId="S::t.monz@tum.de::f46a5392-c507-4495-8454-0a2fbbcf0cda" providerId="AD" clId="Web-{CF45D9DD-9A45-B7F1-075C-709200D94901}" dt="2025-01-14T13:47:42.776" v="1516" actId="14100"/>
        <pc:sldMkLst>
          <pc:docMk/>
          <pc:sldMk cId="374364369" sldId="413"/>
        </pc:sldMkLst>
        <pc:spChg chg="mod">
          <ac:chgData name="Tabea Monz" userId="S::t.monz@tum.de::f46a5392-c507-4495-8454-0a2fbbcf0cda" providerId="AD" clId="Web-{CF45D9DD-9A45-B7F1-075C-709200D94901}" dt="2025-01-14T13:14:40.185" v="615" actId="1076"/>
          <ac:spMkLst>
            <pc:docMk/>
            <pc:sldMk cId="374364369" sldId="413"/>
            <ac:spMk id="5" creationId="{3A4927C7-6F99-6A99-A6D9-2ABF34AB5092}"/>
          </ac:spMkLst>
        </pc:spChg>
        <pc:spChg chg="mod">
          <ac:chgData name="Tabea Monz" userId="S::t.monz@tum.de::f46a5392-c507-4495-8454-0a2fbbcf0cda" providerId="AD" clId="Web-{CF45D9DD-9A45-B7F1-075C-709200D94901}" dt="2025-01-14T13:14:40.279" v="616" actId="1076"/>
          <ac:spMkLst>
            <pc:docMk/>
            <pc:sldMk cId="374364369" sldId="413"/>
            <ac:spMk id="6" creationId="{941436FD-BCC1-69E9-3B63-65CED40F0E05}"/>
          </ac:spMkLst>
        </pc:spChg>
        <pc:spChg chg="mod">
          <ac:chgData name="Tabea Monz" userId="S::t.monz@tum.de::f46a5392-c507-4495-8454-0a2fbbcf0cda" providerId="AD" clId="Web-{CF45D9DD-9A45-B7F1-075C-709200D94901}" dt="2025-01-14T13:14:40.435" v="618" actId="1076"/>
          <ac:spMkLst>
            <pc:docMk/>
            <pc:sldMk cId="374364369" sldId="413"/>
            <ac:spMk id="8" creationId="{9E7759B4-AB88-1B15-8D80-4AE81F5B3F53}"/>
          </ac:spMkLst>
        </pc:spChg>
        <pc:spChg chg="mod">
          <ac:chgData name="Tabea Monz" userId="S::t.monz@tum.de::f46a5392-c507-4495-8454-0a2fbbcf0cda" providerId="AD" clId="Web-{CF45D9DD-9A45-B7F1-075C-709200D94901}" dt="2025-01-14T13:41:31.422" v="1317" actId="14100"/>
          <ac:spMkLst>
            <pc:docMk/>
            <pc:sldMk cId="374364369" sldId="413"/>
            <ac:spMk id="11" creationId="{C5107335-C559-E6D1-CF82-CCF7C8E26BC5}"/>
          </ac:spMkLst>
        </pc:spChg>
        <pc:spChg chg="add mod">
          <ac:chgData name="Tabea Monz" userId="S::t.monz@tum.de::f46a5392-c507-4495-8454-0a2fbbcf0cda" providerId="AD" clId="Web-{CF45D9DD-9A45-B7F1-075C-709200D94901}" dt="2025-01-14T13:47:42.776" v="1516" actId="14100"/>
          <ac:spMkLst>
            <pc:docMk/>
            <pc:sldMk cId="374364369" sldId="413"/>
            <ac:spMk id="23" creationId="{398755E3-11DE-4DE7-84A9-771248D82E97}"/>
          </ac:spMkLst>
        </pc:spChg>
        <pc:spChg chg="add mod">
          <ac:chgData name="Tabea Monz" userId="S::t.monz@tum.de::f46a5392-c507-4495-8454-0a2fbbcf0cda" providerId="AD" clId="Web-{CF45D9DD-9A45-B7F1-075C-709200D94901}" dt="2025-01-14T13:42:43.255" v="1404" actId="20577"/>
          <ac:spMkLst>
            <pc:docMk/>
            <pc:sldMk cId="374364369" sldId="413"/>
            <ac:spMk id="24" creationId="{9EE61C21-2AA6-419B-A73E-1A606DEA4621}"/>
          </ac:spMkLst>
        </pc:spChg>
        <pc:picChg chg="mod">
          <ac:chgData name="Tabea Monz" userId="S::t.monz@tum.de::f46a5392-c507-4495-8454-0a2fbbcf0cda" providerId="AD" clId="Web-{CF45D9DD-9A45-B7F1-075C-709200D94901}" dt="2025-01-14T13:14:40.357" v="617" actId="1076"/>
          <ac:picMkLst>
            <pc:docMk/>
            <pc:sldMk cId="374364369" sldId="413"/>
            <ac:picMk id="7" creationId="{053319C3-33F1-5EED-9B62-C7544179C839}"/>
          </ac:picMkLst>
        </pc:picChg>
        <pc:picChg chg="add mod">
          <ac:chgData name="Tabea Monz" userId="S::t.monz@tum.de::f46a5392-c507-4495-8454-0a2fbbcf0cda" providerId="AD" clId="Web-{CF45D9DD-9A45-B7F1-075C-709200D94901}" dt="2025-01-14T13:34:22.565" v="1083" actId="1076"/>
          <ac:picMkLst>
            <pc:docMk/>
            <pc:sldMk cId="374364369" sldId="413"/>
            <ac:picMk id="14" creationId="{FD7D6C19-F63D-3343-9780-FDDDAA55622A}"/>
          </ac:picMkLst>
        </pc:picChg>
      </pc:sldChg>
      <pc:sldChg chg="del">
        <pc:chgData name="Tabea Monz" userId="S::t.monz@tum.de::f46a5392-c507-4495-8454-0a2fbbcf0cda" providerId="AD" clId="Web-{CF45D9DD-9A45-B7F1-075C-709200D94901}" dt="2025-01-14T14:34:52.832" v="1551"/>
        <pc:sldMkLst>
          <pc:docMk/>
          <pc:sldMk cId="1149059724" sldId="416"/>
        </pc:sldMkLst>
      </pc:sldChg>
      <pc:sldChg chg="del">
        <pc:chgData name="Tabea Monz" userId="S::t.monz@tum.de::f46a5392-c507-4495-8454-0a2fbbcf0cda" providerId="AD" clId="Web-{CF45D9DD-9A45-B7F1-075C-709200D94901}" dt="2025-01-14T11:45:50.827" v="30"/>
        <pc:sldMkLst>
          <pc:docMk/>
          <pc:sldMk cId="1402581481" sldId="417"/>
        </pc:sldMkLst>
      </pc:sldChg>
      <pc:sldChg chg="modSp">
        <pc:chgData name="Tabea Monz" userId="S::t.monz@tum.de::f46a5392-c507-4495-8454-0a2fbbcf0cda" providerId="AD" clId="Web-{CF45D9DD-9A45-B7F1-075C-709200D94901}" dt="2025-01-14T14:50:00.520" v="1621" actId="20577"/>
        <pc:sldMkLst>
          <pc:docMk/>
          <pc:sldMk cId="1748707832" sldId="418"/>
        </pc:sldMkLst>
        <pc:spChg chg="mod">
          <ac:chgData name="Tabea Monz" userId="S::t.monz@tum.de::f46a5392-c507-4495-8454-0a2fbbcf0cda" providerId="AD" clId="Web-{CF45D9DD-9A45-B7F1-075C-709200D94901}" dt="2025-01-14T14:50:00.520" v="1621" actId="20577"/>
          <ac:spMkLst>
            <pc:docMk/>
            <pc:sldMk cId="1748707832" sldId="418"/>
            <ac:spMk id="327" creationId="{00000000-0000-0000-0000-000000000000}"/>
          </ac:spMkLst>
        </pc:spChg>
      </pc:sldChg>
      <pc:sldChg chg="modSp">
        <pc:chgData name="Tabea Monz" userId="S::t.monz@tum.de::f46a5392-c507-4495-8454-0a2fbbcf0cda" providerId="AD" clId="Web-{CF45D9DD-9A45-B7F1-075C-709200D94901}" dt="2025-01-14T12:12:11.287" v="323" actId="1076"/>
        <pc:sldMkLst>
          <pc:docMk/>
          <pc:sldMk cId="1722066996" sldId="420"/>
        </pc:sldMkLst>
        <pc:spChg chg="mod">
          <ac:chgData name="Tabea Monz" userId="S::t.monz@tum.de::f46a5392-c507-4495-8454-0a2fbbcf0cda" providerId="AD" clId="Web-{CF45D9DD-9A45-B7F1-075C-709200D94901}" dt="2025-01-14T12:11:56.567" v="319" actId="14100"/>
          <ac:spMkLst>
            <pc:docMk/>
            <pc:sldMk cId="1722066996" sldId="420"/>
            <ac:spMk id="13" creationId="{37B1975D-5314-EF92-0D9E-E2A606B471A6}"/>
          </ac:spMkLst>
        </pc:spChg>
        <pc:spChg chg="mod">
          <ac:chgData name="Tabea Monz" userId="S::t.monz@tum.de::f46a5392-c507-4495-8454-0a2fbbcf0cda" providerId="AD" clId="Web-{CF45D9DD-9A45-B7F1-075C-709200D94901}" dt="2025-01-14T12:12:04.974" v="322" actId="1076"/>
          <ac:spMkLst>
            <pc:docMk/>
            <pc:sldMk cId="1722066996" sldId="420"/>
            <ac:spMk id="14" creationId="{70D8283B-838F-7304-E20E-E3F94B3F6925}"/>
          </ac:spMkLst>
        </pc:spChg>
        <pc:spChg chg="mod">
          <ac:chgData name="Tabea Monz" userId="S::t.monz@tum.de::f46a5392-c507-4495-8454-0a2fbbcf0cda" providerId="AD" clId="Web-{CF45D9DD-9A45-B7F1-075C-709200D94901}" dt="2025-01-14T12:12:11.287" v="323" actId="1076"/>
          <ac:spMkLst>
            <pc:docMk/>
            <pc:sldMk cId="1722066996" sldId="420"/>
            <ac:spMk id="15" creationId="{D11F5D38-E76B-2625-D4C9-29A036A7C2F9}"/>
          </ac:spMkLst>
        </pc:spChg>
      </pc:sldChg>
      <pc:sldChg chg="addSp delSp modSp add">
        <pc:chgData name="Tabea Monz" userId="S::t.monz@tum.de::f46a5392-c507-4495-8454-0a2fbbcf0cda" providerId="AD" clId="Web-{CF45D9DD-9A45-B7F1-075C-709200D94901}" dt="2025-01-14T12:11:24.207" v="300" actId="14100"/>
        <pc:sldMkLst>
          <pc:docMk/>
          <pc:sldMk cId="3645510430" sldId="438"/>
        </pc:sldMkLst>
      </pc:sldChg>
      <pc:sldChg chg="addSp modSp add replId">
        <pc:chgData name="Tabea Monz" userId="S::t.monz@tum.de::f46a5392-c507-4495-8454-0a2fbbcf0cda" providerId="AD" clId="Web-{CF45D9DD-9A45-B7F1-075C-709200D94901}" dt="2025-01-14T13:49:40.550" v="1550" actId="14100"/>
        <pc:sldMkLst>
          <pc:docMk/>
          <pc:sldMk cId="2283035292" sldId="439"/>
        </pc:sldMkLst>
        <pc:spChg chg="mod">
          <ac:chgData name="Tabea Monz" userId="S::t.monz@tum.de::f46a5392-c507-4495-8454-0a2fbbcf0cda" providerId="AD" clId="Web-{CF45D9DD-9A45-B7F1-075C-709200D94901}" dt="2025-01-14T13:40:24.043" v="1308" actId="1076"/>
          <ac:spMkLst>
            <pc:docMk/>
            <pc:sldMk cId="2283035292" sldId="439"/>
            <ac:spMk id="10" creationId="{9550A66F-F2E4-1942-A8B1-E2E67986ED34}"/>
          </ac:spMkLst>
        </pc:spChg>
        <pc:picChg chg="mod">
          <ac:chgData name="Tabea Monz" userId="S::t.monz@tum.de::f46a5392-c507-4495-8454-0a2fbbcf0cda" providerId="AD" clId="Web-{CF45D9DD-9A45-B7F1-075C-709200D94901}" dt="2025-01-14T13:40:24.043" v="1307" actId="1076"/>
          <ac:picMkLst>
            <pc:docMk/>
            <pc:sldMk cId="2283035292" sldId="439"/>
            <ac:picMk id="13" creationId="{E24A9847-0A6B-F8AF-0BEC-345917925388}"/>
          </ac:picMkLst>
        </pc:picChg>
        <pc:picChg chg="mod">
          <ac:chgData name="Tabea Monz" userId="S::t.monz@tum.de::f46a5392-c507-4495-8454-0a2fbbcf0cda" providerId="AD" clId="Web-{CF45D9DD-9A45-B7F1-075C-709200D94901}" dt="2025-01-14T13:49:01.204" v="1530" actId="1076"/>
          <ac:picMkLst>
            <pc:docMk/>
            <pc:sldMk cId="2283035292" sldId="439"/>
            <ac:picMk id="16" creationId="{BE3F39E9-572F-5E57-1A62-4279A1451959}"/>
          </ac:picMkLst>
        </pc:picChg>
        <pc:picChg chg="mod">
          <ac:chgData name="Tabea Monz" userId="S::t.monz@tum.de::f46a5392-c507-4495-8454-0a2fbbcf0cda" providerId="AD" clId="Web-{CF45D9DD-9A45-B7F1-075C-709200D94901}" dt="2025-01-14T13:48:58.470" v="1529" actId="1076"/>
          <ac:picMkLst>
            <pc:docMk/>
            <pc:sldMk cId="2283035292" sldId="439"/>
            <ac:picMk id="17" creationId="{558120E0-FAED-CBDE-9732-1C43C480678F}"/>
          </ac:picMkLst>
        </pc:picChg>
        <pc:picChg chg="mod">
          <ac:chgData name="Tabea Monz" userId="S::t.monz@tum.de::f46a5392-c507-4495-8454-0a2fbbcf0cda" providerId="AD" clId="Web-{CF45D9DD-9A45-B7F1-075C-709200D94901}" dt="2025-01-14T13:49:03.735" v="1531" actId="1076"/>
          <ac:picMkLst>
            <pc:docMk/>
            <pc:sldMk cId="2283035292" sldId="439"/>
            <ac:picMk id="18" creationId="{D7501EDF-1D35-24AF-8E94-2E87A5FCBD2D}"/>
          </ac:picMkLst>
        </pc:picChg>
        <pc:picChg chg="mod">
          <ac:chgData name="Tabea Monz" userId="S::t.monz@tum.de::f46a5392-c507-4495-8454-0a2fbbcf0cda" providerId="AD" clId="Web-{CF45D9DD-9A45-B7F1-075C-709200D94901}" dt="2025-01-14T13:49:06.266" v="1532" actId="1076"/>
          <ac:picMkLst>
            <pc:docMk/>
            <pc:sldMk cId="2283035292" sldId="439"/>
            <ac:picMk id="19" creationId="{2433D8EE-85E0-0BFC-D575-8B439E22672E}"/>
          </ac:picMkLst>
        </pc:picChg>
      </pc:sldChg>
      <pc:sldChg chg="modSp add replId">
        <pc:chgData name="Tabea Monz" userId="S::t.monz@tum.de::f46a5392-c507-4495-8454-0a2fbbcf0cda" providerId="AD" clId="Web-{CF45D9DD-9A45-B7F1-075C-709200D94901}" dt="2025-01-14T14:56:48.548" v="1782" actId="20577"/>
        <pc:sldMkLst>
          <pc:docMk/>
          <pc:sldMk cId="1009469891" sldId="440"/>
        </pc:sldMkLst>
        <pc:spChg chg="mod">
          <ac:chgData name="Tabea Monz" userId="S::t.monz@tum.de::f46a5392-c507-4495-8454-0a2fbbcf0cda" providerId="AD" clId="Web-{CF45D9DD-9A45-B7F1-075C-709200D94901}" dt="2025-01-14T14:56:41.329" v="1781" actId="14100"/>
          <ac:spMkLst>
            <pc:docMk/>
            <pc:sldMk cId="1009469891" sldId="440"/>
            <ac:spMk id="2" creationId="{BF4A43F6-3684-F5A5-85F1-EEDC996D624E}"/>
          </ac:spMkLst>
        </pc:spChg>
        <pc:spChg chg="mod">
          <ac:chgData name="Tabea Monz" userId="S::t.monz@tum.de::f46a5392-c507-4495-8454-0a2fbbcf0cda" providerId="AD" clId="Web-{CF45D9DD-9A45-B7F1-075C-709200D94901}" dt="2025-01-14T14:56:48.548" v="1782" actId="20577"/>
          <ac:spMkLst>
            <pc:docMk/>
            <pc:sldMk cId="1009469891" sldId="440"/>
            <ac:spMk id="3" creationId="{F6F5A270-E5B3-1C34-7F0A-AEC95FE0FDDA}"/>
          </ac:spMkLst>
        </pc:spChg>
        <pc:spChg chg="mod">
          <ac:chgData name="Tabea Monz" userId="S::t.monz@tum.de::f46a5392-c507-4495-8454-0a2fbbcf0cda" providerId="AD" clId="Web-{CF45D9DD-9A45-B7F1-075C-709200D94901}" dt="2025-01-14T14:50:48.070" v="1624" actId="20577"/>
          <ac:spMkLst>
            <pc:docMk/>
            <pc:sldMk cId="1009469891" sldId="440"/>
            <ac:spMk id="8" creationId="{EAE65E17-24BD-9146-7605-4AD45B45C364}"/>
          </ac:spMkLst>
        </pc:spChg>
        <pc:spChg chg="mod">
          <ac:chgData name="Tabea Monz" userId="S::t.monz@tum.de::f46a5392-c507-4495-8454-0a2fbbcf0cda" providerId="AD" clId="Web-{CF45D9DD-9A45-B7F1-075C-709200D94901}" dt="2025-01-14T14:53:15.831" v="1741" actId="20577"/>
          <ac:spMkLst>
            <pc:docMk/>
            <pc:sldMk cId="1009469891" sldId="440"/>
            <ac:spMk id="9" creationId="{B6B497AA-972B-9F4E-E175-1E7500A7D45E}"/>
          </ac:spMkLst>
        </pc:spChg>
        <pc:spChg chg="mod">
          <ac:chgData name="Tabea Monz" userId="S::t.monz@tum.de::f46a5392-c507-4495-8454-0a2fbbcf0cda" providerId="AD" clId="Web-{CF45D9DD-9A45-B7F1-075C-709200D94901}" dt="2025-01-14T14:51:19.057" v="1628" actId="20577"/>
          <ac:spMkLst>
            <pc:docMk/>
            <pc:sldMk cId="1009469891" sldId="440"/>
            <ac:spMk id="10" creationId="{524DDB5D-2C36-2D8F-EE1D-A2D0A61EFFA9}"/>
          </ac:spMkLst>
        </pc:spChg>
      </pc:sldChg>
      <pc:sldChg chg="modSp add del replId">
        <pc:chgData name="Tabea Monz" userId="S::t.monz@tum.de::f46a5392-c507-4495-8454-0a2fbbcf0cda" providerId="AD" clId="Web-{CF45D9DD-9A45-B7F1-075C-709200D94901}" dt="2025-01-14T13:36:07.244" v="1184"/>
        <pc:sldMkLst>
          <pc:docMk/>
          <pc:sldMk cId="4101531500" sldId="440"/>
        </pc:sldMkLst>
      </pc:sldChg>
    </pc:docChg>
  </pc:docChgLst>
  <pc:docChgLst>
    <pc:chgData name="Ömer Taha Sevimli" userId="S::omer.sevimli@tum.de::d68fb2f4-76b1-4cfc-96e6-800a7d956fcb" providerId="AD" clId="Web-{87A567CD-19D6-685B-2BB8-795103E5B2C8}"/>
    <pc:docChg chg="modSld">
      <pc:chgData name="Ömer Taha Sevimli" userId="S::omer.sevimli@tum.de::d68fb2f4-76b1-4cfc-96e6-800a7d956fcb" providerId="AD" clId="Web-{87A567CD-19D6-685B-2BB8-795103E5B2C8}" dt="2024-11-18T16:00:38.449" v="94" actId="20577"/>
      <pc:docMkLst>
        <pc:docMk/>
      </pc:docMkLst>
      <pc:sldChg chg="modSp">
        <pc:chgData name="Ömer Taha Sevimli" userId="S::omer.sevimli@tum.de::d68fb2f4-76b1-4cfc-96e6-800a7d956fcb" providerId="AD" clId="Web-{87A567CD-19D6-685B-2BB8-795103E5B2C8}" dt="2024-11-18T16:00:38.449" v="94" actId="20577"/>
        <pc:sldMkLst>
          <pc:docMk/>
          <pc:sldMk cId="4118735400" sldId="311"/>
        </pc:sldMkLst>
      </pc:sldChg>
    </pc:docChg>
  </pc:docChgLst>
  <pc:docChgLst>
    <pc:chgData name="Tabea Monz" userId="S::t.monz@tum.de::f46a5392-c507-4495-8454-0a2fbbcf0cda" providerId="AD" clId="Web-{C9768346-FFA5-5190-902F-18EB913A9A98}"/>
    <pc:docChg chg="modSld">
      <pc:chgData name="Tabea Monz" userId="S::t.monz@tum.de::f46a5392-c507-4495-8454-0a2fbbcf0cda" providerId="AD" clId="Web-{C9768346-FFA5-5190-902F-18EB913A9A98}" dt="2025-01-21T07:55:32.479" v="135" actId="1076"/>
      <pc:docMkLst>
        <pc:docMk/>
      </pc:docMkLst>
      <pc:sldChg chg="addSp delSp modSp">
        <pc:chgData name="Tabea Monz" userId="S::t.monz@tum.de::f46a5392-c507-4495-8454-0a2fbbcf0cda" providerId="AD" clId="Web-{C9768346-FFA5-5190-902F-18EB913A9A98}" dt="2025-01-21T07:55:32.479" v="135" actId="1076"/>
        <pc:sldMkLst>
          <pc:docMk/>
          <pc:sldMk cId="2161542675" sldId="443"/>
        </pc:sldMkLst>
        <pc:spChg chg="mod">
          <ac:chgData name="Tabea Monz" userId="S::t.monz@tum.de::f46a5392-c507-4495-8454-0a2fbbcf0cda" providerId="AD" clId="Web-{C9768346-FFA5-5190-902F-18EB913A9A98}" dt="2025-01-21T07:43:13.782" v="42" actId="20577"/>
          <ac:spMkLst>
            <pc:docMk/>
            <pc:sldMk cId="2161542675" sldId="443"/>
            <ac:spMk id="8" creationId="{05F98F18-E122-0D7D-F115-4F947744DAF8}"/>
          </ac:spMkLst>
        </pc:spChg>
        <pc:spChg chg="add mod">
          <ac:chgData name="Tabea Monz" userId="S::t.monz@tum.de::f46a5392-c507-4495-8454-0a2fbbcf0cda" providerId="AD" clId="Web-{C9768346-FFA5-5190-902F-18EB913A9A98}" dt="2025-01-21T07:48:43.996" v="117"/>
          <ac:spMkLst>
            <pc:docMk/>
            <pc:sldMk cId="2161542675" sldId="443"/>
            <ac:spMk id="10" creationId="{D3DCE5C9-309C-EB72-77C5-9F9F7226E956}"/>
          </ac:spMkLst>
        </pc:spChg>
        <pc:spChg chg="add mod">
          <ac:chgData name="Tabea Monz" userId="S::t.monz@tum.de::f46a5392-c507-4495-8454-0a2fbbcf0cda" providerId="AD" clId="Web-{C9768346-FFA5-5190-902F-18EB913A9A98}" dt="2025-01-21T07:48:39.184" v="116" actId="20577"/>
          <ac:spMkLst>
            <pc:docMk/>
            <pc:sldMk cId="2161542675" sldId="443"/>
            <ac:spMk id="11" creationId="{15105156-EA42-4204-7CEA-2C34DDC9F965}"/>
          </ac:spMkLst>
        </pc:spChg>
        <pc:spChg chg="add mod">
          <ac:chgData name="Tabea Monz" userId="S::t.monz@tum.de::f46a5392-c507-4495-8454-0a2fbbcf0cda" providerId="AD" clId="Web-{C9768346-FFA5-5190-902F-18EB913A9A98}" dt="2025-01-21T07:54:56.071" v="130" actId="20577"/>
          <ac:spMkLst>
            <pc:docMk/>
            <pc:sldMk cId="2161542675" sldId="443"/>
            <ac:spMk id="16" creationId="{35575719-D2CF-61D5-E851-E011B87C7DE9}"/>
          </ac:spMkLst>
        </pc:spChg>
        <pc:spChg chg="add mod">
          <ac:chgData name="Tabea Monz" userId="S::t.monz@tum.de::f46a5392-c507-4495-8454-0a2fbbcf0cda" providerId="AD" clId="Web-{C9768346-FFA5-5190-902F-18EB913A9A98}" dt="2025-01-21T07:49:18.763" v="128" actId="1076"/>
          <ac:spMkLst>
            <pc:docMk/>
            <pc:sldMk cId="2161542675" sldId="443"/>
            <ac:spMk id="17" creationId="{06BCB1F9-9216-DDAA-B85B-080B098309C0}"/>
          </ac:spMkLst>
        </pc:spChg>
        <pc:picChg chg="add mod ord">
          <ac:chgData name="Tabea Monz" userId="S::t.monz@tum.de::f46a5392-c507-4495-8454-0a2fbbcf0cda" providerId="AD" clId="Web-{C9768346-FFA5-5190-902F-18EB913A9A98}" dt="2025-01-21T07:55:32.479" v="135" actId="1076"/>
          <ac:picMkLst>
            <pc:docMk/>
            <pc:sldMk cId="2161542675" sldId="443"/>
            <ac:picMk id="3" creationId="{BE94C0F2-1A09-DDED-4BDE-B3708FCB8F1E}"/>
          </ac:picMkLst>
        </pc:picChg>
        <pc:cxnChg chg="add mod">
          <ac:chgData name="Tabea Monz" userId="S::t.monz@tum.de::f46a5392-c507-4495-8454-0a2fbbcf0cda" providerId="AD" clId="Web-{C9768346-FFA5-5190-902F-18EB913A9A98}" dt="2025-01-21T07:45:02.708" v="57" actId="1076"/>
          <ac:cxnSpMkLst>
            <pc:docMk/>
            <pc:sldMk cId="2161542675" sldId="443"/>
            <ac:cxnSpMk id="5" creationId="{E5329174-AC25-9D2F-5612-75B5A28BC1C2}"/>
          </ac:cxnSpMkLst>
        </pc:cxnChg>
        <pc:cxnChg chg="add mod">
          <ac:chgData name="Tabea Monz" userId="S::t.monz@tum.de::f46a5392-c507-4495-8454-0a2fbbcf0cda" providerId="AD" clId="Web-{C9768346-FFA5-5190-902F-18EB913A9A98}" dt="2025-01-21T07:47:30.338" v="106" actId="14100"/>
          <ac:cxnSpMkLst>
            <pc:docMk/>
            <pc:sldMk cId="2161542675" sldId="443"/>
            <ac:cxnSpMk id="13" creationId="{C989B777-85BE-89BC-BAC0-E2ED8FDACA6A}"/>
          </ac:cxnSpMkLst>
        </pc:cxnChg>
        <pc:cxnChg chg="add mod">
          <ac:chgData name="Tabea Monz" userId="S::t.monz@tum.de::f46a5392-c507-4495-8454-0a2fbbcf0cda" providerId="AD" clId="Web-{C9768346-FFA5-5190-902F-18EB913A9A98}" dt="2025-01-21T07:47:55.370" v="110" actId="14100"/>
          <ac:cxnSpMkLst>
            <pc:docMk/>
            <pc:sldMk cId="2161542675" sldId="443"/>
            <ac:cxnSpMk id="14" creationId="{21E7AA92-D03B-CD29-C2DB-1BA4A448FFA5}"/>
          </ac:cxnSpMkLst>
        </pc:cxnChg>
        <pc:cxnChg chg="add mod">
          <ac:chgData name="Tabea Monz" userId="S::t.monz@tum.de::f46a5392-c507-4495-8454-0a2fbbcf0cda" providerId="AD" clId="Web-{C9768346-FFA5-5190-902F-18EB913A9A98}" dt="2025-01-21T07:48:24.902" v="115"/>
          <ac:cxnSpMkLst>
            <pc:docMk/>
            <pc:sldMk cId="2161542675" sldId="443"/>
            <ac:cxnSpMk id="15" creationId="{F134E2CA-A90D-40C8-A794-EA41F0EE2542}"/>
          </ac:cxnSpMkLst>
        </pc:cxnChg>
        <pc:cxnChg chg="add mod">
          <ac:chgData name="Tabea Monz" userId="S::t.monz@tum.de::f46a5392-c507-4495-8454-0a2fbbcf0cda" providerId="AD" clId="Web-{C9768346-FFA5-5190-902F-18EB913A9A98}" dt="2025-01-21T07:55:06.962" v="131"/>
          <ac:cxnSpMkLst>
            <pc:docMk/>
            <pc:sldMk cId="2161542675" sldId="443"/>
            <ac:cxnSpMk id="18" creationId="{56E07693-FC01-2BF3-D345-A92FD5842606}"/>
          </ac:cxnSpMkLst>
        </pc:cxn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29"/>
    </inkml:context>
    <inkml:brush xml:id="br0">
      <inkml:brushProperty name="width" value="0.1" units="cm"/>
      <inkml:brushProperty name="height" value="0.1" units="cm"/>
      <inkml:brushProperty name="color" value="#E71224"/>
    </inkml:brush>
  </inkml:definitions>
  <inkml:trace contextRef="#ctx0" brushRef="#br0">13414 12409 16383 0 0,'5'0'0'0'0,"2"5"0"0"0,4 6 0 0 0,5 2 0 0 0,5 3 0 0 0,-1 3 0 0 0,0 0 0 0 0,3 0 0 0 0,-4 2 0 0 0,1-2 0 0 0,-4 0 0 0 0,-4 2 0 0 0,-5 2 0 0 0,-2-2 0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8"/>
    </inkml:context>
    <inkml:brush xml:id="br0">
      <inkml:brushProperty name="width" value="0.1" units="cm"/>
      <inkml:brushProperty name="height" value="0.1" units="cm"/>
      <inkml:brushProperty name="color" value="#E71224"/>
    </inkml:brush>
  </inkml:definitions>
  <inkml:trace contextRef="#ctx0" brushRef="#br0">19548 12012 16383 0 0,'4'0'0'0'0,"3"5"0"0"0,-1 6 0 0 0,-6 2 0 0 0,-3 3 0 0 0,-6-1 0 0 0,-6-3 0 0 0,-5 1 0 0 0,-5-2 0 0 0,-2 3 0 0 0,3 3 0 0 0,1-1 0 0 0,4 2 0 0 0,1-3 0 0 0,3 2 0 0 0,-1-3 0 0 0,3 6 0 0 0,-1 0 0 0 0,-4-3 0 0 0,-3 0 0 0 0,2 1 0 0 0,4-1 0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9"/>
    </inkml:context>
    <inkml:brush xml:id="br0">
      <inkml:brushProperty name="width" value="0.1" units="cm"/>
      <inkml:brushProperty name="height" value="0.1" units="cm"/>
      <inkml:brushProperty name="color" value="#E71224"/>
    </inkml:brush>
  </inkml:definitions>
  <inkml:trace contextRef="#ctx0" brushRef="#br0">24818 11562 16383 0 0,'0'5'0'0'0,"0"6"0"0"0,0 7 0 0 0,0 9 0 0 0,5 1 0 0 0,1-1 0 0 0,0 2 0 0 0,4-6 0 0 0,5-1 0 0 0,0 0 0 0 0,2-3 0 0 0,3-5 0 0 0,-2 0 0 0 0,2-3 0 0 0,1-3 0 0 0,-3 3 0 0 0,1-2 0 0 0,2-2 0 0 0,2 3 0 0 0,2 5 0 0 0,1-1 0 0 0,-3-2 0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0"/>
    </inkml:context>
    <inkml:brush xml:id="br0">
      <inkml:brushProperty name="width" value="0.1" units="cm"/>
      <inkml:brushProperty name="height" value="0.1" units="cm"/>
      <inkml:brushProperty name="color" value="#E71224"/>
    </inkml:brush>
  </inkml:definitions>
  <inkml:trace contextRef="#ctx0" brushRef="#br0">25038 11509 16383 0 0,'0'5'0'0'0,"0"7"0"0"0,0 5 0 0 0,-5 0 0 0 0,-1 3 0 0 0,0 2 0 0 0,1 2 0 0 0,-4-2 0 0 0,-4-1 0 0 0,-1 6 0 0 0,-2-2 0 0 0,1 0 0 0 0,-2-4 0 0 0,3-6 0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1"/>
    </inkml:context>
    <inkml:brush xml:id="br0">
      <inkml:brushProperty name="width" value="0.1" units="cm"/>
      <inkml:brushProperty name="height" value="0.1" units="cm"/>
      <inkml:brushProperty name="color" value="#E71224"/>
    </inkml:brush>
  </inkml:definitions>
  <inkml:trace contextRef="#ctx0" brushRef="#br0">16563 18494 16383 0 0,'5'0'0'0'0,"6"0"0"0"0,2 5 0 0 0,3 7 0 0 0,3 0 0 0 0,0 4 0 0 0,0-1 0 0 0,-2 2 0 0 0,-5 2 0 0 0,1-1 0 0 0,-2 1 0 0 0,-3 1 0 0 0,-2 4 0 0 0,-3 1 0 0 0,-2 2 0 0 0,0 1 0 0 0,-2 0 0 0 0,6-4 0 0 0,0-1 0 0 0,1-1 0 0 0,4-3 0 0 0,-1 0 0 0 0,4-3 0 0 0,5-5 0 0 0,-2 1 0 0 0,2-2 0 0 0,3-2 0 0 0,-2-3 0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2"/>
    </inkml:context>
    <inkml:brush xml:id="br0">
      <inkml:brushProperty name="width" value="0.1" units="cm"/>
      <inkml:brushProperty name="height" value="0.1" units="cm"/>
      <inkml:brushProperty name="color" value="#E71224"/>
    </inkml:brush>
  </inkml:definitions>
  <inkml:trace contextRef="#ctx0" brushRef="#br0">16846 18547 16383 0 0,'-5'0'0'0'0,"-1"5"0"0"0,0 6 0 0 0,-4 2 0 0 0,0 3 0 0 0,1 4 0 0 0,-2 3 0 0 0,1 3 0 0 0,-3-4 0 0 0,0 0 0 0 0,-1 1 0 0 0,0 2 0 0 0,-1-4 0 0 0,-3-6 0 0 0,1 0 0 0 0,-1 2 0 0 0,2 4 0 0 0,-1 2 0 0 0,-2 2 0 0 0,2-3 0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3"/>
    </inkml:context>
    <inkml:brush xml:id="br0">
      <inkml:brushProperty name="width" value="0.1" units="cm"/>
      <inkml:brushProperty name="height" value="0.1" units="cm"/>
      <inkml:brushProperty name="color" value="#E71224"/>
    </inkml:brush>
  </inkml:definitions>
  <inkml:trace contextRef="#ctx0" brushRef="#br0">22278 18653 16383 0 0,'5'0'0'0'0,"6"0"0"0"0,2 5 0 0 0,3 1 0 0 0,-1 5 0 0 0,1 1 0 0 0,4 2 0 0 0,2 5 0 0 0,-1 3 0 0 0,-6 3 0 0 0,1-3 0 0 0,-3 0 0 0 0,1-4 0 0 0,-2 0 0 0 0,-3 2 0 0 0,3-3 0 0 0,-2-4 0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4"/>
    </inkml:context>
    <inkml:brush xml:id="br0">
      <inkml:brushProperty name="width" value="0.1" units="cm"/>
      <inkml:brushProperty name="height" value="0.1" units="cm"/>
      <inkml:brushProperty name="color" value="#E71224"/>
    </inkml:brush>
  </inkml:definitions>
  <inkml:trace contextRef="#ctx0" brushRef="#br0">22590 18601 16383 0 0,'0'-5'0'0'0,"0"3"0"0"0,-5 3 0 0 0,-1 5 0 0 0,-5 6 0 0 0,0 7 0 0 0,-4 0 0 0 0,-3 1 0 0 0,-5 2 0 0 0,-2-2 0 0 0,3 0 0 0 0,0 1 0 0 0,4 2 0 0 0,0-2 0 0 0,4-1 0 0 0,-2-3 0 0 0,3 0 0 0 0,-2 2 0 0 0,2 3 0 0 0,3 2 0 0 0,-1 2 0 0 0,0-3 0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45"/>
    </inkml:context>
    <inkml:brush xml:id="br0">
      <inkml:brushProperty name="width" value="0.1" units="cm"/>
      <inkml:brushProperty name="height" value="0.1" units="cm"/>
      <inkml:brushProperty name="color" value="#E71224"/>
    </inkml:brush>
  </inkml:definitions>
  <inkml:trace contextRef="#ctx0" brushRef="#br0">9604 16140 16383 0 0,'0'0'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567"/>
    </inkml:context>
    <inkml:brush xml:id="br0">
      <inkml:brushProperty name="width" value="0.1" units="cm"/>
      <inkml:brushProperty name="height" value="0.1" units="cm"/>
      <inkml:brushProperty name="color" value="#E71224"/>
    </inkml:brush>
  </inkml:definitions>
  <inkml:trace contextRef="#ctx0" brushRef="#br0">21802 4183 16383 0 0,'4'-5'0'0'0,"5"-2"0"0"0,4 1 0 0 0,6 1 0 0 0,2 2 0 0 0,5 0 0 0 0,2 2 0 0 0,1 1 0 0 0,-1 0 0 0 0,-6 5 0 0 0,-2 2 0 0 0,0-1 0 0 0,-1 4 0 0 0,-2 5 0 0 0,-2 0 0 0 0,2 2 0 0 0,1-2 0 0 0,-2 2 0 0 0,0-2 0 0 0,1-4 0 0 0,-3 1 0 0 0,2-1 0 0 0,0 2 0 0 0,2 3 0 0 0,2 0 0 0 0,-2 2 0 0 0,-2-3 0 0 0,-1 2 0 0 0,-1 2 0 0 0,1 3 0 0 0,2-2 0 0 0,-1 0 0 0 0,0-4 0 0 0,-3 2 0 0 0,1 1 0 0 0,1 3 0 0 0,2-3 0 0 0,-1 1 0 0 0,0-3 0 0 0,-3 0 0 0 0,-3 2 0 0 0,0-2 0 0 0,-1 1 0 0 0,1-3 0 0 0,4 1 0 0 0,2-2 0 0 0,-1 6 0 0 0,1 0 0 0 0,-3 1 0 0 0,1-3 0 0 0,-2 1 0 0 0,0 1 0 0 0,3 3 0 0 0,-2 2 0 0 0,1-4 0 0 0,-2 5 0 0 0,2-2 0 0 0,1-5 0 0 0,-1-1 0 0 0,0 1 0 0 0,2 2 0 0 0,-1 3 0 0 0,-1-3 0 0 0,3 0 0 0 0,1 1 0 0 0,-2 2 0 0 0,0-4 0 0 0,2 0 0 0 0,1-3 0 0 0,-3 0 0 0 0,0-3 0 0 0,-2 2 0 0 0,-4 2 0 0 0,0-2 0 0 0,-1 1 0 0 0,0-1 0 0 0,5 0 0 0 0,2 3 0 0 0,-1 3 0 0 0,1-3 0 0 0,2 1 0 0 0,0-3 0 0 0,-1 0 0 0 0,0 3 0 0 0,-3 1 0 0 0,-1-1 0 0 0,2 0 0 0 0,3 1 0 0 0,1-2 0 0 0,-1 0 0 0 0,-1-3 0 0 0,0 0 0 0 0,2 3 0 0 0,1-2 0 0 0,-2 0 0 0 0,-1-1 0 0 0,1 0 0 0 0,1-2 0 0 0,-2 1 0 0 0,-1 3 0 0 0,0 4 0 0 0,4-3 0 0 0,0-4 0 0 0,-3 0 0 0 0,0-2 0 0 0,-3 1 0 0 0,-1 3 0 0 0,6 4 0 0 0,5-2 0 0 0,-4 1 0 0 0,0 1 0 0 0,0-2 0 0 0,0 0 0 0 0,5-3 0 0 0,2 1 0 0 0,0 2 0 0 0,3-2 0 0 0,-2 0 0 0 0,-4 4 0 0 0,-1-4 0 0 0,-1-3 0 0 0,0 0 0 0 0,0-2 0 0 0,0-3 0 0 0,0 1 0 0 0,1 0 0 0 0,-1-2 0 0 0,-2 2 0 0 0,-3-1 0 0 0,1 4 0 0 0,1-1 0 0 0,1-2 0 0 0,-3 1 0 0 0,0 0 0 0 0,0 2 0 0 0,2 4 0 0 0,2-1 0 0 0,-5 2 0 0 0,2-2 0 0 0,0-5 0 0 0,0-3 0 0 0,-1 2 0 0 0,-1-2 0 0 0,1-1 0 0 0,2-2 0 0 0,-3 3 0 0 0,0-1 0 0 0,1 0 0 0 0,6-2 0 0 0,-1 3 0 0 0,-2 0 0 0 0,2-1 0 0 0,0-2 0 0 0,-1-1 0 0 0,2-3 0 0 0,-1 5 0 0 0,0 1 0 0 0,2-1 0 0 0,-2-2 0 0 0,1-1 0 0 0,1-1 0 0 0,-2-1 0 0 0,5 0 0 0 0,1-1 0 0 0,-1-1 0 0 0,1 1 0 0 0,-3 0 0 0 0,-1 0 0 0 0,0-1 0 0 0,0 1 0 0 0,-1 0 0 0 0,-1 0 0 0 0,1 0 0 0 0,-1 0 0 0 0,1 0 0 0 0,4 0 0 0 0,1 0 0 0 0,-1 0 0 0 0,0 0 0 0 0,-1 0 0 0 0,2 0 0 0 0,1 0 0 0 0,-1 0 0 0 0,3 0 0 0 0,-1 0 0 0 0,0 0 0 0 0,-3 0 0 0 0,-5 0 0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568"/>
    </inkml:context>
    <inkml:brush xml:id="br0">
      <inkml:brushProperty name="width" value="0.1" units="cm"/>
      <inkml:brushProperty name="height" value="0.1" units="cm"/>
      <inkml:brushProperty name="color" value="#E71224"/>
    </inkml:brush>
  </inkml:definitions>
  <inkml:trace contextRef="#ctx0" brushRef="#br0">21590 6906 16383 0 0,'4'0'0'0'0,"4"0"0"0"0,6 0 0 0 0,2 0 0 0 0,4 0 0 0 0,5 0 0 0 0,2 4 0 0 0,0 2 0 0 0,-1 0 0 0 0,-4 4 0 0 0,0-1 0 0 0,2-1 0 0 0,-1 2 0 0 0,-4 4 0 0 0,-1 1 0 0 0,2-4 0 0 0,4 2 0 0 0,-1-1 0 0 0,-2 1 0 0 0,-3-2 0 0 0,4-1 0 0 0,1 1 0 0 0,2 3 0 0 0,2 0 0 0 0,1-3 0 0 0,3 1 0 0 0,0 4 0 0 0,-1-1 0 0 0,-7 1 0 0 0,-2-2 0 0 0,-2-3 0 0 0,-1 1 0 0 0,1-2 0 0 0,0 3 0 0 0,2-2 0 0 0,-4 2 0 0 0,-4 4 0 0 0,-1-1 0 0 0,1-3 0 0 0,-1 0 0 0 0,0-2 0 0 0,3-2 0 0 0,-2 6 0 0 0,0 0 0 0 0,-1 3 0 0 0,4 2 0 0 0,0 4 0 0 0,0-4 0 0 0,-2 0 0 0 0,0-3 0 0 0,-2-1 0 0 0,0 3 0 0 0,2 1 0 0 0,-1 3 0 0 0,0-3 0 0 0,-2 0 0 0 0,2 1 0 0 0,-2 2 0 0 0,0 2 0 0 0,3-5 0 0 0,-1 0 0 0 0,0 1 0 0 0,-1 2 0 0 0,0 1 0 0 0,-2 1 0 0 0,3-4 0 0 0,0-5 0 0 0,0-1 0 0 0,-3 3 0 0 0,1 0 0 0 0,-3 9 0 0 0,2-1 0 0 0,0-1 0 0 0,1 1 0 0 0,-1-1 0 0 0,1 2 0 0 0,3 0 0 0 0,-1-1 0 0 0,0 2 0 0 0,2-7 0 0 0,-1 0 0 0 0,1-4 0 0 0,-3-1 0 0 0,0 2 0 0 0,-1 2 0 0 0,-3 3 0 0 0,1-3 0 0 0,2 0 0 0 0,0 6 0 0 0,2-2 0 0 0,-3 0 0 0 0,2-5 0 0 0,-1 0 0 0 0,-3 1 0 0 0,1 2 0 0 0,3-3 0 0 0,-1-1 0 0 0,-2 2 0 0 0,1-2 0 0 0,-2 4 0 0 0,3 4 0 0 0,2 0 0 0 0,-1 3 0 0 0,2-1 0 0 0,-3 1 0 0 0,2-1 0 0 0,-2 0 0 0 0,-3-1 0 0 0,1-4 0 0 0,-1-2 0 0 0,-2 0 0 0 0,2 1 0 0 0,-1 2 0 0 0,3 1 0 0 0,3-4 0 0 0,-1 4 0 0 0,1 3 0 0 0,-1 0 0 0 0,-3 1 0 0 0,1-6 0 0 0,-2-1 0 0 0,2 1 0 0 0,-1 0 0 0 0,-2 0 0 0 0,-2 2 0 0 0,2 2 0 0 0,-1-1 0 0 0,3 1 0 0 0,-1 0 0 0 0,3 0 0 0 0,3-4 0 0 0,-2 2 0 0 0,2 3 0 0 0,-2 0 0 0 0,0 1 0 0 0,0-1 0 0 0,-1 0 0 0 0,0 0 0 0 0,0-5 0 0 0,-1-2 0 0 0,-2-1 0 0 0,1-2 0 0 0,-1 0 0 0 0,-2 1 0 0 0,2-2 0 0 0,-1 0 0 0 0,-1 2 0 0 0,2-2 0 0 0,-1 0 0 0 0,3-2 0 0 0,2 0 0 0 0,1 3 0 0 0,0 3 0 0 0,3-3 0 0 0,-2 1 0 0 0,0 2 0 0 0,-2 1 0 0 0,1 2 0 0 0,2 2 0 0 0,-3-1 0 0 0,2 3 0 0 0,-3-1 0 0 0,2-4 0 0 0,1-7 0 0 0,-1 0 0 0 0,0 1 0 0 0,3 2 0 0 0,-3 2 0 0 0,2 3 0 0 0,-3 2 0 0 0,0-5 0 0 0,2 1 0 0 0,-1 0 0 0 0,1-4 0 0 0,-3 0 0 0 0,1-4 0 0 0,3 2 0 0 0,1-3 0 0 0,0 1 0 0 0,-5 3 0 0 0,0-1 0 0 0,-2 0 0 0 0,2-1 0 0 0,-1 1 0 0 0,0 2 0 0 0,0 3 0 0 0,2-3 0 0 0,-2 1 0 0 0,1-3 0 0 0,-1 0 0 0 0,1 2 0 0 0,4 3 0 0 0,-3 2 0 0 0,1 2 0 0 0,3 2 0 0 0,2-6 0 0 0,-3 1 0 0 0,1-5 0 0 0,-3-1 0 0 0,-4 2 0 0 0,1-1 0 0 0,1-5 0 0 0,4 0 0 0 0,-1 4 0 0 0,0-2 0 0 0,-2 2 0 0 0,1 3 0 0 0,-2 2 0 0 0,1 2 0 0 0,1 3 0 0 0,4 0 0 0 0,-2 1 0 0 0,0-3 0 0 0,1-3 0 0 0,-2 0 0 0 0,0-3 0 0 0,2 0 0 0 0,2 1 0 0 0,-3 3 0 0 0,0 1 0 0 0,-2 3 0 0 0,0-6 0 0 0,1 1 0 0 0,-1 1 0 0 0,1 1 0 0 0,-3 1 0 0 0,1-4 0 0 0,-1 0 0 0 0,0-4 0 0 0,4 1 0 0 0,-3 1 0 0 0,1-2 0 0 0,-1 1 0 0 0,4 2 0 0 0,3 2 0 0 0,-1 2 0 0 0,-1-2 0 0 0,-2-1 0 0 0,-1-3 0 0 0,1-1 0 0 0,2-2 0 0 0,1 1 0 0 0,-1 2 0 0 0,-1-1 0 0 0,0-5 0 0 0,-1 3 0 0 0,-1-3 0 0 0,1-4 0 0 0,3 4 0 0 0,1-2 0 0 0,0-2 0 0 0,3-1 0 0 0,-5 1 0 0 0,-3 1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0"/>
    </inkml:context>
    <inkml:brush xml:id="br0">
      <inkml:brushProperty name="width" value="0.1" units="cm"/>
      <inkml:brushProperty name="height" value="0.1" units="cm"/>
      <inkml:brushProperty name="color" value="#E71224"/>
    </inkml:brush>
  </inkml:definitions>
  <inkml:trace contextRef="#ctx0" brushRef="#br0">13610 12383 16383 0 0,'0'4'0'0'0,"0"8"0"0"0,0 5 0 0 0,0 5 0 0 0,0 4 0 0 0,0 2 0 0 0,0 2 0 0 0,-5-5 0 0 0,-6-7 0 0 0,-1-1 0 0 0,-9-4 0 0 0,-1 1 0 0 0,0-1 0 0 0,2 0 0 0 0,0 0 0 0 0,4-4 0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569"/>
    </inkml:context>
    <inkml:brush xml:id="br0">
      <inkml:brushProperty name="width" value="0.1" units="cm"/>
      <inkml:brushProperty name="height" value="0.1" units="cm"/>
      <inkml:brushProperty name="color" value="#E71224"/>
    </inkml:brush>
  </inkml:definitions>
  <inkml:trace contextRef="#ctx0" brushRef="#br0">21775 10223 16383 0 0,'4'0'0'0'0,"5"0"0"0"0,6 0 0 0 0,2 0 0 0 0,9 0 0 0 0,1 0 0 0 0,3 0 0 0 0,-2 0 0 0 0,3 0 0 0 0,0-5 0 0 0,-2-6 0 0 0,3-2 0 0 0,-1 2 0 0 0,-1 3 0 0 0,-1 2 0 0 0,1-2 0 0 0,0 0 0 0 0,-2 1 0 0 0,3 2 0 0 0,0 2 0 0 0,-1-3 0 0 0,2-6 0 0 0,-1-1 0 0 0,-1 2 0 0 0,2 3 0 0 0,-1 3 0 0 0,3-3 0 0 0,-1 0 0 0 0,2 1 0 0 0,-2 3 0 0 0,-1 1 0 0 0,-3 1 0 0 0,-6-4 0 0 0,0 0 0 0 0,2 0 0 0 0,-2 1 0 0 0,2 2 0 0 0,-6-4 0 0 0,0 0 0 0 0,-1-4 0 0 0,1-1 0 0 0,1 3 0 0 0,-2-3 0 0 0,-1 1 0 0 0,0-2 0 0 0,2 1 0 0 0,2-3 0 0 0,-4-3 0 0 0,1 1 0 0 0,-4-1 0 0 0,0 2 0 0 0,-3-1 0 0 0,5 3 0 0 0,1-1 0 0 0,0 1 0 0 0,-3-1 0 0 0,1 2 0 0 0,1-2 0 0 0,3 2 0 0 0,-3-2 0 0 0,0-4 0 0 0,-3-2 0 0 0,1 1 0 0 0,-2 0 0 0 0,1 3 0 0 0,1 0 0 0 0,3-7 0 0 0,3-5 0 0 0,2-1 0 0 0,0-1 0 0 0,1-1 0 0 0,1 2 0 0 0,-1 0 0 0 0,-3 0 0 0 0,-1 1 0 0 0,-2 5 0 0 0,3 2 0 0 0,-4 0 0 0 0,0-1 0 0 0,2-2 0 0 0,-3-1 0 0 0,0-2 0 0 0,2 5 0 0 0,-4 1 0 0 0,3 4 0 0 0,-4 1 0 0 0,2 3 0 0 0,-4-1 0 0 0,3-3 0 0 0,2-3 0 0 0,2-8 0 0 0,3 1 0 0 0,-3 1 0 0 0,1 0 0 0 0,0 4 0 0 0,-2 2 0 0 0,-5-1 0 0 0,0 3 0 0 0,-1 1 0 0 0,2-2 0 0 0,-3-3 0 0 0,3 4 0 0 0,1-1 0 0 0,1-2 0 0 0,0 4 0 0 0,-1-1 0 0 0,-4-2 0 0 0,-2-1 0 0 0,1 1 0 0 0,-2 1 0 0 0,4 4 0 0 0,-1-1 0 0 0,2 2 0 0 0,0-5 0 0 0,1 0 0 0 0,-2-1 0 0 0,3 3 0 0 0,-2 0 0 0 0,-2-2 0 0 0,0 2 0 0 0,4 5 0 0 0,-1-1 0 0 0,1 2 0 0 0,-1-1 0 0 0,1 0 0 0 0,-1-1 0 0 0,1-3 0 0 0,1 0 0 0 0,0-1 0 0 0,1 3 0 0 0,1-2 0 0 0,3 3 0 0 0,1-1 0 0 0,-2-4 0 0 0,-4-2 0 0 0,-1 1 0 0 0,-3 0 0 0 0,2-1 0 0 0,1 2 0 0 0,0 0 0 0 0,-3-2 0 0 0,1 3 0 0 0,-2-1 0 0 0,3-1 0 0 0,2-3 0 0 0,3 3 0 0 0,-2 0 0 0 0,-3-2 0 0 0,1-1 0 0 0,1-3 0 0 0,3 0 0 0 0,-2-2 0 0 0,-3 0 0 0 0,0 4 0 0 0,-2 1 0 0 0,1 1 0 0 0,-1-7 0 0 0,2 2 0 0 0,-2 1 0 0 0,-2 0 0 0 0,2-1 0 0 0,-1 0 0 0 0,1-1 0 0 0,3 5 0 0 0,0 1 0 0 0,-2 0 0 0 0,0-2 0 0 0,-1-1 0 0 0,1 3 0 0 0,0 1 0 0 0,-4 0 0 0 0,-1-3 0 0 0,1 4 0 0 0,0-1 0 0 0,-2-5 0 0 0,3 1 0 0 0,0 0 0 0 0,2 0 0 0 0,-1-1 0 0 0,0-1 0 0 0,0 4 0 0 0,0 1 0 0 0,2 0 0 0 0,3 3 0 0 0,-1 0 0 0 0,-3-1 0 0 0,2-2 0 0 0,1 2 0 0 0,0 0 0 0 0,-3-1 0 0 0,-3-3 0 0 0,1 4 0 0 0,3-1 0 0 0,5 0 0 0 0,-3-3 0 0 0,3 4 0 0 0,-3 0 0 0 0,1 3 0 0 0,2 0 0 0 0,-2-2 0 0 0,-3-3 0 0 0,0 3 0 0 0,-2-1 0 0 0,3 4 0 0 0,-3-1 0 0 0,3 2 0 0 0,2 0 0 0 0,4-3 0 0 0,-2-4 0 0 0,0 3 0 0 0,2-1 0 0 0,1 4 0 0 0,2-1 0 0 0,-3-3 0 0 0,-1 3 0 0 0,-3-1 0 0 0,-3 3 0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582"/>
    </inkml:context>
    <inkml:brush xml:id="br0">
      <inkml:brushProperty name="width" value="0.1" units="cm"/>
      <inkml:brushProperty name="height" value="0.1" units="cm"/>
      <inkml:brushProperty name="color" value="#E71224"/>
    </inkml:brush>
  </inkml:definitions>
  <inkml:trace contextRef="#ctx0" brushRef="#br0">21908 13569 16383 0 0,'3'0'0'0'0,"3"-5"0"0"0,3-1 0 0 0,4 0 0 0 0,1-4 0 0 0,0 0 0 0 0,4-3 0 0 0,2-5 0 0 0,1 2 0 0 0,-3-2 0 0 0,0 2 0 0 0,-3-1 0 0 0,-1 2 0 0 0,7 0 0 0 0,-2-4 0 0 0,1 2 0 0 0,-4 0 0 0 0,0 1 0 0 0,1 5 0 0 0,-2-2 0 0 0,1 2 0 0 0,0-2 0 0 0,-2-4 0 0 0,6 2 0 0 0,2-3 0 0 0,2 3 0 0 0,0-1 0 0 0,1-4 0 0 0,0-2 0 0 0,0 3 0 0 0,-6-1 0 0 0,0 3 0 0 0,0-1 0 0 0,0-1 0 0 0,2 2 0 0 0,-3-1 0 0 0,-1 3 0 0 0,-3-1 0 0 0,0 2 0 0 0,1-1 0 0 0,-1-4 0 0 0,1-2 0 0 0,-2-3 0 0 0,0-3 0 0 0,3 4 0 0 0,-3 1 0 0 0,2 4 0 0 0,-2 1 0 0 0,0-3 0 0 0,3-2 0 0 0,2 3 0 0 0,-2-1 0 0 0,0 4 0 0 0,-2-1 0 0 0,0-2 0 0 0,2-3 0 0 0,2-2 0 0 0,3 3 0 0 0,0-1 0 0 0,-2 0 0 0 0,-1 3 0 0 0,0 0 0 0 0,-1-2 0 0 0,-1 3 0 0 0,-4 0 0 0 0,2-2 0 0 0,1-3 0 0 0,3 3 0 0 0,-2 0 0 0 0,0 3 0 0 0,-3 0 0 0 0,1-2 0 0 0,-1-3 0 0 0,-1-2 0 0 0,3-2 0 0 0,-1-2 0 0 0,0 4 0 0 0,-1 2 0 0 0,-4-1 0 0 0,2-1 0 0 0,2 4 0 0 0,-1-1 0 0 0,-2 0 0 0 0,0-2 0 0 0,0-7 0 0 0,1 2 0 0 0,-1 1 0 0 0,-2-1 0 0 0,1 6 0 0 0,0 1 0 0 0,-2-1 0 0 0,1-1 0 0 0,1-2 0 0 0,-3-6 0 0 0,2 2 0 0 0,1 1 0 0 0,-3 1 0 0 0,3 0 0 0 0,3 4 0 0 0,0 2 0 0 0,-2-6 0 0 0,1-3 0 0 0,-1-1 0 0 0,1 5 0 0 0,-1 2 0 0 0,3-1 0 0 0,-3 1 0 0 0,3-2 0 0 0,-2-1 0 0 0,-2 0 0 0 0,1 4 0 0 0,2 1 0 0 0,0-1 0 0 0,2 0 0 0 0,-2-3 0 0 0,1 0 0 0 0,-1-1 0 0 0,1-2 0 0 0,2-4 0 0 0,-1-2 0 0 0,1 0 0 0 0,1 1 0 0 0,-1-3 0 0 0,1 0 0 0 0,1 1 0 0 0,-2 2 0 0 0,-4 2 0 0 0,-3 1 0 0 0,0 7 0 0 0,0 2 0 0 0,-3-1 0 0 0,4 0 0 0 0,2-6 0 0 0,1-4 0 0 0,1 0 0 0 0,-1 0 0 0 0,1 1 0 0 0,-1 2 0 0 0,-3 0 0 0 0,1 5 0 0 0,-1 3 0 0 0,-2 0 0 0 0,2-2 0 0 0,-2-1 0 0 0,4-1 0 0 0,-1-6 0 0 0,1 3 0 0 0,4 1 0 0 0,-1 0 0 0 0,-3 1 0 0 0,1-1 0 0 0,-2 1 0 0 0,-2-1 0 0 0,0 0 0 0 0,0-1 0 0 0,3 1 0 0 0,-1-1 0 0 0,1 1 0 0 0,0-1 0 0 0,-3 1 0 0 0,2-1 0 0 0,-1 0 0 0 0,-2 1 0 0 0,2 4 0 0 0,-1 2 0 0 0,-1 0 0 0 0,-3-2 0 0 0,3 4 0 0 0,3 5 0 0 0,2 0 0 0 0,-3-6 0 0 0,2-1 0 0 0,-2-1 0 0 0,-2-1 0 0 0,-1-2 0 0 0,1 4 0 0 0,0 1 0 0 0,-2-1 0 0 0,3-2 0 0 0,0-1 0 0 0,-2-2 0 0 0,3 4 0 0 0,0 2 0 0 0,-3-2 0 0 0,3-1 0 0 0,-1-1 0 0 0,-1-6 0 0 0,1 1 0 0 0,1 3 0 0 0,-3-1 0 0 0,-1 1 0 0 0,2-1 0 0 0,4 5 0 0 0,0 2 0 0 0,-2-6 0 0 0,2 2 0 0 0,-2 0 0 0 0,-2 0 0 0 0,-1-1 0 0 0,1-1 0 0 0,0 0 0 0 0,-2-1 0 0 0,4 0 0 0 0,-2-1 0 0 0,0-4 0 0 0,2 2 0 0 0,-1 3 0 0 0,-2 0 0 0 0,3 1 0 0 0,3 0 0 0 0,0 0 0 0 0,-2-1 0 0 0,-3-5 0 0 0,1 3 0 0 0,1 2 0 0 0,-4 1 0 0 0,-1-1 0 0 0,3 6 0 0 0,0 1 0 0 0,-2-1 0 0 0,0-1 0 0 0,1-2 0 0 0,1-1 0 0 0,-1-1 0 0 0,2-1 0 0 0,-1-1 0 0 0,0 0 0 0 0,2 5 0 0 0,-1 2 0 0 0,-1-1 0 0 0,2 5 0 0 0,-1-1 0 0 0,-1-1 0 0 0,2 2 0 0 0,2 0 0 0 0,2-2 0 0 0,-3-3 0 0 0,0 3 0 0 0,0 0 0 0 0,2 4 0 0 0,-2-1 0 0 0,-2-3 0 0 0,2-1 0 0 0,2-4 0 0 0,1-1 0 0 0,0-2 0 0 0,-1 0 0 0 0,1-1 0 0 0,3 0 0 0 0,2 0 0 0 0,-1 0 0 0 0,-1 5 0 0 0,-2 2 0 0 0,0 4 0 0 0,-1 1 0 0 0,-4-2 0 0 0,0-2 0 0 0,3 2 0 0 0,1-5 0 0 0,0 1 0 0 0,-1 0 0 0 0,-3-1 0 0 0,1 4 0 0 0,-1 0 0 0 0,-2-2 0 0 0,2-1 0 0 0,3 3 0 0 0,0 0 0 0 0,1 3 0 0 0,0 0 0 0 0,-4-2 0 0 0,1 3 0 0 0,-1-2 0 0 0,-2-2 0 0 0,-2-3 0 0 0,2 3 0 0 0,-1 0 0 0 0,4-2 0 0 0,-1-1 0 0 0,-1-3 0 0 0,1 0 0 0 0,0-2 0 0 0,-2-1 0 0 0,-2 1 0 0 0,2 4 0 0 0,-1 1 0 0 0,0 0 0 0 0,2 5 0 0 0,4 4 0 0 0,0 0 0 0 0,-3-2 0 0 0,3-4 0 0 0,-2-3 0 0 0,1 3 0 0 0,-1-1 0 0 0,-1-1 0 0 0,-4-2 0 0 0,-1-2 0 0 0,1-1 0 0 0,1 0 0 0 0,-1 3 0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1-31T10:08:49.039"/>
    </inkml:context>
    <inkml:brush xml:id="br0">
      <inkml:brushProperty name="width" value="0.1" units="cm"/>
      <inkml:brushProperty name="height" value="0.1" units="cm"/>
      <inkml:brushProperty name="color" value="#97453F"/>
    </inkml:brush>
  </inkml:definitions>
  <inkml:trace contextRef="#ctx0" brushRef="#br0">14593 10055 16383 0 0,'4'0'0'0'0,"5"1"0"0"0,6-1 0 0 0,11 0 0 0 0,6 0 0 0 0,6 1 0 0 0,0 0 0 0 0,6-1 0 0 0,-1 2 0 0 0,-4-2 0 0 0,-3 0 0 0 0,-5 1 0 0 0,-4-1 0 0 0,3 1 0 0 0,-1-1 0 0 0,-1 1 0 0 0,3-1 0 0 0,1 1 0 0 0,-2-1 0 0 0,-3 1 0 0 0,1-1 0 0 0,-3 0 0 0 0,3 1 0 0 0,6 0 0 0 0,4-1 0 0 0,0 1 0 0 0,-2 0 0 0 0,-4-1 0 0 0,-3 0 0 0 0,2 1 0 0 0,-1 0 0 0 0,-1-1 0 0 0,-1 0 0 0 0,-2 1 0 0 0,-1 0 0 0 0,-5-1 0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0"/>
    </inkml:context>
    <inkml:brush xml:id="br0">
      <inkml:brushProperty name="width" value="0.1" units="cm"/>
      <inkml:brushProperty name="height" value="0.1" units="cm"/>
      <inkml:brushProperty name="color" value="#E71224"/>
    </inkml:brush>
  </inkml:definitions>
  <inkml:trace contextRef="#ctx0" brushRef="#br0">21696 14340 16383 0 0,'4'0'0'0'0,"1"4"0"0"0,4 5 0 0 0,0 5 0 0 0,6 8 0 0 0,1 4 0 0 0,2 5 0 0 0,1 2 0 0 0,-3-2 0 0 0,1-5 0 0 0,-4-4 0 0 0,1-1 0 0 0,1-5 0 0 0,3-5 0 0 0,1-4 0 0 0,2 1 0 0 0,1 2 0 0 0,-3 0 0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1"/>
    </inkml:context>
    <inkml:brush xml:id="br0">
      <inkml:brushProperty name="width" value="0.1" units="cm"/>
      <inkml:brushProperty name="height" value="0.1" units="cm"/>
      <inkml:brushProperty name="color" value="#E71224"/>
    </inkml:brush>
  </inkml:definitions>
  <inkml:trace contextRef="#ctx0" brushRef="#br0">21901 14314 16383 0 0,'-4'0'0'0'0,"-5"4"0"0"0,-1 5 0 0 0,-3 5 0 0 0,-2 4 0 0 0,-4 6 0 0 0,-2 0 0 0 0,3-1 0 0 0,1-4 0 0 0,-2-1 0 0 0,4-1 0 0 0,3 2 0 0 0,1 1 0 0 0,1 1 0 0 0,4 0 0 0 0,1-2 0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2"/>
    </inkml:context>
    <inkml:brush xml:id="br0">
      <inkml:brushProperty name="width" value="0.1" units="cm"/>
      <inkml:brushProperty name="height" value="0.1" units="cm"/>
      <inkml:brushProperty name="color" value="#E71224"/>
    </inkml:brush>
  </inkml:definitions>
  <inkml:trace contextRef="#ctx0" brushRef="#br0">25268 15478 16383 0 0,'4'0'0'0'0,"5"0"0"0"0,5 0 0 0 0,3 0 0 0 0,4 4 0 0 0,-2 5 0 0 0,3 5 0 0 0,-2 4 0 0 0,0 3 0 0 0,-1 5 0 0 0,-2 2 0 0 0,3 1 0 0 0,-2-1 0 0 0,-4-2 0 0 0,-4-1 0 0 0,-4 3 0 0 0,-3 1 0 0 0,-2-1 0 0 0,-1-5 0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3"/>
    </inkml:context>
    <inkml:brush xml:id="br0">
      <inkml:brushProperty name="width" value="0.1" units="cm"/>
      <inkml:brushProperty name="height" value="0.1" units="cm"/>
      <inkml:brushProperty name="color" value="#E71224"/>
    </inkml:brush>
  </inkml:definitions>
  <inkml:trace contextRef="#ctx0" brushRef="#br0">25562 15423 16383 0 0,'0'-4'0'0'0,"-4"-1"0"0"0,-5 0 0 0 0,-5 5 0 0 0,-4 2 0 0 0,2 5 0 0 0,-2 5 0 0 0,0 1 0 0 0,-2 1 0 0 0,-1 3 0 0 0,-1 2 0 0 0,0 2 0 0 0,3 1 0 0 0,1 1 0 0 0,4 0 0 0 0,4 0 0 0 0,0-3 0 0 0,1-2 0 0 0,3 0 0 0 0,2 5 0 0 0,-2 2 0 0 0,-4 1 0 0 0,0 0 0 0 0,1-5 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4"/>
    </inkml:context>
    <inkml:brush xml:id="br0">
      <inkml:brushProperty name="width" value="0.1" units="cm"/>
      <inkml:brushProperty name="height" value="0.1" units="cm"/>
      <inkml:brushProperty name="color" value="#E71224"/>
    </inkml:brush>
  </inkml:definitions>
  <inkml:trace contextRef="#ctx0" brushRef="#br0">21696 16933 16383 0 0,'4'16'0'0'0,"12"16"0"0"0,9 7 0 0 0,-1 1 0 0 0,-5-3 0 0 0,-1-4 0 0 0,-4-3 0 0 0,0-7 0 0 0,1-8 0 0 0,2 2 0 0 0,-2 2 0 0 0,1 1 0 0 0,-3 2 0 0 0,-4 0 0 0 0,1 1 0 0 0,-1 0 0 0 0,-3 0 0 0 0,3 0 0 0 0,-2 0 0 0 0,-1 0 0 0 0,2-4 0 0 0,0-5 0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5"/>
    </inkml:context>
    <inkml:brush xml:id="br0">
      <inkml:brushProperty name="width" value="0.1" units="cm"/>
      <inkml:brushProperty name="height" value="0.1" units="cm"/>
      <inkml:brushProperty name="color" value="#E71224"/>
    </inkml:brush>
  </inkml:definitions>
  <inkml:trace contextRef="#ctx0" brushRef="#br0">21955 16933 16383 0 0,'4'0'0'0'0,"1"4"0"0"0,-4 5 0 0 0,-2 5 0 0 0,-1 4 0 0 0,-8 3 0 0 0,-6 5 0 0 0,-9 7 0 0 0,1 0 0 0 0,-7 8 0 0 0,-3-1 0 0 0,1-2 0 0 0,2-8 0 0 0,2-9 0 0 0,3-4 0 0 0,2-2 0 0 0,0-2 0 0 0,1-4 0 0 0,1-4 0 0 0,3-2 0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6"/>
    </inkml:context>
    <inkml:brush xml:id="br0">
      <inkml:brushProperty name="width" value="0.1" units="cm"/>
      <inkml:brushProperty name="height" value="0.1" units="cm"/>
      <inkml:brushProperty name="color" value="#E71224"/>
    </inkml:brush>
  </inkml:definitions>
  <inkml:trace contextRef="#ctx0" brushRef="#br0">25268 18124 16383 0 0,'7'0'0'0'0,"8"0"0"0"0,0 4 0 0 0,1 13 0 0 0,3 11 0 0 0,1 5 0 0 0,2 0 0 0 0,-4-1 0 0 0,-4-2 0 0 0,-1-3 0 0 0,1-1 0 0 0,3-2 0 0 0,-3-1 0 0 0,-2-1 0 0 0,-1 1 0 0 0,3-1 0 0 0,2 4 0 0 0,2-2 0 0 0,-1-2 0 0 0,0-4 0 0 0,-3-1 0 0 0,0-4 0 0 0,1 0 0 0 0,-1 1 0 0 0,-4-1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1"/>
    </inkml:context>
    <inkml:brush xml:id="br0">
      <inkml:brushProperty name="width" value="0.1" units="cm"/>
      <inkml:brushProperty name="height" value="0.1" units="cm"/>
      <inkml:brushProperty name="color" value="#E71224"/>
    </inkml:brush>
  </inkml:definitions>
  <inkml:trace contextRef="#ctx0" brushRef="#br0">19315 11906 16383 0 0,'4'0'0'0'0,"8"0"0"0"0,5 0 0 0 0,6 0 0 0 0,-2 5 0 0 0,0 6 0 0 0,2 7 0 0 0,2 4 0 0 0,-3 4 0 0 0,-2-3 0 0 0,-2 0 0 0 0,-1 1 0 0 0,-3 1 0 0 0,-4 1 0 0 0,-3 1 0 0 0,-3 1 0 0 0,-3 0 0 0 0,0-4 0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7"/>
    </inkml:context>
    <inkml:brush xml:id="br0">
      <inkml:brushProperty name="width" value="0.1" units="cm"/>
      <inkml:brushProperty name="height" value="0.1" units="cm"/>
      <inkml:brushProperty name="color" value="#E71224"/>
    </inkml:brush>
  </inkml:definitions>
  <inkml:trace contextRef="#ctx0" brushRef="#br0">25544 18094 16383 0 0,'0'-4'0'0'0,"-4"-1"0"0"0,-5 0 0 0 0,-5 1 0 0 0,-4 1 0 0 0,1 6 0 0 0,0 5 0 0 0,-1 1 0 0 0,-6 8 0 0 0,-2 4 0 0 0,-1-1 0 0 0,1-1 0 0 0,4 2 0 0 0,6-1 0 0 0,6 2 0 0 0,5 0 0 0 0,2 0 0 0 0,3 1 0 0 0,1 0 0 0 0,0 0 0 0 0,0 0 0 0 0,0 0 0 0 0,0-1 0 0 0,-1 1 0 0 0,0-4 0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8"/>
    </inkml:context>
    <inkml:brush xml:id="br0">
      <inkml:brushProperty name="width" value="0.1" units="cm"/>
      <inkml:brushProperty name="height" value="0.1" units="cm"/>
      <inkml:brushProperty name="color" value="#E71224"/>
    </inkml:brush>
  </inkml:definitions>
  <inkml:trace contextRef="#ctx0" brushRef="#br0">21696 19447 16383 0 0,'4'0'0'0'0,"5"4"0"0"0,9 1 0 0 0,5 8 0 0 0,2 1 0 0 0,-2 2 0 0 0,-2 3 0 0 0,-1 2 0 0 0,1 0 0 0 0,0 2 0 0 0,-3 0 0 0 0,-1 0 0 0 0,1 0 0 0 0,0-3 0 0 0,-2 1 0 0 0,0 7 0 0 0,1 1 0 0 0,2-4 0 0 0,-3-3 0 0 0,-4-4 0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16T15:11:46.199"/>
    </inkml:context>
    <inkml:brush xml:id="br0">
      <inkml:brushProperty name="width" value="0.1" units="cm"/>
      <inkml:brushProperty name="height" value="0.1" units="cm"/>
      <inkml:brushProperty name="color" value="#E71224"/>
    </inkml:brush>
  </inkml:definitions>
  <inkml:trace contextRef="#ctx0" brushRef="#br0">22032 19368 16383 0 0,'0'7'0'0'0,"0"7"0"0"0,-8 5 0 0 0,-6 11 0 0 0,-5 4 0 0 0,-3 0 0 0 0,2 2 0 0 0,1-5 0 0 0,4-4 0 0 0,4-3 0 0 0,3-1 0 0 0,1-5 0 0 0,0-1 0 0 0,2 0 0 0 0,-2 1 0 0 0,0 1 0 0 0,1 2 0 0 0,2 0 0 0 0,1 2 0 0 0,2-1 0 0 0,0 1 0 0 0,-3 0 0 0 0,-9 0 0 0 0,-2-3 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2"/>
    </inkml:context>
    <inkml:brush xml:id="br0">
      <inkml:brushProperty name="width" value="0.1" units="cm"/>
      <inkml:brushProperty name="height" value="0.1" units="cm"/>
      <inkml:brushProperty name="color" value="#E71224"/>
    </inkml:brush>
  </inkml:definitions>
  <inkml:trace contextRef="#ctx0" brushRef="#br0">19568 11906 16383 0 0,'-5'0'0'0'0,"-6"0"0"0"0,-2 5 0 0 0,-3 2 0 0 0,1 4 0 0 0,3 5 0 0 0,-1 0 0 0 0,-3-3 0 0 0,0 2 0 0 0,4 2 0 0 0,-1-1 0 0 0,-3-3 0 0 0,0 0 0 0 0,4 4 0 0 0,-1-2 0 0 0,1-3 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3"/>
    </inkml:context>
    <inkml:brush xml:id="br0">
      <inkml:brushProperty name="width" value="0.1" units="cm"/>
      <inkml:brushProperty name="height" value="0.1" units="cm"/>
      <inkml:brushProperty name="color" value="#E71224"/>
    </inkml:brush>
  </inkml:definitions>
  <inkml:trace contextRef="#ctx0" brushRef="#br0">24765 12409 16383 0 0,'5'0'0'0'0,"6"0"0"0"0,7 0 0 0 0,4 0 0 0 0,-1 5 0 0 0,1 6 0 0 0,-4 7 0 0 0,0 4 0 0 0,-2 4 0 0 0,-1-3 0 0 0,-1 0 0 0 0,-4 1 0 0 0,-3 0 0 0 0,-3 2 0 0 0,-3-3 0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4"/>
    </inkml:context>
    <inkml:brush xml:id="br0">
      <inkml:brushProperty name="width" value="0.1" units="cm"/>
      <inkml:brushProperty name="height" value="0.1" units="cm"/>
      <inkml:brushProperty name="color" value="#E71224"/>
    </inkml:brush>
  </inkml:definitions>
  <inkml:trace contextRef="#ctx0" brushRef="#br0">24967 12356 16383 0 0,'0'5'0'0'0,"0"6"0"0"0,0 7 0 0 0,-5-1 0 0 0,-2 3 0 0 0,1 2 0 0 0,1 2 0 0 0,-3 2 0 0 0,-1 2 0 0 0,-3 0 0 0 0,0 1 0 0 0,-2-5 0 0 0,-5-1 0 0 0,-2-1 0 0 0,-4-3 0 0 0,3 0 0 0 0,0 1 0 0 0,-1-2 0 0 0,4-5 0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5"/>
    </inkml:context>
    <inkml:brush xml:id="br0">
      <inkml:brushProperty name="width" value="0.1" units="cm"/>
      <inkml:brushProperty name="height" value="0.1" units="cm"/>
      <inkml:brushProperty name="color" value="#E71224"/>
    </inkml:brush>
  </inkml:definitions>
  <inkml:trace contextRef="#ctx0" brushRef="#br0">13414 11643 16383 0 0,'0'-5'0'0'0,"5"-2"0"0"0,2 6 0 0 0,4 7 0 0 0,5 8 0 0 0,0 6 0 0 0,-3 10 0 0 0,2-1 0 0 0,2 0 0 0 0,-1 0 0 0 0,-3 0 0 0 0,-5-1 0 0 0,-2 1 0 0 0,-4-1 0 0 0,-1-4 0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6"/>
    </inkml:context>
    <inkml:brush xml:id="br0">
      <inkml:brushProperty name="width" value="0.1" units="cm"/>
      <inkml:brushProperty name="height" value="0.1" units="cm"/>
      <inkml:brushProperty name="color" value="#E71224"/>
    </inkml:brush>
  </inkml:definitions>
  <inkml:trace contextRef="#ctx0" brushRef="#br0">13650 11536 16383 0 0,'0'5'0'0'0,"0"6"0"0"0,0 6 0 0 0,0 6 0 0 0,-5 3 0 0 0,-1 2 0 0 0,0 1 0 0 0,1 1 0 0 0,-4-5 0 0 0,1-2 0 0 0,-4-5 0 0 0,-5-5 0 0 0,1 0 0 0 0,3 2 0 0 0,-1-1 0 0 0,-4-3 0 0 0,-2-3 0 0 0,-9-4 0 0 0,-3 3 0 0 0,-2 1 0 0 0,1-2 0 0 0,0-2 0 0 0,6-1 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2-05T12:09:41.637"/>
    </inkml:context>
    <inkml:brush xml:id="br0">
      <inkml:brushProperty name="width" value="0.1" units="cm"/>
      <inkml:brushProperty name="height" value="0.1" units="cm"/>
      <inkml:brushProperty name="color" value="#E71224"/>
    </inkml:brush>
  </inkml:definitions>
  <inkml:trace contextRef="#ctx0" brushRef="#br0">19288 12039 16383 0 0,'5'0'0'0'0,"1"4"0"0"0,5 3 0 0 0,6-1 0 0 0,-1 4 0 0 0,2 0 0 0 0,-2 3 0 0 0,1 4 0 0 0,-2 5 0 0 0,-4 2 0 0 0,1-2 0 0 0,4 0 0 0 0,-2 1 0 0 0,3 1 0 0 0,2-3 0 0 0,-1 0 0 0 0,0-4 0 0 0,3 0 0 0 0,-3-3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hop.need.org/products/energy-games-and-icebreake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31821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91509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d431007ba2_0_21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9" name="Google Shape;339;gd431007ba2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i="1">
              <a:solidFill>
                <a:srgbClr val="595959"/>
              </a:solidFill>
              <a:latin typeface="Anaheim"/>
              <a:ea typeface="Anaheim"/>
              <a:cs typeface="Anaheim"/>
              <a:sym typeface="Anaheim"/>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2918840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None/>
            </a:pPr>
            <a:r>
              <a:rPr lang="en-US">
                <a:latin typeface="Calibri"/>
                <a:ea typeface="Calibri"/>
                <a:cs typeface="Calibri"/>
              </a:rPr>
              <a:t>Source: </a:t>
            </a:r>
            <a:r>
              <a:rPr lang="en-US">
                <a:hlinkClick r:id="rId3"/>
              </a:rPr>
              <a:t>Energy Games and Icebreakers (Free PDF Download) – The NEED Project</a:t>
            </a:r>
            <a:endParaRPr lang="en-US">
              <a:latin typeface="Calibri"/>
              <a:ea typeface="Calibri"/>
              <a:cs typeface="Calibri"/>
            </a:endParaRPr>
          </a:p>
        </p:txBody>
      </p:sp>
    </p:spTree>
    <p:extLst>
      <p:ext uri="{BB962C8B-B14F-4D97-AF65-F5344CB8AC3E}">
        <p14:creationId xmlns:p14="http://schemas.microsoft.com/office/powerpoint/2010/main" val="1748550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85070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Tree>
    <p:extLst>
      <p:ext uri="{BB962C8B-B14F-4D97-AF65-F5344CB8AC3E}">
        <p14:creationId xmlns:p14="http://schemas.microsoft.com/office/powerpoint/2010/main" val="619998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928C0-4379-410D-7503-EB4E3AE7C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22F3E1-100D-0800-257A-2A9F978CFD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D3B18A-BA3F-B975-2B7B-573D0A585E8F}"/>
              </a:ext>
            </a:extLst>
          </p:cNvPr>
          <p:cNvSpPr>
            <a:spLocks noGrp="1"/>
          </p:cNvSpPr>
          <p:nvPr>
            <p:ph type="body" idx="1"/>
          </p:nvPr>
        </p:nvSpPr>
        <p:spPr/>
        <p:txBody>
          <a:bodyPr/>
          <a:lstStyle/>
          <a:p>
            <a:endParaRPr lang="en-DE"/>
          </a:p>
        </p:txBody>
      </p:sp>
    </p:spTree>
    <p:extLst>
      <p:ext uri="{BB962C8B-B14F-4D97-AF65-F5344CB8AC3E}">
        <p14:creationId xmlns:p14="http://schemas.microsoft.com/office/powerpoint/2010/main" val="3385420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9462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18329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11" name="Google Shape;11;p2"/>
          <p:cNvSpPr/>
          <p:nvPr/>
        </p:nvSpPr>
        <p:spPr>
          <a:xfrm>
            <a:off x="-800411" y="4918203"/>
            <a:ext cx="2352738" cy="4307355"/>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4" name="Gruppieren 3">
            <a:extLst>
              <a:ext uri="{FF2B5EF4-FFF2-40B4-BE49-F238E27FC236}">
                <a16:creationId xmlns:a16="http://schemas.microsoft.com/office/drawing/2014/main" id="{350ED9F0-7543-D4F6-8646-CC04456CB93C}"/>
              </a:ext>
            </a:extLst>
          </p:cNvPr>
          <p:cNvGrpSpPr/>
          <p:nvPr userDrawn="1"/>
        </p:nvGrpSpPr>
        <p:grpSpPr>
          <a:xfrm>
            <a:off x="1552327" y="8858060"/>
            <a:ext cx="775933" cy="734996"/>
            <a:chOff x="1575188" y="9679563"/>
            <a:chExt cx="250598" cy="378709"/>
          </a:xfrm>
        </p:grpSpPr>
        <p:sp>
          <p:nvSpPr>
            <p:cNvPr id="12" name="Google Shape;12;p2"/>
            <p:cNvSpPr/>
            <p:nvPr/>
          </p:nvSpPr>
          <p:spPr>
            <a:xfrm>
              <a:off x="1575188" y="9708667"/>
              <a:ext cx="157420" cy="32668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3" name="Google Shape;13;p2"/>
            <p:cNvSpPr/>
            <p:nvPr/>
          </p:nvSpPr>
          <p:spPr>
            <a:xfrm>
              <a:off x="1732607" y="9679563"/>
              <a:ext cx="24163" cy="378709"/>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4" name="Google Shape;14;p2"/>
            <p:cNvSpPr/>
            <p:nvPr/>
          </p:nvSpPr>
          <p:spPr>
            <a:xfrm>
              <a:off x="1756770" y="9919668"/>
              <a:ext cx="69016" cy="52022"/>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5" name="Google Shape;15;p2"/>
            <p:cNvSpPr/>
            <p:nvPr/>
          </p:nvSpPr>
          <p:spPr>
            <a:xfrm>
              <a:off x="1756770" y="9766148"/>
              <a:ext cx="69016" cy="52385"/>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16" name="Google Shape;16;p2"/>
          <p:cNvSpPr/>
          <p:nvPr/>
        </p:nvSpPr>
        <p:spPr>
          <a:xfrm>
            <a:off x="6653164" y="8418445"/>
            <a:ext cx="1894488" cy="104993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17" name="Google Shape;17;p2"/>
          <p:cNvGrpSpPr/>
          <p:nvPr/>
        </p:nvGrpSpPr>
        <p:grpSpPr>
          <a:xfrm>
            <a:off x="678388" y="420332"/>
            <a:ext cx="1339485" cy="1316965"/>
            <a:chOff x="285100" y="445225"/>
            <a:chExt cx="856200" cy="353229"/>
          </a:xfrm>
        </p:grpSpPr>
        <p:sp>
          <p:nvSpPr>
            <p:cNvPr id="18" name="Google Shape;18;p2"/>
            <p:cNvSpPr/>
            <p:nvPr/>
          </p:nvSpPr>
          <p:spPr>
            <a:xfrm>
              <a:off x="285100" y="445225"/>
              <a:ext cx="856200" cy="353229"/>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9" name="Google Shape;19;p2"/>
            <p:cNvSpPr/>
            <p:nvPr/>
          </p:nvSpPr>
          <p:spPr>
            <a:xfrm>
              <a:off x="506762" y="484579"/>
              <a:ext cx="434338" cy="274521"/>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1" name="Google Shape;21;p2"/>
          <p:cNvSpPr/>
          <p:nvPr/>
        </p:nvSpPr>
        <p:spPr>
          <a:xfrm>
            <a:off x="-1204795" y="1590571"/>
            <a:ext cx="2102627" cy="2183502"/>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2" name="Google Shape;22;p2"/>
          <p:cNvSpPr/>
          <p:nvPr/>
        </p:nvSpPr>
        <p:spPr>
          <a:xfrm>
            <a:off x="4262027" y="9468381"/>
            <a:ext cx="2102628" cy="2183502"/>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 name="Google Shape;23;p2"/>
          <p:cNvSpPr txBox="1">
            <a:spLocks noGrp="1"/>
          </p:cNvSpPr>
          <p:nvPr>
            <p:ph type="ctrTitle"/>
          </p:nvPr>
        </p:nvSpPr>
        <p:spPr>
          <a:xfrm>
            <a:off x="2753755" y="2368606"/>
            <a:ext cx="4216106" cy="4703275"/>
          </a:xfrm>
          <a:prstGeom prst="rect">
            <a:avLst/>
          </a:prstGeom>
        </p:spPr>
        <p:txBody>
          <a:bodyPr spcFirstLastPara="1" wrap="square" lIns="91425" tIns="91425" rIns="91425" bIns="91425" anchor="b" anchorCtr="0">
            <a:noAutofit/>
          </a:bodyPr>
          <a:lstStyle>
            <a:lvl1pPr lvl="0">
              <a:spcBef>
                <a:spcPts val="0"/>
              </a:spcBef>
              <a:spcAft>
                <a:spcPts val="0"/>
              </a:spcAft>
              <a:buClr>
                <a:srgbClr val="191919"/>
              </a:buClr>
              <a:buSzPts val="4200"/>
              <a:buNone/>
              <a:defRPr sz="3472"/>
            </a:lvl1pPr>
            <a:lvl2pPr lvl="1" algn="ctr">
              <a:spcBef>
                <a:spcPts val="0"/>
              </a:spcBef>
              <a:spcAft>
                <a:spcPts val="0"/>
              </a:spcAft>
              <a:buClr>
                <a:srgbClr val="191919"/>
              </a:buClr>
              <a:buSzPts val="4200"/>
              <a:buNone/>
              <a:defRPr sz="3472">
                <a:solidFill>
                  <a:srgbClr val="191919"/>
                </a:solidFill>
              </a:defRPr>
            </a:lvl2pPr>
            <a:lvl3pPr lvl="2" algn="ctr">
              <a:spcBef>
                <a:spcPts val="0"/>
              </a:spcBef>
              <a:spcAft>
                <a:spcPts val="0"/>
              </a:spcAft>
              <a:buClr>
                <a:srgbClr val="191919"/>
              </a:buClr>
              <a:buSzPts val="4200"/>
              <a:buNone/>
              <a:defRPr sz="3472">
                <a:solidFill>
                  <a:srgbClr val="191919"/>
                </a:solidFill>
              </a:defRPr>
            </a:lvl3pPr>
            <a:lvl4pPr lvl="3" algn="ctr">
              <a:spcBef>
                <a:spcPts val="0"/>
              </a:spcBef>
              <a:spcAft>
                <a:spcPts val="0"/>
              </a:spcAft>
              <a:buClr>
                <a:srgbClr val="191919"/>
              </a:buClr>
              <a:buSzPts val="4200"/>
              <a:buNone/>
              <a:defRPr sz="3472">
                <a:solidFill>
                  <a:srgbClr val="191919"/>
                </a:solidFill>
              </a:defRPr>
            </a:lvl4pPr>
            <a:lvl5pPr lvl="4" algn="ctr">
              <a:spcBef>
                <a:spcPts val="0"/>
              </a:spcBef>
              <a:spcAft>
                <a:spcPts val="0"/>
              </a:spcAft>
              <a:buClr>
                <a:srgbClr val="191919"/>
              </a:buClr>
              <a:buSzPts val="4200"/>
              <a:buNone/>
              <a:defRPr sz="3472">
                <a:solidFill>
                  <a:srgbClr val="191919"/>
                </a:solidFill>
              </a:defRPr>
            </a:lvl5pPr>
            <a:lvl6pPr lvl="5" algn="ctr">
              <a:spcBef>
                <a:spcPts val="0"/>
              </a:spcBef>
              <a:spcAft>
                <a:spcPts val="0"/>
              </a:spcAft>
              <a:buClr>
                <a:srgbClr val="191919"/>
              </a:buClr>
              <a:buSzPts val="4200"/>
              <a:buNone/>
              <a:defRPr sz="3472">
                <a:solidFill>
                  <a:srgbClr val="191919"/>
                </a:solidFill>
              </a:defRPr>
            </a:lvl6pPr>
            <a:lvl7pPr lvl="6" algn="ctr">
              <a:spcBef>
                <a:spcPts val="0"/>
              </a:spcBef>
              <a:spcAft>
                <a:spcPts val="0"/>
              </a:spcAft>
              <a:buClr>
                <a:srgbClr val="191919"/>
              </a:buClr>
              <a:buSzPts val="4200"/>
              <a:buNone/>
              <a:defRPr sz="3472">
                <a:solidFill>
                  <a:srgbClr val="191919"/>
                </a:solidFill>
              </a:defRPr>
            </a:lvl7pPr>
            <a:lvl8pPr lvl="7" algn="ctr">
              <a:spcBef>
                <a:spcPts val="0"/>
              </a:spcBef>
              <a:spcAft>
                <a:spcPts val="0"/>
              </a:spcAft>
              <a:buClr>
                <a:srgbClr val="191919"/>
              </a:buClr>
              <a:buSzPts val="4200"/>
              <a:buNone/>
              <a:defRPr sz="3472">
                <a:solidFill>
                  <a:srgbClr val="191919"/>
                </a:solidFill>
              </a:defRPr>
            </a:lvl8pPr>
            <a:lvl9pPr lvl="8" algn="ctr">
              <a:spcBef>
                <a:spcPts val="0"/>
              </a:spcBef>
              <a:spcAft>
                <a:spcPts val="0"/>
              </a:spcAft>
              <a:buClr>
                <a:srgbClr val="191919"/>
              </a:buClr>
              <a:buSzPts val="4200"/>
              <a:buNone/>
              <a:defRPr sz="3472">
                <a:solidFill>
                  <a:srgbClr val="191919"/>
                </a:solidFill>
              </a:defRPr>
            </a:lvl9pPr>
          </a:lstStyle>
          <a:p>
            <a:endParaRPr/>
          </a:p>
        </p:txBody>
      </p:sp>
      <p:sp>
        <p:nvSpPr>
          <p:cNvPr id="24" name="Google Shape;24;p2"/>
          <p:cNvSpPr txBox="1">
            <a:spLocks noGrp="1"/>
          </p:cNvSpPr>
          <p:nvPr>
            <p:ph type="subTitle" idx="1"/>
          </p:nvPr>
        </p:nvSpPr>
        <p:spPr>
          <a:xfrm>
            <a:off x="2753755" y="7266084"/>
            <a:ext cx="4216106" cy="855594"/>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spcBef>
                <a:spcPts val="0"/>
              </a:spcBef>
              <a:spcAft>
                <a:spcPts val="0"/>
              </a:spcAft>
              <a:buSzPts val="1600"/>
              <a:buNone/>
              <a:defRPr sz="1323">
                <a:solidFill>
                  <a:schemeClr val="dk1"/>
                </a:solidFill>
              </a:defRPr>
            </a:lvl1pPr>
            <a:lvl2pPr lvl="1" algn="ctr">
              <a:lnSpc>
                <a:spcPct val="100000"/>
              </a:lnSpc>
              <a:spcBef>
                <a:spcPts val="0"/>
              </a:spcBef>
              <a:spcAft>
                <a:spcPts val="0"/>
              </a:spcAft>
              <a:buSzPts val="1600"/>
              <a:buNone/>
              <a:defRPr sz="1323"/>
            </a:lvl2pPr>
            <a:lvl3pPr lvl="2" algn="ctr">
              <a:lnSpc>
                <a:spcPct val="100000"/>
              </a:lnSpc>
              <a:spcBef>
                <a:spcPts val="0"/>
              </a:spcBef>
              <a:spcAft>
                <a:spcPts val="0"/>
              </a:spcAft>
              <a:buSzPts val="1600"/>
              <a:buNone/>
              <a:defRPr sz="1323"/>
            </a:lvl3pPr>
            <a:lvl4pPr lvl="3" algn="ctr">
              <a:lnSpc>
                <a:spcPct val="100000"/>
              </a:lnSpc>
              <a:spcBef>
                <a:spcPts val="0"/>
              </a:spcBef>
              <a:spcAft>
                <a:spcPts val="0"/>
              </a:spcAft>
              <a:buSzPts val="1600"/>
              <a:buNone/>
              <a:defRPr sz="1323"/>
            </a:lvl4pPr>
            <a:lvl5pPr lvl="4" algn="ctr">
              <a:lnSpc>
                <a:spcPct val="100000"/>
              </a:lnSpc>
              <a:spcBef>
                <a:spcPts val="0"/>
              </a:spcBef>
              <a:spcAft>
                <a:spcPts val="0"/>
              </a:spcAft>
              <a:buSzPts val="1600"/>
              <a:buNone/>
              <a:defRPr sz="1323"/>
            </a:lvl5pPr>
            <a:lvl6pPr lvl="5" algn="ctr">
              <a:lnSpc>
                <a:spcPct val="100000"/>
              </a:lnSpc>
              <a:spcBef>
                <a:spcPts val="0"/>
              </a:spcBef>
              <a:spcAft>
                <a:spcPts val="0"/>
              </a:spcAft>
              <a:buSzPts val="1600"/>
              <a:buNone/>
              <a:defRPr sz="1323"/>
            </a:lvl6pPr>
            <a:lvl7pPr lvl="6" algn="ctr">
              <a:lnSpc>
                <a:spcPct val="100000"/>
              </a:lnSpc>
              <a:spcBef>
                <a:spcPts val="0"/>
              </a:spcBef>
              <a:spcAft>
                <a:spcPts val="0"/>
              </a:spcAft>
              <a:buSzPts val="1600"/>
              <a:buNone/>
              <a:defRPr sz="1323"/>
            </a:lvl7pPr>
            <a:lvl8pPr lvl="7" algn="ctr">
              <a:lnSpc>
                <a:spcPct val="100000"/>
              </a:lnSpc>
              <a:spcBef>
                <a:spcPts val="0"/>
              </a:spcBef>
              <a:spcAft>
                <a:spcPts val="0"/>
              </a:spcAft>
              <a:buSzPts val="1600"/>
              <a:buNone/>
              <a:defRPr sz="1323"/>
            </a:lvl8pPr>
            <a:lvl9pPr lvl="8" algn="ctr">
              <a:lnSpc>
                <a:spcPct val="100000"/>
              </a:lnSpc>
              <a:spcBef>
                <a:spcPts val="0"/>
              </a:spcBef>
              <a:spcAft>
                <a:spcPts val="0"/>
              </a:spcAft>
              <a:buSzPts val="1600"/>
              <a:buNone/>
              <a:defRPr sz="1323"/>
            </a:lvl9pPr>
          </a:lstStyle>
          <a:p>
            <a:endParaRPr/>
          </a:p>
        </p:txBody>
      </p:sp>
      <p:sp>
        <p:nvSpPr>
          <p:cNvPr id="3" name="Google Shape;16;p2">
            <a:extLst>
              <a:ext uri="{FF2B5EF4-FFF2-40B4-BE49-F238E27FC236}">
                <a16:creationId xmlns:a16="http://schemas.microsoft.com/office/drawing/2014/main" id="{398063EB-6640-0517-42C7-620EEB8F772B}"/>
              </a:ext>
            </a:extLst>
          </p:cNvPr>
          <p:cNvSpPr/>
          <p:nvPr/>
        </p:nvSpPr>
        <p:spPr>
          <a:xfrm>
            <a:off x="5921829" y="-180047"/>
            <a:ext cx="2349388" cy="1258862"/>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5" name="Google Shape;22;p2">
            <a:extLst>
              <a:ext uri="{FF2B5EF4-FFF2-40B4-BE49-F238E27FC236}">
                <a16:creationId xmlns:a16="http://schemas.microsoft.com/office/drawing/2014/main" id="{B73CE064-1E2D-E72B-2148-EB74FC217692}"/>
              </a:ext>
            </a:extLst>
          </p:cNvPr>
          <p:cNvSpPr/>
          <p:nvPr userDrawn="1"/>
        </p:nvSpPr>
        <p:spPr>
          <a:xfrm>
            <a:off x="4086767" y="-1734118"/>
            <a:ext cx="2102628" cy="2183502"/>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84EBD5C8-88E5-EDEB-AB74-C30048250204}"/>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2">
  <p:cSld name="CUSTOM_11">
    <p:spTree>
      <p:nvGrpSpPr>
        <p:cNvPr id="1" name="Shape 227"/>
        <p:cNvGrpSpPr/>
        <p:nvPr/>
      </p:nvGrpSpPr>
      <p:grpSpPr>
        <a:xfrm>
          <a:off x="0" y="0"/>
          <a:ext cx="0" cy="0"/>
          <a:chOff x="0" y="0"/>
          <a:chExt cx="0" cy="0"/>
        </a:xfrm>
      </p:grpSpPr>
      <p:sp>
        <p:nvSpPr>
          <p:cNvPr id="230" name="Google Shape;230;p17"/>
          <p:cNvSpPr/>
          <p:nvPr/>
        </p:nvSpPr>
        <p:spPr>
          <a:xfrm rot="5400000">
            <a:off x="4994824" y="1486211"/>
            <a:ext cx="4639101" cy="651486"/>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3" name="Gruppieren 2">
            <a:extLst>
              <a:ext uri="{FF2B5EF4-FFF2-40B4-BE49-F238E27FC236}">
                <a16:creationId xmlns:a16="http://schemas.microsoft.com/office/drawing/2014/main" id="{AD36951E-86A1-C742-8A78-9F5786BFD1D6}"/>
              </a:ext>
            </a:extLst>
          </p:cNvPr>
          <p:cNvGrpSpPr/>
          <p:nvPr userDrawn="1"/>
        </p:nvGrpSpPr>
        <p:grpSpPr>
          <a:xfrm>
            <a:off x="6834575" y="4131505"/>
            <a:ext cx="308112" cy="448280"/>
            <a:chOff x="6536033" y="3990716"/>
            <a:chExt cx="257092" cy="630093"/>
          </a:xfrm>
        </p:grpSpPr>
        <p:sp>
          <p:nvSpPr>
            <p:cNvPr id="231" name="Google Shape;231;p17"/>
            <p:cNvSpPr/>
            <p:nvPr/>
          </p:nvSpPr>
          <p:spPr>
            <a:xfrm rot="5400000">
              <a:off x="6464576" y="4077731"/>
              <a:ext cx="395808" cy="22177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2" name="Google Shape;232;p17"/>
            <p:cNvSpPr/>
            <p:nvPr/>
          </p:nvSpPr>
          <p:spPr>
            <a:xfrm rot="5400000">
              <a:off x="6634202" y="4288355"/>
              <a:ext cx="60754" cy="257092"/>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3" name="Google Shape;233;p17"/>
            <p:cNvSpPr/>
            <p:nvPr/>
          </p:nvSpPr>
          <p:spPr>
            <a:xfrm rot="5400000">
              <a:off x="6525704" y="4516385"/>
              <a:ext cx="173530" cy="3531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4" name="Google Shape;234;p17"/>
            <p:cNvSpPr/>
            <p:nvPr/>
          </p:nvSpPr>
          <p:spPr>
            <a:xfrm rot="5400000">
              <a:off x="6629800" y="4516262"/>
              <a:ext cx="173530" cy="35563"/>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35" name="Google Shape;235;p17"/>
          <p:cNvSpPr/>
          <p:nvPr/>
        </p:nvSpPr>
        <p:spPr>
          <a:xfrm>
            <a:off x="7056668" y="8979169"/>
            <a:ext cx="1660372"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7" name="Google Shape;237;p17"/>
          <p:cNvSpPr/>
          <p:nvPr/>
        </p:nvSpPr>
        <p:spPr>
          <a:xfrm>
            <a:off x="-2579530" y="4530324"/>
            <a:ext cx="3168231" cy="3276875"/>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8" name="Google Shape;238;p17"/>
          <p:cNvSpPr/>
          <p:nvPr/>
        </p:nvSpPr>
        <p:spPr>
          <a:xfrm>
            <a:off x="1935513" y="10198586"/>
            <a:ext cx="2216762" cy="2341297"/>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9" name="Google Shape;239;p17"/>
          <p:cNvSpPr txBox="1">
            <a:spLocks noGrp="1"/>
          </p:cNvSpPr>
          <p:nvPr>
            <p:ph type="title"/>
          </p:nvPr>
        </p:nvSpPr>
        <p:spPr>
          <a:xfrm>
            <a:off x="589649" y="1121461"/>
            <a:ext cx="6380336" cy="1190474"/>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 name="Foliennummernplatzhalter 1">
            <a:extLst>
              <a:ext uri="{FF2B5EF4-FFF2-40B4-BE49-F238E27FC236}">
                <a16:creationId xmlns:a16="http://schemas.microsoft.com/office/drawing/2014/main" id="{85BE7F40-CAD6-48E9-7635-3D6DCE984FFC}"/>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250"/>
        <p:cNvGrpSpPr/>
        <p:nvPr/>
      </p:nvGrpSpPr>
      <p:grpSpPr>
        <a:xfrm>
          <a:off x="0" y="0"/>
          <a:ext cx="0" cy="0"/>
          <a:chOff x="0" y="0"/>
          <a:chExt cx="0" cy="0"/>
        </a:xfrm>
      </p:grpSpPr>
      <p:grpSp>
        <p:nvGrpSpPr>
          <p:cNvPr id="251" name="Google Shape;251;p19"/>
          <p:cNvGrpSpPr/>
          <p:nvPr/>
        </p:nvGrpSpPr>
        <p:grpSpPr>
          <a:xfrm>
            <a:off x="-1371575" y="3035427"/>
            <a:ext cx="10329592" cy="4620959"/>
            <a:chOff x="-1659025" y="1793600"/>
            <a:chExt cx="12494425" cy="2223000"/>
          </a:xfrm>
        </p:grpSpPr>
        <p:sp>
          <p:nvSpPr>
            <p:cNvPr id="252" name="Google Shape;252;p19"/>
            <p:cNvSpPr/>
            <p:nvPr/>
          </p:nvSpPr>
          <p:spPr>
            <a:xfrm>
              <a:off x="-1659025" y="1793600"/>
              <a:ext cx="2223000" cy="2223000"/>
            </a:xfrm>
            <a:prstGeom prst="ellipse">
              <a:avLst/>
            </a:prstGeom>
            <a:solidFill>
              <a:schemeClr val="tx2">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53" name="Google Shape;253;p19"/>
            <p:cNvSpPr/>
            <p:nvPr/>
          </p:nvSpPr>
          <p:spPr>
            <a:xfrm>
              <a:off x="8612400" y="1793600"/>
              <a:ext cx="2223000" cy="2223000"/>
            </a:xfrm>
            <a:prstGeom prst="ellipse">
              <a:avLst/>
            </a:prstGeom>
            <a:solidFill>
              <a:schemeClr val="tx2">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grpSp>
        <p:nvGrpSpPr>
          <p:cNvPr id="258" name="Google Shape;258;p19"/>
          <p:cNvGrpSpPr/>
          <p:nvPr/>
        </p:nvGrpSpPr>
        <p:grpSpPr>
          <a:xfrm>
            <a:off x="-777550" y="8248148"/>
            <a:ext cx="2095652" cy="1834976"/>
            <a:chOff x="-96030" y="3967928"/>
            <a:chExt cx="2534850" cy="882750"/>
          </a:xfrm>
        </p:grpSpPr>
        <p:sp>
          <p:nvSpPr>
            <p:cNvPr id="259" name="Google Shape;259;p19"/>
            <p:cNvSpPr/>
            <p:nvPr/>
          </p:nvSpPr>
          <p:spPr>
            <a:xfrm>
              <a:off x="-96030" y="3967928"/>
              <a:ext cx="2231728" cy="792270"/>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0" name="Google Shape;260;p19"/>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1" name="Google Shape;261;p19"/>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2" name="Google Shape;262;p19"/>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3" name="Google Shape;263;p19"/>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64" name="Google Shape;264;p19"/>
          <p:cNvSpPr/>
          <p:nvPr/>
        </p:nvSpPr>
        <p:spPr>
          <a:xfrm>
            <a:off x="7110364" y="9274762"/>
            <a:ext cx="972738"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65" name="Google Shape;265;p19"/>
          <p:cNvGrpSpPr/>
          <p:nvPr/>
        </p:nvGrpSpPr>
        <p:grpSpPr>
          <a:xfrm>
            <a:off x="581447" y="902707"/>
            <a:ext cx="1845050" cy="1779786"/>
            <a:chOff x="285100" y="445225"/>
            <a:chExt cx="856200" cy="856200"/>
          </a:xfrm>
        </p:grpSpPr>
        <p:sp>
          <p:nvSpPr>
            <p:cNvPr id="266" name="Google Shape;266;p19"/>
            <p:cNvSpPr/>
            <p:nvPr/>
          </p:nvSpPr>
          <p:spPr>
            <a:xfrm>
              <a:off x="506762" y="579382"/>
              <a:ext cx="412876" cy="587885"/>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7" name="Google Shape;267;p19"/>
            <p:cNvSpPr/>
            <p:nvPr/>
          </p:nvSpPr>
          <p:spPr>
            <a:xfrm>
              <a:off x="285100" y="445225"/>
              <a:ext cx="856200" cy="856200"/>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grpSp>
        <p:nvGrpSpPr>
          <p:cNvPr id="268" name="Google Shape;268;p19"/>
          <p:cNvGrpSpPr/>
          <p:nvPr/>
        </p:nvGrpSpPr>
        <p:grpSpPr>
          <a:xfrm>
            <a:off x="5023208" y="6099260"/>
            <a:ext cx="1837834" cy="1703560"/>
            <a:chOff x="2852640" y="2125440"/>
            <a:chExt cx="1523160" cy="819530"/>
          </a:xfrm>
        </p:grpSpPr>
        <p:sp>
          <p:nvSpPr>
            <p:cNvPr id="269" name="Google Shape;269;p19"/>
            <p:cNvSpPr/>
            <p:nvPr/>
          </p:nvSpPr>
          <p:spPr>
            <a:xfrm>
              <a:off x="3161880" y="2647610"/>
              <a:ext cx="1189800" cy="297360"/>
            </a:xfrm>
            <a:custGeom>
              <a:avLst/>
              <a:gdLst/>
              <a:ahLst/>
              <a:cxnLst/>
              <a:rect l="l" t="t" r="r" b="b"/>
              <a:pathLst>
                <a:path w="3305" h="826" extrusionOk="0">
                  <a:moveTo>
                    <a:pt x="0" y="711"/>
                  </a:moveTo>
                  <a:lnTo>
                    <a:pt x="0" y="711"/>
                  </a:lnTo>
                  <a:cubicBezTo>
                    <a:pt x="0" y="116"/>
                    <a:pt x="0" y="116"/>
                    <a:pt x="0" y="116"/>
                  </a:cubicBezTo>
                  <a:cubicBezTo>
                    <a:pt x="0" y="49"/>
                    <a:pt x="67" y="0"/>
                    <a:pt x="132" y="0"/>
                  </a:cubicBezTo>
                  <a:cubicBezTo>
                    <a:pt x="3173" y="0"/>
                    <a:pt x="3173" y="0"/>
                    <a:pt x="3173" y="0"/>
                  </a:cubicBezTo>
                  <a:cubicBezTo>
                    <a:pt x="3256" y="0"/>
                    <a:pt x="3305" y="49"/>
                    <a:pt x="3305" y="116"/>
                  </a:cubicBezTo>
                  <a:cubicBezTo>
                    <a:pt x="3305" y="711"/>
                    <a:pt x="3305" y="711"/>
                    <a:pt x="3305" y="711"/>
                  </a:cubicBezTo>
                  <a:cubicBezTo>
                    <a:pt x="3305" y="776"/>
                    <a:pt x="3256" y="826"/>
                    <a:pt x="3173" y="826"/>
                  </a:cubicBezTo>
                  <a:cubicBezTo>
                    <a:pt x="132" y="826"/>
                    <a:pt x="132" y="826"/>
                    <a:pt x="132" y="826"/>
                  </a:cubicBezTo>
                  <a:cubicBezTo>
                    <a:pt x="67" y="826"/>
                    <a:pt x="0" y="776"/>
                    <a:pt x="0" y="711"/>
                  </a:cubicBezTo>
                  <a:close/>
                </a:path>
              </a:pathLst>
            </a:custGeom>
            <a:solidFill>
              <a:schemeClr val="accent3"/>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0" name="Google Shape;270;p19"/>
            <p:cNvSpPr/>
            <p:nvPr/>
          </p:nvSpPr>
          <p:spPr>
            <a:xfrm>
              <a:off x="3453480" y="2647610"/>
              <a:ext cx="898200" cy="297360"/>
            </a:xfrm>
            <a:custGeom>
              <a:avLst/>
              <a:gdLst/>
              <a:ahLst/>
              <a:cxnLst/>
              <a:rect l="l" t="t" r="r" b="b"/>
              <a:pathLst>
                <a:path w="2495" h="826" extrusionOk="0">
                  <a:moveTo>
                    <a:pt x="0" y="826"/>
                  </a:moveTo>
                  <a:lnTo>
                    <a:pt x="0" y="826"/>
                  </a:lnTo>
                  <a:cubicBezTo>
                    <a:pt x="0" y="0"/>
                    <a:pt x="0" y="0"/>
                    <a:pt x="0" y="0"/>
                  </a:cubicBezTo>
                  <a:cubicBezTo>
                    <a:pt x="2363" y="0"/>
                    <a:pt x="2363" y="0"/>
                    <a:pt x="2363" y="0"/>
                  </a:cubicBezTo>
                  <a:cubicBezTo>
                    <a:pt x="2446" y="0"/>
                    <a:pt x="2495" y="49"/>
                    <a:pt x="2495" y="116"/>
                  </a:cubicBezTo>
                  <a:cubicBezTo>
                    <a:pt x="2495" y="711"/>
                    <a:pt x="2495" y="711"/>
                    <a:pt x="2495" y="711"/>
                  </a:cubicBezTo>
                  <a:cubicBezTo>
                    <a:pt x="2495" y="776"/>
                    <a:pt x="2446" y="826"/>
                    <a:pt x="2363" y="826"/>
                  </a:cubicBezTo>
                  <a:lnTo>
                    <a:pt x="0" y="826"/>
                  </a:ln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1" name="Google Shape;271;p19"/>
            <p:cNvSpPr/>
            <p:nvPr/>
          </p:nvSpPr>
          <p:spPr>
            <a:xfrm>
              <a:off x="3132360" y="2707010"/>
              <a:ext cx="29520" cy="178560"/>
            </a:xfrm>
            <a:custGeom>
              <a:avLst/>
              <a:gdLst/>
              <a:ahLst/>
              <a:cxnLst/>
              <a:rect l="l" t="t" r="r" b="b"/>
              <a:pathLst>
                <a:path w="82" h="496" extrusionOk="0">
                  <a:moveTo>
                    <a:pt x="0" y="49"/>
                  </a:moveTo>
                  <a:lnTo>
                    <a:pt x="0" y="49"/>
                  </a:lnTo>
                  <a:cubicBezTo>
                    <a:pt x="0" y="16"/>
                    <a:pt x="16" y="0"/>
                    <a:pt x="49" y="0"/>
                  </a:cubicBezTo>
                  <a:lnTo>
                    <a:pt x="49" y="0"/>
                  </a:lnTo>
                  <a:cubicBezTo>
                    <a:pt x="67" y="0"/>
                    <a:pt x="82" y="16"/>
                    <a:pt x="82" y="49"/>
                  </a:cubicBezTo>
                  <a:cubicBezTo>
                    <a:pt x="82" y="446"/>
                    <a:pt x="82" y="446"/>
                    <a:pt x="82" y="446"/>
                  </a:cubicBezTo>
                  <a:cubicBezTo>
                    <a:pt x="82" y="479"/>
                    <a:pt x="67" y="496"/>
                    <a:pt x="49" y="496"/>
                  </a:cubicBezTo>
                  <a:lnTo>
                    <a:pt x="49" y="496"/>
                  </a:lnTo>
                  <a:cubicBezTo>
                    <a:pt x="16" y="496"/>
                    <a:pt x="0" y="479"/>
                    <a:pt x="0" y="446"/>
                  </a:cubicBezTo>
                  <a:lnTo>
                    <a:pt x="0" y="49"/>
                  </a:lnTo>
                  <a:close/>
                </a:path>
              </a:pathLst>
            </a:custGeom>
            <a:solidFill>
              <a:schemeClr val="l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2" name="Google Shape;272;p19"/>
            <p:cNvSpPr/>
            <p:nvPr/>
          </p:nvSpPr>
          <p:spPr>
            <a:xfrm>
              <a:off x="4107960" y="2784050"/>
              <a:ext cx="100800" cy="24120"/>
            </a:xfrm>
            <a:custGeom>
              <a:avLst/>
              <a:gdLst/>
              <a:ahLst/>
              <a:cxnLst/>
              <a:rect l="l" t="t" r="r" b="b"/>
              <a:pathLst>
                <a:path w="280" h="67" extrusionOk="0">
                  <a:moveTo>
                    <a:pt x="280" y="0"/>
                  </a:moveTo>
                  <a:lnTo>
                    <a:pt x="280" y="67"/>
                  </a:lnTo>
                  <a:lnTo>
                    <a:pt x="0" y="67"/>
                  </a:lnTo>
                  <a:lnTo>
                    <a:pt x="0" y="0"/>
                  </a:lnTo>
                  <a:lnTo>
                    <a:pt x="280" y="0"/>
                  </a:lnTo>
                  <a:close/>
                </a:path>
              </a:pathLst>
            </a:custGeom>
            <a:solidFill>
              <a:schemeClr val="dk2"/>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3" name="Google Shape;273;p19"/>
            <p:cNvSpPr/>
            <p:nvPr/>
          </p:nvSpPr>
          <p:spPr>
            <a:xfrm>
              <a:off x="3221280" y="2743010"/>
              <a:ext cx="101160" cy="106560"/>
            </a:xfrm>
            <a:custGeom>
              <a:avLst/>
              <a:gdLst/>
              <a:ahLst/>
              <a:cxnLst/>
              <a:rect l="l" t="t" r="r" b="b"/>
              <a:pathLst>
                <a:path w="281" h="296" extrusionOk="0">
                  <a:moveTo>
                    <a:pt x="165" y="114"/>
                  </a:moveTo>
                  <a:lnTo>
                    <a:pt x="281" y="114"/>
                  </a:lnTo>
                  <a:lnTo>
                    <a:pt x="281" y="181"/>
                  </a:lnTo>
                  <a:lnTo>
                    <a:pt x="165" y="181"/>
                  </a:lnTo>
                  <a:lnTo>
                    <a:pt x="165" y="296"/>
                  </a:lnTo>
                  <a:lnTo>
                    <a:pt x="116" y="296"/>
                  </a:lnTo>
                  <a:lnTo>
                    <a:pt x="116" y="181"/>
                  </a:lnTo>
                  <a:lnTo>
                    <a:pt x="0" y="181"/>
                  </a:lnTo>
                  <a:lnTo>
                    <a:pt x="0" y="114"/>
                  </a:lnTo>
                  <a:lnTo>
                    <a:pt x="116" y="114"/>
                  </a:lnTo>
                  <a:lnTo>
                    <a:pt x="116" y="0"/>
                  </a:lnTo>
                  <a:lnTo>
                    <a:pt x="165" y="0"/>
                  </a:lnTo>
                  <a:lnTo>
                    <a:pt x="165" y="114"/>
                  </a:lnTo>
                  <a:close/>
                </a:path>
              </a:pathLst>
            </a:custGeom>
            <a:solidFill>
              <a:srgbClr val="EBF0F5"/>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4" name="Google Shape;274;p19"/>
            <p:cNvSpPr/>
            <p:nvPr/>
          </p:nvSpPr>
          <p:spPr>
            <a:xfrm>
              <a:off x="2852640" y="2125440"/>
              <a:ext cx="1475640" cy="457560"/>
            </a:xfrm>
            <a:custGeom>
              <a:avLst/>
              <a:gdLst/>
              <a:ahLst/>
              <a:cxnLst/>
              <a:rect l="l" t="t" r="r" b="b"/>
              <a:pathLst>
                <a:path w="4099" h="1271" extrusionOk="0">
                  <a:moveTo>
                    <a:pt x="4099" y="198"/>
                  </a:moveTo>
                  <a:lnTo>
                    <a:pt x="4099" y="198"/>
                  </a:lnTo>
                  <a:cubicBezTo>
                    <a:pt x="4099" y="1073"/>
                    <a:pt x="4099" y="1073"/>
                    <a:pt x="4099" y="1073"/>
                  </a:cubicBezTo>
                  <a:cubicBezTo>
                    <a:pt x="4099" y="1189"/>
                    <a:pt x="4017" y="1271"/>
                    <a:pt x="3901" y="1271"/>
                  </a:cubicBezTo>
                  <a:cubicBezTo>
                    <a:pt x="198" y="1271"/>
                    <a:pt x="198" y="1271"/>
                    <a:pt x="198" y="1271"/>
                  </a:cubicBezTo>
                  <a:cubicBezTo>
                    <a:pt x="82" y="1271"/>
                    <a:pt x="0" y="1189"/>
                    <a:pt x="0" y="1073"/>
                  </a:cubicBezTo>
                  <a:cubicBezTo>
                    <a:pt x="0" y="198"/>
                    <a:pt x="0" y="198"/>
                    <a:pt x="0" y="198"/>
                  </a:cubicBezTo>
                  <a:cubicBezTo>
                    <a:pt x="0" y="82"/>
                    <a:pt x="82" y="0"/>
                    <a:pt x="198" y="0"/>
                  </a:cubicBezTo>
                  <a:cubicBezTo>
                    <a:pt x="3901" y="0"/>
                    <a:pt x="3901" y="0"/>
                    <a:pt x="3901" y="0"/>
                  </a:cubicBezTo>
                  <a:cubicBezTo>
                    <a:pt x="4017" y="0"/>
                    <a:pt x="4099" y="82"/>
                    <a:pt x="4099" y="198"/>
                  </a:cubicBezTo>
                  <a:close/>
                </a:path>
              </a:pathLst>
            </a:custGeom>
            <a:solidFill>
              <a:schemeClr val="accen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5" name="Google Shape;275;p19"/>
            <p:cNvSpPr/>
            <p:nvPr/>
          </p:nvSpPr>
          <p:spPr>
            <a:xfrm>
              <a:off x="2852640" y="2125440"/>
              <a:ext cx="1035360" cy="457560"/>
            </a:xfrm>
            <a:custGeom>
              <a:avLst/>
              <a:gdLst/>
              <a:ahLst/>
              <a:cxnLst/>
              <a:rect l="l" t="t" r="r" b="b"/>
              <a:pathLst>
                <a:path w="2876" h="1271" extrusionOk="0">
                  <a:moveTo>
                    <a:pt x="2876" y="0"/>
                  </a:moveTo>
                  <a:lnTo>
                    <a:pt x="2876" y="0"/>
                  </a:lnTo>
                  <a:cubicBezTo>
                    <a:pt x="2876" y="1271"/>
                    <a:pt x="2876" y="1271"/>
                    <a:pt x="2876" y="1271"/>
                  </a:cubicBezTo>
                  <a:cubicBezTo>
                    <a:pt x="198" y="1271"/>
                    <a:pt x="198" y="1271"/>
                    <a:pt x="198" y="1271"/>
                  </a:cubicBezTo>
                  <a:cubicBezTo>
                    <a:pt x="82" y="1271"/>
                    <a:pt x="0" y="1189"/>
                    <a:pt x="0" y="1073"/>
                  </a:cubicBezTo>
                  <a:cubicBezTo>
                    <a:pt x="0" y="198"/>
                    <a:pt x="0" y="198"/>
                    <a:pt x="0" y="198"/>
                  </a:cubicBezTo>
                  <a:cubicBezTo>
                    <a:pt x="0" y="82"/>
                    <a:pt x="82" y="0"/>
                    <a:pt x="198" y="0"/>
                  </a:cubicBezTo>
                  <a:lnTo>
                    <a:pt x="2876" y="0"/>
                  </a:ln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6" name="Google Shape;276;p19"/>
            <p:cNvSpPr/>
            <p:nvPr/>
          </p:nvSpPr>
          <p:spPr>
            <a:xfrm>
              <a:off x="4328280" y="2220840"/>
              <a:ext cx="47520" cy="267840"/>
            </a:xfrm>
            <a:custGeom>
              <a:avLst/>
              <a:gdLst/>
              <a:ahLst/>
              <a:cxnLst/>
              <a:rect l="l" t="t" r="r" b="b"/>
              <a:pathLst>
                <a:path w="132" h="744" extrusionOk="0">
                  <a:moveTo>
                    <a:pt x="132" y="677"/>
                  </a:moveTo>
                  <a:lnTo>
                    <a:pt x="132" y="677"/>
                  </a:lnTo>
                  <a:cubicBezTo>
                    <a:pt x="132" y="711"/>
                    <a:pt x="98" y="744"/>
                    <a:pt x="65" y="744"/>
                  </a:cubicBezTo>
                  <a:lnTo>
                    <a:pt x="65" y="744"/>
                  </a:lnTo>
                  <a:cubicBezTo>
                    <a:pt x="33" y="744"/>
                    <a:pt x="0" y="711"/>
                    <a:pt x="0" y="677"/>
                  </a:cubicBezTo>
                  <a:cubicBezTo>
                    <a:pt x="0" y="66"/>
                    <a:pt x="0" y="66"/>
                    <a:pt x="0" y="66"/>
                  </a:cubicBezTo>
                  <a:cubicBezTo>
                    <a:pt x="0" y="33"/>
                    <a:pt x="33" y="0"/>
                    <a:pt x="65" y="0"/>
                  </a:cubicBezTo>
                  <a:lnTo>
                    <a:pt x="65" y="0"/>
                  </a:lnTo>
                  <a:cubicBezTo>
                    <a:pt x="98" y="0"/>
                    <a:pt x="132" y="33"/>
                    <a:pt x="132" y="66"/>
                  </a:cubicBezTo>
                  <a:lnTo>
                    <a:pt x="132" y="677"/>
                  </a:lnTo>
                  <a:close/>
                </a:path>
              </a:pathLst>
            </a:custGeom>
            <a:solidFill>
              <a:schemeClr val="l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7" name="Google Shape;277;p19"/>
            <p:cNvSpPr/>
            <p:nvPr/>
          </p:nvSpPr>
          <p:spPr>
            <a:xfrm>
              <a:off x="2942280" y="2333880"/>
              <a:ext cx="154080" cy="41760"/>
            </a:xfrm>
            <a:custGeom>
              <a:avLst/>
              <a:gdLst/>
              <a:ahLst/>
              <a:cxnLst/>
              <a:rect l="l" t="t" r="r" b="b"/>
              <a:pathLst>
                <a:path w="428" h="116" extrusionOk="0">
                  <a:moveTo>
                    <a:pt x="0" y="116"/>
                  </a:moveTo>
                  <a:lnTo>
                    <a:pt x="0" y="0"/>
                  </a:lnTo>
                  <a:lnTo>
                    <a:pt x="428" y="0"/>
                  </a:lnTo>
                  <a:lnTo>
                    <a:pt x="428" y="116"/>
                  </a:lnTo>
                  <a:lnTo>
                    <a:pt x="0" y="116"/>
                  </a:lnTo>
                  <a:close/>
                </a:path>
              </a:pathLst>
            </a:custGeom>
            <a:solidFill>
              <a:schemeClr val="dk2"/>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8" name="Google Shape;278;p19"/>
            <p:cNvSpPr/>
            <p:nvPr/>
          </p:nvSpPr>
          <p:spPr>
            <a:xfrm>
              <a:off x="4084560" y="2274480"/>
              <a:ext cx="154080" cy="160560"/>
            </a:xfrm>
            <a:custGeom>
              <a:avLst/>
              <a:gdLst/>
              <a:ahLst/>
              <a:cxnLst/>
              <a:rect l="l" t="t" r="r" b="b"/>
              <a:pathLst>
                <a:path w="428" h="446" extrusionOk="0">
                  <a:moveTo>
                    <a:pt x="180" y="263"/>
                  </a:moveTo>
                  <a:lnTo>
                    <a:pt x="0" y="263"/>
                  </a:lnTo>
                  <a:lnTo>
                    <a:pt x="0" y="181"/>
                  </a:lnTo>
                  <a:lnTo>
                    <a:pt x="180" y="181"/>
                  </a:lnTo>
                  <a:lnTo>
                    <a:pt x="180" y="0"/>
                  </a:lnTo>
                  <a:lnTo>
                    <a:pt x="263" y="0"/>
                  </a:lnTo>
                  <a:lnTo>
                    <a:pt x="263" y="181"/>
                  </a:lnTo>
                  <a:lnTo>
                    <a:pt x="428" y="181"/>
                  </a:lnTo>
                  <a:lnTo>
                    <a:pt x="428" y="263"/>
                  </a:lnTo>
                  <a:lnTo>
                    <a:pt x="263" y="263"/>
                  </a:lnTo>
                  <a:lnTo>
                    <a:pt x="263" y="446"/>
                  </a:lnTo>
                  <a:lnTo>
                    <a:pt x="180" y="446"/>
                  </a:lnTo>
                  <a:lnTo>
                    <a:pt x="180" y="263"/>
                  </a:lnTo>
                  <a:close/>
                </a:path>
              </a:pathLst>
            </a:custGeom>
            <a:solidFill>
              <a:schemeClr val="dk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nvGrpSpPr>
          <p:cNvPr id="279" name="Google Shape;279;p19"/>
          <p:cNvGrpSpPr/>
          <p:nvPr/>
        </p:nvGrpSpPr>
        <p:grpSpPr>
          <a:xfrm>
            <a:off x="4794637" y="2888972"/>
            <a:ext cx="1974892" cy="3013538"/>
            <a:chOff x="365760" y="1923120"/>
            <a:chExt cx="1301760" cy="1449720"/>
          </a:xfrm>
        </p:grpSpPr>
        <p:sp>
          <p:nvSpPr>
            <p:cNvPr id="280" name="Google Shape;280;p19"/>
            <p:cNvSpPr/>
            <p:nvPr/>
          </p:nvSpPr>
          <p:spPr>
            <a:xfrm>
              <a:off x="365760" y="1923120"/>
              <a:ext cx="696240" cy="1249200"/>
            </a:xfrm>
            <a:custGeom>
              <a:avLst/>
              <a:gdLst/>
              <a:ahLst/>
              <a:cxnLst/>
              <a:rect l="l" t="t" r="r" b="b"/>
              <a:pathLst>
                <a:path w="1934" h="3470" extrusionOk="0">
                  <a:moveTo>
                    <a:pt x="1785" y="183"/>
                  </a:moveTo>
                  <a:lnTo>
                    <a:pt x="1785" y="183"/>
                  </a:lnTo>
                  <a:lnTo>
                    <a:pt x="1785" y="183"/>
                  </a:lnTo>
                  <a:cubicBezTo>
                    <a:pt x="1702" y="183"/>
                    <a:pt x="1636" y="248"/>
                    <a:pt x="1636" y="330"/>
                  </a:cubicBezTo>
                  <a:cubicBezTo>
                    <a:pt x="1636" y="1404"/>
                    <a:pt x="1636" y="1404"/>
                    <a:pt x="1636" y="1404"/>
                  </a:cubicBezTo>
                  <a:cubicBezTo>
                    <a:pt x="1636" y="1422"/>
                    <a:pt x="1604" y="1455"/>
                    <a:pt x="1586" y="1455"/>
                  </a:cubicBezTo>
                  <a:cubicBezTo>
                    <a:pt x="1553" y="1455"/>
                    <a:pt x="1521" y="1422"/>
                    <a:pt x="1521" y="1404"/>
                  </a:cubicBezTo>
                  <a:cubicBezTo>
                    <a:pt x="1521" y="149"/>
                    <a:pt x="1521" y="149"/>
                    <a:pt x="1521" y="149"/>
                  </a:cubicBezTo>
                  <a:cubicBezTo>
                    <a:pt x="1521" y="67"/>
                    <a:pt x="1471" y="0"/>
                    <a:pt x="1388" y="0"/>
                  </a:cubicBezTo>
                  <a:cubicBezTo>
                    <a:pt x="1372" y="0"/>
                    <a:pt x="1372" y="0"/>
                    <a:pt x="1372" y="0"/>
                  </a:cubicBezTo>
                  <a:cubicBezTo>
                    <a:pt x="1290" y="0"/>
                    <a:pt x="1223" y="67"/>
                    <a:pt x="1223" y="149"/>
                  </a:cubicBezTo>
                  <a:cubicBezTo>
                    <a:pt x="1223" y="1404"/>
                    <a:pt x="1223" y="1404"/>
                    <a:pt x="1223" y="1404"/>
                  </a:cubicBezTo>
                  <a:cubicBezTo>
                    <a:pt x="1223" y="1422"/>
                    <a:pt x="1207" y="1455"/>
                    <a:pt x="1174" y="1455"/>
                  </a:cubicBezTo>
                  <a:cubicBezTo>
                    <a:pt x="1141" y="1455"/>
                    <a:pt x="1125" y="1422"/>
                    <a:pt x="1125" y="1404"/>
                  </a:cubicBezTo>
                  <a:cubicBezTo>
                    <a:pt x="1125" y="149"/>
                    <a:pt x="1125" y="149"/>
                    <a:pt x="1125" y="149"/>
                  </a:cubicBezTo>
                  <a:cubicBezTo>
                    <a:pt x="1125" y="67"/>
                    <a:pt x="1058" y="0"/>
                    <a:pt x="976" y="0"/>
                  </a:cubicBezTo>
                  <a:cubicBezTo>
                    <a:pt x="958" y="0"/>
                    <a:pt x="958" y="0"/>
                    <a:pt x="958" y="0"/>
                  </a:cubicBezTo>
                  <a:cubicBezTo>
                    <a:pt x="876" y="0"/>
                    <a:pt x="811" y="67"/>
                    <a:pt x="811" y="149"/>
                  </a:cubicBezTo>
                  <a:cubicBezTo>
                    <a:pt x="811" y="1404"/>
                    <a:pt x="811" y="1404"/>
                    <a:pt x="811" y="1404"/>
                  </a:cubicBezTo>
                  <a:cubicBezTo>
                    <a:pt x="811" y="1422"/>
                    <a:pt x="793" y="1455"/>
                    <a:pt x="760" y="1455"/>
                  </a:cubicBezTo>
                  <a:cubicBezTo>
                    <a:pt x="728" y="1455"/>
                    <a:pt x="711" y="1422"/>
                    <a:pt x="711" y="1404"/>
                  </a:cubicBezTo>
                  <a:cubicBezTo>
                    <a:pt x="711" y="299"/>
                    <a:pt x="711" y="299"/>
                    <a:pt x="711" y="299"/>
                  </a:cubicBezTo>
                  <a:cubicBezTo>
                    <a:pt x="711" y="215"/>
                    <a:pt x="644" y="149"/>
                    <a:pt x="561" y="149"/>
                  </a:cubicBezTo>
                  <a:cubicBezTo>
                    <a:pt x="546" y="149"/>
                    <a:pt x="546" y="149"/>
                    <a:pt x="546" y="149"/>
                  </a:cubicBezTo>
                  <a:cubicBezTo>
                    <a:pt x="463" y="149"/>
                    <a:pt x="396" y="215"/>
                    <a:pt x="396" y="299"/>
                  </a:cubicBezTo>
                  <a:cubicBezTo>
                    <a:pt x="396" y="1851"/>
                    <a:pt x="396" y="1851"/>
                    <a:pt x="396" y="1851"/>
                  </a:cubicBezTo>
                  <a:cubicBezTo>
                    <a:pt x="331" y="1686"/>
                    <a:pt x="331" y="1686"/>
                    <a:pt x="331" y="1686"/>
                  </a:cubicBezTo>
                  <a:lnTo>
                    <a:pt x="314" y="1668"/>
                  </a:lnTo>
                  <a:cubicBezTo>
                    <a:pt x="314" y="1273"/>
                    <a:pt x="314" y="1273"/>
                    <a:pt x="314" y="1273"/>
                  </a:cubicBezTo>
                  <a:cubicBezTo>
                    <a:pt x="314" y="1190"/>
                    <a:pt x="247" y="1123"/>
                    <a:pt x="165" y="1123"/>
                  </a:cubicBezTo>
                  <a:cubicBezTo>
                    <a:pt x="66" y="1123"/>
                    <a:pt x="0" y="1190"/>
                    <a:pt x="0" y="1273"/>
                  </a:cubicBezTo>
                  <a:cubicBezTo>
                    <a:pt x="0" y="1717"/>
                    <a:pt x="0" y="1717"/>
                    <a:pt x="0" y="1717"/>
                  </a:cubicBezTo>
                  <a:lnTo>
                    <a:pt x="0" y="1735"/>
                  </a:lnTo>
                  <a:cubicBezTo>
                    <a:pt x="0" y="1768"/>
                    <a:pt x="0" y="1800"/>
                    <a:pt x="17" y="1833"/>
                  </a:cubicBezTo>
                  <a:cubicBezTo>
                    <a:pt x="17" y="1833"/>
                    <a:pt x="496" y="2891"/>
                    <a:pt x="496" y="2907"/>
                  </a:cubicBezTo>
                  <a:lnTo>
                    <a:pt x="496" y="2907"/>
                  </a:lnTo>
                  <a:cubicBezTo>
                    <a:pt x="496" y="3321"/>
                    <a:pt x="496" y="3321"/>
                    <a:pt x="496" y="3321"/>
                  </a:cubicBezTo>
                  <a:cubicBezTo>
                    <a:pt x="496" y="3404"/>
                    <a:pt x="561" y="3470"/>
                    <a:pt x="644" y="3470"/>
                  </a:cubicBezTo>
                  <a:cubicBezTo>
                    <a:pt x="1702" y="3470"/>
                    <a:pt x="1702" y="3470"/>
                    <a:pt x="1702" y="3470"/>
                  </a:cubicBezTo>
                  <a:cubicBezTo>
                    <a:pt x="1785" y="3470"/>
                    <a:pt x="1851" y="3404"/>
                    <a:pt x="1851" y="3321"/>
                  </a:cubicBezTo>
                  <a:cubicBezTo>
                    <a:pt x="1851" y="2875"/>
                    <a:pt x="1851" y="2875"/>
                    <a:pt x="1851" y="2875"/>
                  </a:cubicBezTo>
                  <a:cubicBezTo>
                    <a:pt x="1900" y="2791"/>
                    <a:pt x="1934" y="2610"/>
                    <a:pt x="1934" y="2544"/>
                  </a:cubicBezTo>
                  <a:cubicBezTo>
                    <a:pt x="1934" y="330"/>
                    <a:pt x="1934" y="330"/>
                    <a:pt x="1934" y="330"/>
                  </a:cubicBezTo>
                  <a:cubicBezTo>
                    <a:pt x="1934" y="248"/>
                    <a:pt x="1867" y="183"/>
                    <a:pt x="1785" y="183"/>
                  </a:cubicBez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81" name="Google Shape;281;p19"/>
            <p:cNvSpPr/>
            <p:nvPr/>
          </p:nvSpPr>
          <p:spPr>
            <a:xfrm>
              <a:off x="730080" y="2115000"/>
              <a:ext cx="937440" cy="1257840"/>
            </a:xfrm>
            <a:custGeom>
              <a:avLst/>
              <a:gdLst/>
              <a:ahLst/>
              <a:cxnLst/>
              <a:rect l="l" t="t" r="r" b="b"/>
              <a:pathLst>
                <a:path w="2604" h="3494" extrusionOk="0">
                  <a:moveTo>
                    <a:pt x="1385" y="13"/>
                  </a:moveTo>
                  <a:lnTo>
                    <a:pt x="1385" y="13"/>
                  </a:lnTo>
                  <a:cubicBezTo>
                    <a:pt x="1401" y="13"/>
                    <a:pt x="1401" y="13"/>
                    <a:pt x="1401" y="13"/>
                  </a:cubicBezTo>
                  <a:cubicBezTo>
                    <a:pt x="1468" y="46"/>
                    <a:pt x="1501" y="145"/>
                    <a:pt x="1468" y="211"/>
                  </a:cubicBezTo>
                  <a:cubicBezTo>
                    <a:pt x="1020" y="1184"/>
                    <a:pt x="1020" y="1184"/>
                    <a:pt x="1020" y="1184"/>
                  </a:cubicBezTo>
                  <a:cubicBezTo>
                    <a:pt x="1004" y="1202"/>
                    <a:pt x="1004" y="1235"/>
                    <a:pt x="1038" y="1251"/>
                  </a:cubicBezTo>
                  <a:cubicBezTo>
                    <a:pt x="1071" y="1267"/>
                    <a:pt x="1104" y="1251"/>
                    <a:pt x="1104" y="1218"/>
                  </a:cubicBezTo>
                  <a:cubicBezTo>
                    <a:pt x="1633" y="96"/>
                    <a:pt x="1633" y="96"/>
                    <a:pt x="1633" y="96"/>
                  </a:cubicBezTo>
                  <a:cubicBezTo>
                    <a:pt x="1666" y="29"/>
                    <a:pt x="1748" y="-4"/>
                    <a:pt x="1831" y="29"/>
                  </a:cubicBezTo>
                  <a:lnTo>
                    <a:pt x="1831" y="29"/>
                  </a:lnTo>
                  <a:cubicBezTo>
                    <a:pt x="1913" y="62"/>
                    <a:pt x="1947" y="145"/>
                    <a:pt x="1913" y="227"/>
                  </a:cubicBezTo>
                  <a:cubicBezTo>
                    <a:pt x="1385" y="1351"/>
                    <a:pt x="1385" y="1351"/>
                    <a:pt x="1385" y="1351"/>
                  </a:cubicBezTo>
                  <a:cubicBezTo>
                    <a:pt x="1368" y="1383"/>
                    <a:pt x="1385" y="1416"/>
                    <a:pt x="1417" y="1416"/>
                  </a:cubicBezTo>
                  <a:cubicBezTo>
                    <a:pt x="1434" y="1433"/>
                    <a:pt x="1468" y="1433"/>
                    <a:pt x="1483" y="1400"/>
                  </a:cubicBezTo>
                  <a:cubicBezTo>
                    <a:pt x="2012" y="276"/>
                    <a:pt x="2012" y="276"/>
                    <a:pt x="2012" y="276"/>
                  </a:cubicBezTo>
                  <a:cubicBezTo>
                    <a:pt x="2045" y="194"/>
                    <a:pt x="2128" y="162"/>
                    <a:pt x="2194" y="194"/>
                  </a:cubicBezTo>
                  <a:cubicBezTo>
                    <a:pt x="2210" y="211"/>
                    <a:pt x="2210" y="211"/>
                    <a:pt x="2210" y="211"/>
                  </a:cubicBezTo>
                  <a:cubicBezTo>
                    <a:pt x="2277" y="245"/>
                    <a:pt x="2310" y="327"/>
                    <a:pt x="2277" y="392"/>
                  </a:cubicBezTo>
                  <a:cubicBezTo>
                    <a:pt x="1748" y="1532"/>
                    <a:pt x="1748" y="1532"/>
                    <a:pt x="1748" y="1532"/>
                  </a:cubicBezTo>
                  <a:cubicBezTo>
                    <a:pt x="1748" y="1549"/>
                    <a:pt x="1748" y="1581"/>
                    <a:pt x="1782" y="1598"/>
                  </a:cubicBezTo>
                  <a:cubicBezTo>
                    <a:pt x="1813" y="1614"/>
                    <a:pt x="1847" y="1598"/>
                    <a:pt x="1847" y="1565"/>
                  </a:cubicBezTo>
                  <a:cubicBezTo>
                    <a:pt x="2310" y="575"/>
                    <a:pt x="2310" y="575"/>
                    <a:pt x="2310" y="575"/>
                  </a:cubicBezTo>
                  <a:cubicBezTo>
                    <a:pt x="2343" y="508"/>
                    <a:pt x="2442" y="475"/>
                    <a:pt x="2508" y="508"/>
                  </a:cubicBezTo>
                  <a:cubicBezTo>
                    <a:pt x="2524" y="508"/>
                    <a:pt x="2524" y="508"/>
                    <a:pt x="2524" y="508"/>
                  </a:cubicBezTo>
                  <a:cubicBezTo>
                    <a:pt x="2591" y="541"/>
                    <a:pt x="2624" y="624"/>
                    <a:pt x="2591" y="706"/>
                  </a:cubicBezTo>
                  <a:cubicBezTo>
                    <a:pt x="1929" y="2111"/>
                    <a:pt x="1929" y="2111"/>
                    <a:pt x="1929" y="2111"/>
                  </a:cubicBezTo>
                  <a:cubicBezTo>
                    <a:pt x="2063" y="1995"/>
                    <a:pt x="2063" y="1995"/>
                    <a:pt x="2063" y="1995"/>
                  </a:cubicBezTo>
                  <a:cubicBezTo>
                    <a:pt x="2078" y="1995"/>
                    <a:pt x="2078" y="1978"/>
                    <a:pt x="2096" y="1978"/>
                  </a:cubicBezTo>
                  <a:cubicBezTo>
                    <a:pt x="2261" y="1632"/>
                    <a:pt x="2261" y="1632"/>
                    <a:pt x="2261" y="1632"/>
                  </a:cubicBezTo>
                  <a:cubicBezTo>
                    <a:pt x="2294" y="1549"/>
                    <a:pt x="2393" y="1516"/>
                    <a:pt x="2475" y="1549"/>
                  </a:cubicBezTo>
                  <a:cubicBezTo>
                    <a:pt x="2542" y="1581"/>
                    <a:pt x="2575" y="1681"/>
                    <a:pt x="2542" y="1763"/>
                  </a:cubicBezTo>
                  <a:cubicBezTo>
                    <a:pt x="2359" y="2160"/>
                    <a:pt x="2359" y="2160"/>
                    <a:pt x="2359" y="2160"/>
                  </a:cubicBezTo>
                  <a:cubicBezTo>
                    <a:pt x="2359" y="2160"/>
                    <a:pt x="2359" y="2176"/>
                    <a:pt x="2343" y="2176"/>
                  </a:cubicBezTo>
                  <a:cubicBezTo>
                    <a:pt x="2343" y="2209"/>
                    <a:pt x="2326" y="2242"/>
                    <a:pt x="2294" y="2258"/>
                  </a:cubicBezTo>
                  <a:cubicBezTo>
                    <a:pt x="2294" y="2258"/>
                    <a:pt x="1417" y="3020"/>
                    <a:pt x="1401" y="3036"/>
                  </a:cubicBezTo>
                  <a:lnTo>
                    <a:pt x="1401" y="3036"/>
                  </a:lnTo>
                  <a:cubicBezTo>
                    <a:pt x="1236" y="3399"/>
                    <a:pt x="1236" y="3399"/>
                    <a:pt x="1236" y="3399"/>
                  </a:cubicBezTo>
                  <a:cubicBezTo>
                    <a:pt x="1203" y="3481"/>
                    <a:pt x="1104" y="3515"/>
                    <a:pt x="1038" y="3481"/>
                  </a:cubicBezTo>
                  <a:cubicBezTo>
                    <a:pt x="79" y="3036"/>
                    <a:pt x="79" y="3036"/>
                    <a:pt x="79" y="3036"/>
                  </a:cubicBezTo>
                  <a:cubicBezTo>
                    <a:pt x="13" y="3002"/>
                    <a:pt x="-21" y="2904"/>
                    <a:pt x="13" y="2837"/>
                  </a:cubicBezTo>
                  <a:cubicBezTo>
                    <a:pt x="195" y="2441"/>
                    <a:pt x="195" y="2441"/>
                    <a:pt x="195" y="2441"/>
                  </a:cubicBezTo>
                  <a:cubicBezTo>
                    <a:pt x="178" y="2342"/>
                    <a:pt x="227" y="2160"/>
                    <a:pt x="244" y="2093"/>
                  </a:cubicBezTo>
                  <a:cubicBezTo>
                    <a:pt x="1187" y="78"/>
                    <a:pt x="1187" y="78"/>
                    <a:pt x="1187" y="78"/>
                  </a:cubicBezTo>
                  <a:cubicBezTo>
                    <a:pt x="1218" y="13"/>
                    <a:pt x="1303" y="-20"/>
                    <a:pt x="1385" y="13"/>
                  </a:cubicBezTo>
                  <a:close/>
                </a:path>
              </a:pathLst>
            </a:custGeom>
            <a:solidFill>
              <a:schemeClr val="accent3"/>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 name="Foliennummernplatzhalter 1">
            <a:extLst>
              <a:ext uri="{FF2B5EF4-FFF2-40B4-BE49-F238E27FC236}">
                <a16:creationId xmlns:a16="http://schemas.microsoft.com/office/drawing/2014/main" id="{827DF1D1-0716-FA36-B871-C258DC442CF2}"/>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282"/>
        <p:cNvGrpSpPr/>
        <p:nvPr/>
      </p:nvGrpSpPr>
      <p:grpSpPr>
        <a:xfrm>
          <a:off x="0" y="0"/>
          <a:ext cx="0" cy="0"/>
          <a:chOff x="0" y="0"/>
          <a:chExt cx="0" cy="0"/>
        </a:xfrm>
      </p:grpSpPr>
      <p:sp>
        <p:nvSpPr>
          <p:cNvPr id="284" name="Google Shape;284;p20"/>
          <p:cNvSpPr/>
          <p:nvPr/>
        </p:nvSpPr>
        <p:spPr>
          <a:xfrm>
            <a:off x="5486401" y="-1317356"/>
            <a:ext cx="2665708" cy="2438817"/>
          </a:xfrm>
          <a:prstGeom prst="ellipse">
            <a:avLst/>
          </a:prstGeom>
          <a:solidFill>
            <a:schemeClr val="tx2">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85" name="Google Shape;285;p20"/>
          <p:cNvSpPr/>
          <p:nvPr/>
        </p:nvSpPr>
        <p:spPr>
          <a:xfrm>
            <a:off x="2956130" y="9855463"/>
            <a:ext cx="3220671" cy="2837315"/>
          </a:xfrm>
          <a:prstGeom prst="ellipse">
            <a:avLst/>
          </a:prstGeom>
          <a:solidFill>
            <a:schemeClr val="tx2">
              <a:alpha val="195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86" name="Google Shape;286;p20"/>
          <p:cNvGrpSpPr/>
          <p:nvPr/>
        </p:nvGrpSpPr>
        <p:grpSpPr>
          <a:xfrm flipH="1">
            <a:off x="-251979" y="-316"/>
            <a:ext cx="2768924" cy="10340720"/>
            <a:chOff x="6046787" y="-152"/>
            <a:chExt cx="3349223" cy="4974600"/>
          </a:xfrm>
        </p:grpSpPr>
        <p:sp>
          <p:nvSpPr>
            <p:cNvPr id="287" name="Google Shape;287;p20"/>
            <p:cNvSpPr/>
            <p:nvPr/>
          </p:nvSpPr>
          <p:spPr>
            <a:xfrm flipH="1">
              <a:off x="8219410" y="4690048"/>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88" name="Google Shape;288;p20"/>
            <p:cNvSpPr/>
            <p:nvPr/>
          </p:nvSpPr>
          <p:spPr>
            <a:xfrm rot="10800000">
              <a:off x="6159494" y="475218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89" name="Google Shape;289;p20"/>
            <p:cNvSpPr/>
            <p:nvPr/>
          </p:nvSpPr>
          <p:spPr>
            <a:xfrm rot="10800000">
              <a:off x="6130267" y="4741158"/>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90" name="Google Shape;290;p20"/>
            <p:cNvSpPr/>
            <p:nvPr/>
          </p:nvSpPr>
          <p:spPr>
            <a:xfrm rot="10800000">
              <a:off x="6046787" y="4782810"/>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91" name="Google Shape;291;p20"/>
            <p:cNvSpPr/>
            <p:nvPr/>
          </p:nvSpPr>
          <p:spPr>
            <a:xfrm rot="10800000">
              <a:off x="6046787" y="4856489"/>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292" name="Google Shape;292;p20"/>
            <p:cNvCxnSpPr>
              <a:endCxn id="287" idx="3"/>
            </p:cNvCxnSpPr>
            <p:nvPr/>
          </p:nvCxnSpPr>
          <p:spPr>
            <a:xfrm>
              <a:off x="6350110" y="4832248"/>
              <a:ext cx="1869300" cy="0"/>
            </a:xfrm>
            <a:prstGeom prst="straightConnector1">
              <a:avLst/>
            </a:prstGeom>
            <a:noFill/>
            <a:ln w="9525" cap="flat" cmpd="sng">
              <a:solidFill>
                <a:schemeClr val="dk1"/>
              </a:solidFill>
              <a:prstDash val="solid"/>
              <a:round/>
              <a:headEnd type="none" w="med" len="med"/>
              <a:tailEnd type="none" w="med" len="med"/>
            </a:ln>
          </p:spPr>
        </p:cxnSp>
        <p:cxnSp>
          <p:nvCxnSpPr>
            <p:cNvPr id="293" name="Google Shape;293;p20"/>
            <p:cNvCxnSpPr>
              <a:endCxn id="287" idx="0"/>
            </p:cNvCxnSpPr>
            <p:nvPr/>
          </p:nvCxnSpPr>
          <p:spPr>
            <a:xfrm>
              <a:off x="8807710" y="-152"/>
              <a:ext cx="0" cy="4690200"/>
            </a:xfrm>
            <a:prstGeom prst="straightConnector1">
              <a:avLst/>
            </a:prstGeom>
            <a:noFill/>
            <a:ln w="9525" cap="flat" cmpd="sng">
              <a:solidFill>
                <a:schemeClr val="dk1"/>
              </a:solidFill>
              <a:prstDash val="solid"/>
              <a:round/>
              <a:headEnd type="none" w="med" len="med"/>
              <a:tailEnd type="none" w="med" len="med"/>
            </a:ln>
          </p:spPr>
        </p:cxnSp>
      </p:grpSp>
      <p:sp>
        <p:nvSpPr>
          <p:cNvPr id="2" name="Foliennummernplatzhalter 1">
            <a:extLst>
              <a:ext uri="{FF2B5EF4-FFF2-40B4-BE49-F238E27FC236}">
                <a16:creationId xmlns:a16="http://schemas.microsoft.com/office/drawing/2014/main" id="{95791FDA-5998-A60A-38CE-0AD4491BB448}"/>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55"/>
        <p:cNvGrpSpPr/>
        <p:nvPr/>
      </p:nvGrpSpPr>
      <p:grpSpPr>
        <a:xfrm>
          <a:off x="0" y="0"/>
          <a:ext cx="0" cy="0"/>
          <a:chOff x="0" y="0"/>
          <a:chExt cx="0" cy="0"/>
        </a:xfrm>
      </p:grpSpPr>
      <p:sp>
        <p:nvSpPr>
          <p:cNvPr id="56" name="Google Shape;56;p5"/>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7" name="Google Shape;57;p5"/>
          <p:cNvSpPr txBox="1">
            <a:spLocks noGrp="1"/>
          </p:cNvSpPr>
          <p:nvPr>
            <p:ph type="subTitle" idx="1"/>
          </p:nvPr>
        </p:nvSpPr>
        <p:spPr>
          <a:xfrm>
            <a:off x="1236849" y="7614736"/>
            <a:ext cx="5594110" cy="1955608"/>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8" name="Google Shape;58;p5"/>
          <p:cNvSpPr txBox="1">
            <a:spLocks noGrp="1"/>
          </p:cNvSpPr>
          <p:nvPr>
            <p:ph type="subTitle" idx="2"/>
          </p:nvPr>
        </p:nvSpPr>
        <p:spPr>
          <a:xfrm>
            <a:off x="1236662" y="3947769"/>
            <a:ext cx="5594110" cy="1955607"/>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9" name="Google Shape;59;p5"/>
          <p:cNvSpPr txBox="1">
            <a:spLocks noGrp="1"/>
          </p:cNvSpPr>
          <p:nvPr>
            <p:ph type="subTitle" idx="3"/>
          </p:nvPr>
        </p:nvSpPr>
        <p:spPr>
          <a:xfrm>
            <a:off x="1236663" y="2902598"/>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60" name="Google Shape;60;p5"/>
          <p:cNvSpPr txBox="1">
            <a:spLocks noGrp="1"/>
          </p:cNvSpPr>
          <p:nvPr>
            <p:ph type="subTitle" idx="4"/>
          </p:nvPr>
        </p:nvSpPr>
        <p:spPr>
          <a:xfrm>
            <a:off x="1236853" y="6569567"/>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grpSp>
        <p:nvGrpSpPr>
          <p:cNvPr id="61" name="Google Shape;61;p5"/>
          <p:cNvGrpSpPr/>
          <p:nvPr/>
        </p:nvGrpSpPr>
        <p:grpSpPr>
          <a:xfrm>
            <a:off x="22" y="-54674"/>
            <a:ext cx="7559645" cy="11548655"/>
            <a:chOff x="26" y="-26302"/>
            <a:chExt cx="9143964" cy="5555700"/>
          </a:xfrm>
        </p:grpSpPr>
        <p:grpSp>
          <p:nvGrpSpPr>
            <p:cNvPr id="62" name="Google Shape;62;p5"/>
            <p:cNvGrpSpPr/>
            <p:nvPr/>
          </p:nvGrpSpPr>
          <p:grpSpPr>
            <a:xfrm flipH="1">
              <a:off x="26" y="-26302"/>
              <a:ext cx="1357398" cy="5555700"/>
              <a:chOff x="7798852" y="-39350"/>
              <a:chExt cx="1357398" cy="5555700"/>
            </a:xfrm>
          </p:grpSpPr>
          <p:sp>
            <p:nvSpPr>
              <p:cNvPr id="63" name="Google Shape;63;p5"/>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64" name="Google Shape;64;p5"/>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5" name="Google Shape;65;p5"/>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6" name="Google Shape;66;p5"/>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7" name="Google Shape;67;p5"/>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68" name="Google Shape;68;p5"/>
              <p:cNvCxnSpPr/>
              <p:nvPr/>
            </p:nvCxnSpPr>
            <p:spPr>
              <a:xfrm>
                <a:off x="8099950" y="278675"/>
                <a:ext cx="1056300" cy="0"/>
              </a:xfrm>
              <a:prstGeom prst="straightConnector1">
                <a:avLst/>
              </a:prstGeom>
              <a:noFill/>
              <a:ln w="9525" cap="flat" cmpd="sng">
                <a:solidFill>
                  <a:schemeClr val="dk1"/>
                </a:solidFill>
                <a:prstDash val="solid"/>
                <a:round/>
                <a:headEnd type="none" w="med" len="med"/>
                <a:tailEnd type="none" w="med" len="med"/>
              </a:ln>
            </p:spPr>
          </p:cxnSp>
          <p:cxnSp>
            <p:nvCxnSpPr>
              <p:cNvPr id="69" name="Google Shape;69;p5"/>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sp>
          <p:nvSpPr>
            <p:cNvPr id="70" name="Google Shape;70;p5"/>
            <p:cNvSpPr/>
            <p:nvPr/>
          </p:nvSpPr>
          <p:spPr>
            <a:xfrm flipH="1">
              <a:off x="8630270" y="3802368"/>
              <a:ext cx="513720" cy="1424520"/>
            </a:xfrm>
            <a:custGeom>
              <a:avLst/>
              <a:gdLst/>
              <a:ahLst/>
              <a:cxnLst/>
              <a:rect l="l" t="t" r="r" b="b"/>
              <a:pathLst>
                <a:path w="1427" h="3957" fill="none" extrusionOk="0">
                  <a:moveTo>
                    <a:pt x="0" y="0"/>
                  </a:moveTo>
                  <a:lnTo>
                    <a:pt x="0" y="0"/>
                  </a:lnTo>
                  <a:cubicBezTo>
                    <a:pt x="959" y="0"/>
                    <a:pt x="959" y="0"/>
                    <a:pt x="959" y="0"/>
                  </a:cubicBezTo>
                  <a:cubicBezTo>
                    <a:pt x="1216" y="0"/>
                    <a:pt x="1427" y="207"/>
                    <a:pt x="1427" y="465"/>
                  </a:cubicBezTo>
                  <a:cubicBezTo>
                    <a:pt x="1427" y="3957"/>
                    <a:pt x="1427" y="3957"/>
                    <a:pt x="1427" y="3957"/>
                  </a:cubicBezTo>
                </a:path>
              </a:pathLst>
            </a:custGeom>
            <a:noFill/>
            <a:ln w="9525" cap="rnd" cmpd="sng">
              <a:solidFill>
                <a:schemeClr val="dk1"/>
              </a:solidFill>
              <a:prstDash val="solid"/>
              <a:round/>
              <a:headEnd type="none" w="sm" len="sm"/>
              <a:tailEnd type="none" w="sm" len="sm"/>
            </a:ln>
          </p:spPr>
          <p:txBody>
            <a:bodyPr spcFirstLastPara="1" wrap="square" lIns="92500" tIns="47500" rIns="92500" bIns="475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71" name="Google Shape;71;p5"/>
          <p:cNvSpPr/>
          <p:nvPr/>
        </p:nvSpPr>
        <p:spPr>
          <a:xfrm>
            <a:off x="6830772" y="-784996"/>
            <a:ext cx="1837834" cy="1779461"/>
          </a:xfrm>
          <a:prstGeom prst="ellipse">
            <a:avLst/>
          </a:prstGeom>
          <a:solidFill>
            <a:schemeClr val="tx2">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7260C281-3029-BC6C-001B-4D47D6A4925F}"/>
              </a:ext>
            </a:extLst>
          </p:cNvPr>
          <p:cNvSpPr>
            <a:spLocks noGrp="1"/>
          </p:cNvSpPr>
          <p:nvPr>
            <p:ph type="sldNum" sz="quarter" idx="10"/>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2"/>
        <p:cNvGrpSpPr/>
        <p:nvPr/>
      </p:nvGrpSpPr>
      <p:grpSpPr>
        <a:xfrm>
          <a:off x="0" y="0"/>
          <a:ext cx="0" cy="0"/>
          <a:chOff x="0" y="0"/>
          <a:chExt cx="0" cy="0"/>
        </a:xfrm>
      </p:grpSpPr>
      <p:grpSp>
        <p:nvGrpSpPr>
          <p:cNvPr id="11" name="Gruppieren 10">
            <a:extLst>
              <a:ext uri="{FF2B5EF4-FFF2-40B4-BE49-F238E27FC236}">
                <a16:creationId xmlns:a16="http://schemas.microsoft.com/office/drawing/2014/main" id="{689FD61C-3776-FC37-4910-7A6831805C9E}"/>
              </a:ext>
            </a:extLst>
          </p:cNvPr>
          <p:cNvGrpSpPr/>
          <p:nvPr userDrawn="1"/>
        </p:nvGrpSpPr>
        <p:grpSpPr>
          <a:xfrm>
            <a:off x="-336634" y="3487842"/>
            <a:ext cx="1152131" cy="6863589"/>
            <a:chOff x="-314862" y="3705556"/>
            <a:chExt cx="1152131" cy="6863589"/>
          </a:xfrm>
        </p:grpSpPr>
        <p:sp>
          <p:nvSpPr>
            <p:cNvPr id="74" name="Google Shape;74;p6"/>
            <p:cNvSpPr/>
            <p:nvPr/>
          </p:nvSpPr>
          <p:spPr>
            <a:xfrm>
              <a:off x="-314862" y="9874899"/>
              <a:ext cx="1152131" cy="69424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cxnSp>
          <p:nvCxnSpPr>
            <p:cNvPr id="75" name="Google Shape;75;p6"/>
            <p:cNvCxnSpPr/>
            <p:nvPr/>
          </p:nvCxnSpPr>
          <p:spPr>
            <a:xfrm rot="10800000">
              <a:off x="261205" y="4126383"/>
              <a:ext cx="0" cy="5755931"/>
            </a:xfrm>
            <a:prstGeom prst="straightConnector1">
              <a:avLst/>
            </a:prstGeom>
            <a:noFill/>
            <a:ln w="9525" cap="flat" cmpd="sng">
              <a:solidFill>
                <a:schemeClr val="dk1"/>
              </a:solidFill>
              <a:prstDash val="solid"/>
              <a:round/>
              <a:headEnd type="none" w="med" len="med"/>
              <a:tailEnd type="none" w="med" len="med"/>
            </a:ln>
          </p:spPr>
        </p:cxnSp>
        <p:grpSp>
          <p:nvGrpSpPr>
            <p:cNvPr id="76" name="Google Shape;76;p6"/>
            <p:cNvGrpSpPr/>
            <p:nvPr/>
          </p:nvGrpSpPr>
          <p:grpSpPr>
            <a:xfrm rot="16200000">
              <a:off x="36935" y="3736713"/>
              <a:ext cx="448536" cy="386222"/>
              <a:chOff x="2135702" y="4668492"/>
              <a:chExt cx="303118" cy="182185"/>
            </a:xfrm>
          </p:grpSpPr>
          <p:sp>
            <p:nvSpPr>
              <p:cNvPr id="77" name="Google Shape;77;p6"/>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78" name="Google Shape;78;p6"/>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79" name="Google Shape;79;p6"/>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80" name="Google Shape;80;p6"/>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sp>
        <p:nvSpPr>
          <p:cNvPr id="88" name="Google Shape;88;p6"/>
          <p:cNvSpPr/>
          <p:nvPr/>
        </p:nvSpPr>
        <p:spPr>
          <a:xfrm>
            <a:off x="6402251" y="9649315"/>
            <a:ext cx="1699812" cy="1689246"/>
          </a:xfrm>
          <a:prstGeom prst="ellipse">
            <a:avLst/>
          </a:prstGeom>
          <a:solidFill>
            <a:schemeClr val="tx2">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89" name="Google Shape;89;p6"/>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12" name="Gruppieren 11">
            <a:extLst>
              <a:ext uri="{FF2B5EF4-FFF2-40B4-BE49-F238E27FC236}">
                <a16:creationId xmlns:a16="http://schemas.microsoft.com/office/drawing/2014/main" id="{D823FB11-0E31-C292-9291-8B476CA77618}"/>
              </a:ext>
            </a:extLst>
          </p:cNvPr>
          <p:cNvGrpSpPr/>
          <p:nvPr userDrawn="1"/>
        </p:nvGrpSpPr>
        <p:grpSpPr>
          <a:xfrm rot="10800000">
            <a:off x="6725079" y="-168308"/>
            <a:ext cx="1152131" cy="6863589"/>
            <a:chOff x="-314862" y="3705556"/>
            <a:chExt cx="1152131" cy="6863589"/>
          </a:xfrm>
        </p:grpSpPr>
        <p:sp>
          <p:nvSpPr>
            <p:cNvPr id="13" name="Google Shape;74;p6">
              <a:extLst>
                <a:ext uri="{FF2B5EF4-FFF2-40B4-BE49-F238E27FC236}">
                  <a16:creationId xmlns:a16="http://schemas.microsoft.com/office/drawing/2014/main" id="{9BA63B30-10B9-5DC8-5AF6-A2399396FACB}"/>
                </a:ext>
              </a:extLst>
            </p:cNvPr>
            <p:cNvSpPr/>
            <p:nvPr/>
          </p:nvSpPr>
          <p:spPr>
            <a:xfrm>
              <a:off x="-314862" y="9874899"/>
              <a:ext cx="1152131" cy="69424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cxnSp>
          <p:nvCxnSpPr>
            <p:cNvPr id="14" name="Google Shape;75;p6">
              <a:extLst>
                <a:ext uri="{FF2B5EF4-FFF2-40B4-BE49-F238E27FC236}">
                  <a16:creationId xmlns:a16="http://schemas.microsoft.com/office/drawing/2014/main" id="{EBD81741-1ACA-5D8C-61E2-0C6C28D41A4F}"/>
                </a:ext>
              </a:extLst>
            </p:cNvPr>
            <p:cNvCxnSpPr/>
            <p:nvPr/>
          </p:nvCxnSpPr>
          <p:spPr>
            <a:xfrm rot="10800000">
              <a:off x="261205" y="4126383"/>
              <a:ext cx="0" cy="5755931"/>
            </a:xfrm>
            <a:prstGeom prst="straightConnector1">
              <a:avLst/>
            </a:prstGeom>
            <a:noFill/>
            <a:ln w="9525" cap="flat" cmpd="sng">
              <a:solidFill>
                <a:schemeClr val="dk1"/>
              </a:solidFill>
              <a:prstDash val="solid"/>
              <a:round/>
              <a:headEnd type="none" w="med" len="med"/>
              <a:tailEnd type="none" w="med" len="med"/>
            </a:ln>
          </p:spPr>
        </p:cxnSp>
        <p:grpSp>
          <p:nvGrpSpPr>
            <p:cNvPr id="15" name="Google Shape;76;p6">
              <a:extLst>
                <a:ext uri="{FF2B5EF4-FFF2-40B4-BE49-F238E27FC236}">
                  <a16:creationId xmlns:a16="http://schemas.microsoft.com/office/drawing/2014/main" id="{506BD864-ABD7-F57B-644D-9A0D3BD76531}"/>
                </a:ext>
              </a:extLst>
            </p:cNvPr>
            <p:cNvGrpSpPr/>
            <p:nvPr/>
          </p:nvGrpSpPr>
          <p:grpSpPr>
            <a:xfrm rot="16200000">
              <a:off x="36935" y="3736713"/>
              <a:ext cx="448536" cy="386222"/>
              <a:chOff x="2135702" y="4668492"/>
              <a:chExt cx="303118" cy="182185"/>
            </a:xfrm>
          </p:grpSpPr>
          <p:sp>
            <p:nvSpPr>
              <p:cNvPr id="16" name="Google Shape;77;p6">
                <a:extLst>
                  <a:ext uri="{FF2B5EF4-FFF2-40B4-BE49-F238E27FC236}">
                    <a16:creationId xmlns:a16="http://schemas.microsoft.com/office/drawing/2014/main" id="{EC225537-538F-422D-5FC1-E037F6545A2E}"/>
                  </a:ext>
                </a:extLst>
              </p:cNvPr>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 name="Google Shape;78;p6">
                <a:extLst>
                  <a:ext uri="{FF2B5EF4-FFF2-40B4-BE49-F238E27FC236}">
                    <a16:creationId xmlns:a16="http://schemas.microsoft.com/office/drawing/2014/main" id="{ED94F7A4-889A-5011-6445-434D53C94400}"/>
                  </a:ext>
                </a:extLst>
              </p:cNvPr>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8" name="Google Shape;79;p6">
                <a:extLst>
                  <a:ext uri="{FF2B5EF4-FFF2-40B4-BE49-F238E27FC236}">
                    <a16:creationId xmlns:a16="http://schemas.microsoft.com/office/drawing/2014/main" id="{3ED90230-90C9-A553-8A45-75C46612EAB0}"/>
                  </a:ext>
                </a:extLst>
              </p:cNvPr>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 name="Google Shape;80;p6">
                <a:extLst>
                  <a:ext uri="{FF2B5EF4-FFF2-40B4-BE49-F238E27FC236}">
                    <a16:creationId xmlns:a16="http://schemas.microsoft.com/office/drawing/2014/main" id="{1105F20E-8714-7901-B035-818D7D773464}"/>
                  </a:ext>
                </a:extLst>
              </p:cNvPr>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sp>
        <p:nvSpPr>
          <p:cNvPr id="2" name="Foliennummernplatzhalter 1">
            <a:extLst>
              <a:ext uri="{FF2B5EF4-FFF2-40B4-BE49-F238E27FC236}">
                <a16:creationId xmlns:a16="http://schemas.microsoft.com/office/drawing/2014/main" id="{642EEDAB-8AB8-AA0A-A18C-6AD46E189271}"/>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90"/>
        <p:cNvGrpSpPr/>
        <p:nvPr/>
      </p:nvGrpSpPr>
      <p:grpSpPr>
        <a:xfrm>
          <a:off x="0" y="0"/>
          <a:ext cx="0" cy="0"/>
          <a:chOff x="0" y="0"/>
          <a:chExt cx="0" cy="0"/>
        </a:xfrm>
      </p:grpSpPr>
      <p:grpSp>
        <p:nvGrpSpPr>
          <p:cNvPr id="92" name="Google Shape;92;p7"/>
          <p:cNvGrpSpPr/>
          <p:nvPr/>
        </p:nvGrpSpPr>
        <p:grpSpPr>
          <a:xfrm>
            <a:off x="-101699" y="307461"/>
            <a:ext cx="5595514" cy="10412435"/>
            <a:chOff x="-123013" y="147910"/>
            <a:chExt cx="6768198" cy="5009100"/>
          </a:xfrm>
        </p:grpSpPr>
        <p:sp>
          <p:nvSpPr>
            <p:cNvPr id="93" name="Google Shape;93;p7"/>
            <p:cNvSpPr/>
            <p:nvPr/>
          </p:nvSpPr>
          <p:spPr>
            <a:xfrm rot="10800000" flipH="1">
              <a:off x="-123013" y="14791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94" name="Google Shape;94;p7"/>
            <p:cNvSpPr/>
            <p:nvPr/>
          </p:nvSpPr>
          <p:spPr>
            <a:xfrm>
              <a:off x="6342067" y="213016"/>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5" name="Google Shape;95;p7"/>
            <p:cNvSpPr/>
            <p:nvPr/>
          </p:nvSpPr>
          <p:spPr>
            <a:xfrm>
              <a:off x="6532479" y="199015"/>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6" name="Google Shape;96;p7"/>
            <p:cNvSpPr/>
            <p:nvPr/>
          </p:nvSpPr>
          <p:spPr>
            <a:xfrm>
              <a:off x="6561705" y="314522"/>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7" name="Google Shape;97;p7"/>
            <p:cNvSpPr/>
            <p:nvPr/>
          </p:nvSpPr>
          <p:spPr>
            <a:xfrm>
              <a:off x="6561705" y="240668"/>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98" name="Google Shape;98;p7"/>
            <p:cNvCxnSpPr>
              <a:endCxn id="93" idx="3"/>
            </p:cNvCxnSpPr>
            <p:nvPr/>
          </p:nvCxnSpPr>
          <p:spPr>
            <a:xfrm rot="10800000">
              <a:off x="1053587" y="290110"/>
              <a:ext cx="5285100" cy="0"/>
            </a:xfrm>
            <a:prstGeom prst="straightConnector1">
              <a:avLst/>
            </a:prstGeom>
            <a:noFill/>
            <a:ln w="9525" cap="flat" cmpd="sng">
              <a:solidFill>
                <a:schemeClr val="dk1"/>
              </a:solidFill>
              <a:prstDash val="solid"/>
              <a:round/>
              <a:headEnd type="none" w="med" len="med"/>
              <a:tailEnd type="none" w="med" len="med"/>
            </a:ln>
          </p:spPr>
        </p:cxnSp>
        <p:cxnSp>
          <p:nvCxnSpPr>
            <p:cNvPr id="99" name="Google Shape;99;p7"/>
            <p:cNvCxnSpPr>
              <a:endCxn id="93" idx="0"/>
            </p:cNvCxnSpPr>
            <p:nvPr/>
          </p:nvCxnSpPr>
          <p:spPr>
            <a:xfrm rot="10800000">
              <a:off x="465287" y="432310"/>
              <a:ext cx="0" cy="4724700"/>
            </a:xfrm>
            <a:prstGeom prst="straightConnector1">
              <a:avLst/>
            </a:prstGeom>
            <a:noFill/>
            <a:ln w="9525" cap="flat" cmpd="sng">
              <a:solidFill>
                <a:schemeClr val="dk1"/>
              </a:solidFill>
              <a:prstDash val="solid"/>
              <a:round/>
              <a:headEnd type="none" w="med" len="med"/>
              <a:tailEnd type="none" w="med" len="med"/>
            </a:ln>
          </p:spPr>
        </p:cxnSp>
      </p:grpSp>
      <p:sp>
        <p:nvSpPr>
          <p:cNvPr id="100" name="Google Shape;100;p7"/>
          <p:cNvSpPr>
            <a:spLocks noGrp="1"/>
          </p:cNvSpPr>
          <p:nvPr>
            <p:ph type="pic" idx="2"/>
          </p:nvPr>
        </p:nvSpPr>
        <p:spPr>
          <a:xfrm>
            <a:off x="589649" y="2813058"/>
            <a:ext cx="3031063" cy="6757450"/>
          </a:xfrm>
          <a:prstGeom prst="rect">
            <a:avLst/>
          </a:prstGeom>
          <a:noFill/>
          <a:ln w="9525" cap="flat" cmpd="sng">
            <a:solidFill>
              <a:schemeClr val="dk1"/>
            </a:solidFill>
            <a:prstDash val="dash"/>
            <a:round/>
            <a:headEnd type="none" w="sm" len="sm"/>
            <a:tailEnd type="none" w="sm" len="sm"/>
          </a:ln>
        </p:spPr>
      </p:sp>
      <p:sp>
        <p:nvSpPr>
          <p:cNvPr id="101" name="Google Shape;101;p7"/>
          <p:cNvSpPr txBox="1">
            <a:spLocks noGrp="1"/>
          </p:cNvSpPr>
          <p:nvPr>
            <p:ph type="title"/>
          </p:nvPr>
        </p:nvSpPr>
        <p:spPr>
          <a:xfrm>
            <a:off x="589649" y="1121461"/>
            <a:ext cx="6380088" cy="1197333"/>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02" name="Google Shape;102;p7"/>
          <p:cNvSpPr txBox="1">
            <a:spLocks noGrp="1"/>
          </p:cNvSpPr>
          <p:nvPr>
            <p:ph type="subTitle" idx="1"/>
          </p:nvPr>
        </p:nvSpPr>
        <p:spPr>
          <a:xfrm>
            <a:off x="3734367" y="2813058"/>
            <a:ext cx="3235432" cy="675745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Char char="☐"/>
              <a:defRPr/>
            </a:lvl1pPr>
            <a:lvl2pPr lvl="1" algn="ctr" rtl="0">
              <a:lnSpc>
                <a:spcPct val="115000"/>
              </a:lnSpc>
              <a:spcBef>
                <a:spcPts val="0"/>
              </a:spcBef>
              <a:spcAft>
                <a:spcPts val="0"/>
              </a:spcAft>
              <a:buClr>
                <a:srgbClr val="E76A28"/>
              </a:buClr>
              <a:buSzPts val="1600"/>
              <a:buFont typeface="Nunito Light"/>
              <a:buChar char="○"/>
              <a:defRPr/>
            </a:lvl2pPr>
            <a:lvl3pPr lvl="2" algn="ctr" rtl="0">
              <a:lnSpc>
                <a:spcPct val="115000"/>
              </a:lnSpc>
              <a:spcBef>
                <a:spcPts val="0"/>
              </a:spcBef>
              <a:spcAft>
                <a:spcPts val="0"/>
              </a:spcAft>
              <a:buClr>
                <a:srgbClr val="E76A28"/>
              </a:buClr>
              <a:buSzPts val="1500"/>
              <a:buFont typeface="Nunito Light"/>
              <a:buChar char="■"/>
              <a:defRPr/>
            </a:lvl3pPr>
            <a:lvl4pPr lvl="3" algn="ctr" rtl="0">
              <a:lnSpc>
                <a:spcPct val="115000"/>
              </a:lnSpc>
              <a:spcBef>
                <a:spcPts val="0"/>
              </a:spcBef>
              <a:spcAft>
                <a:spcPts val="0"/>
              </a:spcAft>
              <a:buClr>
                <a:srgbClr val="E76A28"/>
              </a:buClr>
              <a:buSzPts val="1500"/>
              <a:buFont typeface="Nunito Light"/>
              <a:buChar char="●"/>
              <a:defRPr/>
            </a:lvl4pPr>
            <a:lvl5pPr lvl="4" algn="ctr" rtl="0">
              <a:lnSpc>
                <a:spcPct val="115000"/>
              </a:lnSpc>
              <a:spcBef>
                <a:spcPts val="0"/>
              </a:spcBef>
              <a:spcAft>
                <a:spcPts val="0"/>
              </a:spcAft>
              <a:buClr>
                <a:srgbClr val="E76A28"/>
              </a:buClr>
              <a:buSzPts val="1400"/>
              <a:buFont typeface="Nunito Light"/>
              <a:buChar char="○"/>
              <a:defRPr/>
            </a:lvl5pPr>
            <a:lvl6pPr lvl="5" algn="ctr" rtl="0">
              <a:lnSpc>
                <a:spcPct val="115000"/>
              </a:lnSpc>
              <a:spcBef>
                <a:spcPts val="0"/>
              </a:spcBef>
              <a:spcAft>
                <a:spcPts val="0"/>
              </a:spcAft>
              <a:buClr>
                <a:srgbClr val="999999"/>
              </a:buClr>
              <a:buSzPts val="1400"/>
              <a:buFont typeface="Nunito Light"/>
              <a:buChar char="■"/>
              <a:defRPr/>
            </a:lvl6pPr>
            <a:lvl7pPr lvl="6" algn="ctr" rtl="0">
              <a:lnSpc>
                <a:spcPct val="115000"/>
              </a:lnSpc>
              <a:spcBef>
                <a:spcPts val="0"/>
              </a:spcBef>
              <a:spcAft>
                <a:spcPts val="0"/>
              </a:spcAft>
              <a:buClr>
                <a:srgbClr val="999999"/>
              </a:buClr>
              <a:buSzPts val="1300"/>
              <a:buFont typeface="Nunito Light"/>
              <a:buChar char="●"/>
              <a:defRPr/>
            </a:lvl7pPr>
            <a:lvl8pPr lvl="7" algn="ctr" rtl="0">
              <a:lnSpc>
                <a:spcPct val="115000"/>
              </a:lnSpc>
              <a:spcBef>
                <a:spcPts val="0"/>
              </a:spcBef>
              <a:spcAft>
                <a:spcPts val="0"/>
              </a:spcAft>
              <a:buClr>
                <a:srgbClr val="999999"/>
              </a:buClr>
              <a:buSzPts val="1300"/>
              <a:buFont typeface="Nunito Light"/>
              <a:buChar char="○"/>
              <a:defRPr/>
            </a:lvl8pPr>
            <a:lvl9pPr lvl="8" algn="ctr" rtl="0">
              <a:lnSpc>
                <a:spcPct val="115000"/>
              </a:lnSpc>
              <a:spcBef>
                <a:spcPts val="0"/>
              </a:spcBef>
              <a:spcAft>
                <a:spcPts val="0"/>
              </a:spcAft>
              <a:buClr>
                <a:srgbClr val="999999"/>
              </a:buClr>
              <a:buSzPts val="1400"/>
              <a:buFont typeface="Nunito Light"/>
              <a:buChar char="■"/>
              <a:defRPr/>
            </a:lvl9pPr>
          </a:lstStyle>
          <a:p>
            <a:endParaRPr/>
          </a:p>
        </p:txBody>
      </p:sp>
      <p:sp>
        <p:nvSpPr>
          <p:cNvPr id="2" name="Google Shape;88;p6">
            <a:extLst>
              <a:ext uri="{FF2B5EF4-FFF2-40B4-BE49-F238E27FC236}">
                <a16:creationId xmlns:a16="http://schemas.microsoft.com/office/drawing/2014/main" id="{40CD9D3D-1B30-4252-0588-4F6F448A5892}"/>
              </a:ext>
            </a:extLst>
          </p:cNvPr>
          <p:cNvSpPr/>
          <p:nvPr userDrawn="1"/>
        </p:nvSpPr>
        <p:spPr>
          <a:xfrm>
            <a:off x="6402251" y="9649315"/>
            <a:ext cx="1699812" cy="1689246"/>
          </a:xfrm>
          <a:prstGeom prst="ellipse">
            <a:avLst/>
          </a:prstGeom>
          <a:solidFill>
            <a:schemeClr val="tx2">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3" name="Foliennummernplatzhalter 1">
            <a:extLst>
              <a:ext uri="{FF2B5EF4-FFF2-40B4-BE49-F238E27FC236}">
                <a16:creationId xmlns:a16="http://schemas.microsoft.com/office/drawing/2014/main" id="{84F07C89-F943-7807-269A-351F118DA317}"/>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03"/>
        <p:cNvGrpSpPr/>
        <p:nvPr/>
      </p:nvGrpSpPr>
      <p:grpSpPr>
        <a:xfrm>
          <a:off x="0" y="0"/>
          <a:ext cx="0" cy="0"/>
          <a:chOff x="0" y="0"/>
          <a:chExt cx="0" cy="0"/>
        </a:xfrm>
      </p:grpSpPr>
      <p:sp>
        <p:nvSpPr>
          <p:cNvPr id="105" name="Google Shape;105;p8"/>
          <p:cNvSpPr/>
          <p:nvPr/>
        </p:nvSpPr>
        <p:spPr>
          <a:xfrm>
            <a:off x="6804088" y="3787140"/>
            <a:ext cx="3140011" cy="3418394"/>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06" name="Google Shape;106;p8"/>
          <p:cNvSpPr/>
          <p:nvPr/>
        </p:nvSpPr>
        <p:spPr>
          <a:xfrm>
            <a:off x="-906779" y="8899793"/>
            <a:ext cx="3550920" cy="3711308"/>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107" name="Google Shape;107;p8"/>
          <p:cNvGrpSpPr/>
          <p:nvPr/>
        </p:nvGrpSpPr>
        <p:grpSpPr>
          <a:xfrm>
            <a:off x="6598920" y="1095950"/>
            <a:ext cx="1568179" cy="8797939"/>
            <a:chOff x="8600525" y="613700"/>
            <a:chExt cx="1278200" cy="4132500"/>
          </a:xfrm>
        </p:grpSpPr>
        <p:sp>
          <p:nvSpPr>
            <p:cNvPr id="108" name="Google Shape;108;p8"/>
            <p:cNvSpPr/>
            <p:nvPr/>
          </p:nvSpPr>
          <p:spPr>
            <a:xfrm>
              <a:off x="8600525" y="446180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09" name="Google Shape;109;p8"/>
            <p:cNvSpPr/>
            <p:nvPr/>
          </p:nvSpPr>
          <p:spPr>
            <a:xfrm>
              <a:off x="8702125" y="61370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sp>
        <p:nvSpPr>
          <p:cNvPr id="110" name="Google Shape;110;p8"/>
          <p:cNvSpPr txBox="1">
            <a:spLocks noGrp="1"/>
          </p:cNvSpPr>
          <p:nvPr>
            <p:ph type="title"/>
          </p:nvPr>
        </p:nvSpPr>
        <p:spPr>
          <a:xfrm>
            <a:off x="589649" y="2861440"/>
            <a:ext cx="4237436" cy="4968934"/>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3059"/>
            </a:lvl1pPr>
            <a:lvl2pPr lvl="1">
              <a:spcBef>
                <a:spcPts val="0"/>
              </a:spcBef>
              <a:spcAft>
                <a:spcPts val="0"/>
              </a:spcAft>
              <a:buSzPts val="4800"/>
              <a:buNone/>
              <a:defRPr sz="3968"/>
            </a:lvl2pPr>
            <a:lvl3pPr lvl="2">
              <a:spcBef>
                <a:spcPts val="0"/>
              </a:spcBef>
              <a:spcAft>
                <a:spcPts val="0"/>
              </a:spcAft>
              <a:buSzPts val="4800"/>
              <a:buNone/>
              <a:defRPr sz="3968"/>
            </a:lvl3pPr>
            <a:lvl4pPr lvl="3">
              <a:spcBef>
                <a:spcPts val="0"/>
              </a:spcBef>
              <a:spcAft>
                <a:spcPts val="0"/>
              </a:spcAft>
              <a:buSzPts val="4800"/>
              <a:buNone/>
              <a:defRPr sz="3968"/>
            </a:lvl4pPr>
            <a:lvl5pPr lvl="4">
              <a:spcBef>
                <a:spcPts val="0"/>
              </a:spcBef>
              <a:spcAft>
                <a:spcPts val="0"/>
              </a:spcAft>
              <a:buSzPts val="4800"/>
              <a:buNone/>
              <a:defRPr sz="3968"/>
            </a:lvl5pPr>
            <a:lvl6pPr lvl="5">
              <a:spcBef>
                <a:spcPts val="0"/>
              </a:spcBef>
              <a:spcAft>
                <a:spcPts val="0"/>
              </a:spcAft>
              <a:buSzPts val="4800"/>
              <a:buNone/>
              <a:defRPr sz="3968"/>
            </a:lvl6pPr>
            <a:lvl7pPr lvl="6">
              <a:spcBef>
                <a:spcPts val="0"/>
              </a:spcBef>
              <a:spcAft>
                <a:spcPts val="0"/>
              </a:spcAft>
              <a:buSzPts val="4800"/>
              <a:buNone/>
              <a:defRPr sz="3968"/>
            </a:lvl7pPr>
            <a:lvl8pPr lvl="7">
              <a:spcBef>
                <a:spcPts val="0"/>
              </a:spcBef>
              <a:spcAft>
                <a:spcPts val="0"/>
              </a:spcAft>
              <a:buSzPts val="4800"/>
              <a:buNone/>
              <a:defRPr sz="3968"/>
            </a:lvl8pPr>
            <a:lvl9pPr lvl="8">
              <a:spcBef>
                <a:spcPts val="0"/>
              </a:spcBef>
              <a:spcAft>
                <a:spcPts val="0"/>
              </a:spcAft>
              <a:buSzPts val="4800"/>
              <a:buNone/>
              <a:defRPr sz="3968"/>
            </a:lvl9pPr>
          </a:lstStyle>
          <a:p>
            <a:endParaRPr/>
          </a:p>
        </p:txBody>
      </p:sp>
      <p:sp>
        <p:nvSpPr>
          <p:cNvPr id="2" name="Foliennummernplatzhalter 1">
            <a:extLst>
              <a:ext uri="{FF2B5EF4-FFF2-40B4-BE49-F238E27FC236}">
                <a16:creationId xmlns:a16="http://schemas.microsoft.com/office/drawing/2014/main" id="{4ABEFD9A-6AFD-D652-0776-916367286485}"/>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26"/>
        <p:cNvGrpSpPr/>
        <p:nvPr/>
      </p:nvGrpSpPr>
      <p:grpSpPr>
        <a:xfrm>
          <a:off x="0" y="0"/>
          <a:ext cx="0" cy="0"/>
          <a:chOff x="0" y="0"/>
          <a:chExt cx="0" cy="0"/>
        </a:xfrm>
      </p:grpSpPr>
      <p:sp>
        <p:nvSpPr>
          <p:cNvPr id="127" name="Google Shape;127;p10"/>
          <p:cNvSpPr>
            <a:spLocks noGrp="1"/>
          </p:cNvSpPr>
          <p:nvPr>
            <p:ph type="pic" idx="2"/>
          </p:nvPr>
        </p:nvSpPr>
        <p:spPr>
          <a:xfrm>
            <a:off x="1" y="-14345"/>
            <a:ext cx="7559675" cy="10720499"/>
          </a:xfrm>
          <a:prstGeom prst="rect">
            <a:avLst/>
          </a:prstGeom>
          <a:noFill/>
          <a:ln>
            <a:noFill/>
          </a:ln>
        </p:spPr>
      </p:sp>
      <p:sp>
        <p:nvSpPr>
          <p:cNvPr id="128" name="Google Shape;128;p10"/>
          <p:cNvSpPr txBox="1">
            <a:spLocks noGrp="1"/>
          </p:cNvSpPr>
          <p:nvPr>
            <p:ph type="title"/>
          </p:nvPr>
        </p:nvSpPr>
        <p:spPr>
          <a:xfrm>
            <a:off x="595250" y="1121461"/>
            <a:ext cx="3106957" cy="14891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t" anchorCtr="0">
            <a:noAutofit/>
          </a:bodyPr>
          <a:lstStyle>
            <a:lvl1pPr lvl="0" algn="ctr" rtl="0">
              <a:spcBef>
                <a:spcPts val="0"/>
              </a:spcBef>
              <a:spcAft>
                <a:spcPts val="0"/>
              </a:spcAft>
              <a:buSzPts val="1800"/>
              <a:buNone/>
              <a:defRPr sz="1488"/>
            </a:lvl1pPr>
            <a:lvl2pPr lvl="1" algn="ctr" rtl="0">
              <a:spcBef>
                <a:spcPts val="0"/>
              </a:spcBef>
              <a:spcAft>
                <a:spcPts val="0"/>
              </a:spcAft>
              <a:buSzPts val="1800"/>
              <a:buNone/>
              <a:defRPr sz="1488"/>
            </a:lvl2pPr>
            <a:lvl3pPr lvl="2" algn="ctr" rtl="0">
              <a:spcBef>
                <a:spcPts val="0"/>
              </a:spcBef>
              <a:spcAft>
                <a:spcPts val="0"/>
              </a:spcAft>
              <a:buSzPts val="1800"/>
              <a:buNone/>
              <a:defRPr sz="1488"/>
            </a:lvl3pPr>
            <a:lvl4pPr lvl="3" algn="ctr" rtl="0">
              <a:spcBef>
                <a:spcPts val="0"/>
              </a:spcBef>
              <a:spcAft>
                <a:spcPts val="0"/>
              </a:spcAft>
              <a:buSzPts val="1800"/>
              <a:buNone/>
              <a:defRPr sz="1488"/>
            </a:lvl4pPr>
            <a:lvl5pPr lvl="4" algn="ctr" rtl="0">
              <a:spcBef>
                <a:spcPts val="0"/>
              </a:spcBef>
              <a:spcAft>
                <a:spcPts val="0"/>
              </a:spcAft>
              <a:buSzPts val="1800"/>
              <a:buNone/>
              <a:defRPr sz="1488"/>
            </a:lvl5pPr>
            <a:lvl6pPr lvl="5" algn="ctr" rtl="0">
              <a:spcBef>
                <a:spcPts val="0"/>
              </a:spcBef>
              <a:spcAft>
                <a:spcPts val="0"/>
              </a:spcAft>
              <a:buSzPts val="1800"/>
              <a:buNone/>
              <a:defRPr sz="1488"/>
            </a:lvl6pPr>
            <a:lvl7pPr lvl="6" algn="ctr" rtl="0">
              <a:spcBef>
                <a:spcPts val="0"/>
              </a:spcBef>
              <a:spcAft>
                <a:spcPts val="0"/>
              </a:spcAft>
              <a:buSzPts val="1800"/>
              <a:buNone/>
              <a:defRPr sz="1488"/>
            </a:lvl7pPr>
            <a:lvl8pPr lvl="7" algn="ctr" rtl="0">
              <a:spcBef>
                <a:spcPts val="0"/>
              </a:spcBef>
              <a:spcAft>
                <a:spcPts val="0"/>
              </a:spcAft>
              <a:buSzPts val="1800"/>
              <a:buNone/>
              <a:defRPr sz="1488"/>
            </a:lvl8pPr>
            <a:lvl9pPr lvl="8" algn="ctr" rtl="0">
              <a:spcBef>
                <a:spcPts val="0"/>
              </a:spcBef>
              <a:spcAft>
                <a:spcPts val="0"/>
              </a:spcAft>
              <a:buSzPts val="1800"/>
              <a:buNone/>
              <a:defRPr sz="1488"/>
            </a:lvl9pPr>
          </a:lstStyle>
          <a:p>
            <a:endParaRPr/>
          </a:p>
        </p:txBody>
      </p:sp>
      <p:sp>
        <p:nvSpPr>
          <p:cNvPr id="2" name="Foliennummernplatzhalter 1">
            <a:extLst>
              <a:ext uri="{FF2B5EF4-FFF2-40B4-BE49-F238E27FC236}">
                <a16:creationId xmlns:a16="http://schemas.microsoft.com/office/drawing/2014/main" id="{CD2ACF65-2144-A344-CC9F-5E30961020ED}"/>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four columns">
  <p:cSld name="CUSTOM_5">
    <p:spTree>
      <p:nvGrpSpPr>
        <p:cNvPr id="1" name="Shape 159"/>
        <p:cNvGrpSpPr/>
        <p:nvPr/>
      </p:nvGrpSpPr>
      <p:grpSpPr>
        <a:xfrm>
          <a:off x="0" y="0"/>
          <a:ext cx="0" cy="0"/>
          <a:chOff x="0" y="0"/>
          <a:chExt cx="0" cy="0"/>
        </a:xfrm>
      </p:grpSpPr>
      <p:grpSp>
        <p:nvGrpSpPr>
          <p:cNvPr id="160" name="Google Shape;160;p14"/>
          <p:cNvGrpSpPr/>
          <p:nvPr/>
        </p:nvGrpSpPr>
        <p:grpSpPr>
          <a:xfrm>
            <a:off x="-5217" y="-873783"/>
            <a:ext cx="7564106" cy="12340641"/>
            <a:chOff x="-6310" y="-420350"/>
            <a:chExt cx="9149360" cy="5936700"/>
          </a:xfrm>
        </p:grpSpPr>
        <p:grpSp>
          <p:nvGrpSpPr>
            <p:cNvPr id="161" name="Google Shape;161;p14"/>
            <p:cNvGrpSpPr/>
            <p:nvPr/>
          </p:nvGrpSpPr>
          <p:grpSpPr>
            <a:xfrm>
              <a:off x="7798852" y="-39350"/>
              <a:ext cx="1344198" cy="5555700"/>
              <a:chOff x="7798852" y="-39350"/>
              <a:chExt cx="1344198" cy="5555700"/>
            </a:xfrm>
          </p:grpSpPr>
          <p:sp>
            <p:nvSpPr>
              <p:cNvPr id="162" name="Google Shape;162;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63" name="Google Shape;163;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4" name="Google Shape;164;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5" name="Google Shape;165;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6" name="Google Shape;166;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67" name="Google Shape;167;p14"/>
              <p:cNvCxnSpPr/>
              <p:nvPr/>
            </p:nvCxnSpPr>
            <p:spPr>
              <a:xfrm>
                <a:off x="8099950" y="278675"/>
                <a:ext cx="1043100" cy="0"/>
              </a:xfrm>
              <a:prstGeom prst="straightConnector1">
                <a:avLst/>
              </a:prstGeom>
              <a:noFill/>
              <a:ln w="9525" cap="flat" cmpd="sng">
                <a:solidFill>
                  <a:schemeClr val="dk1"/>
                </a:solidFill>
                <a:prstDash val="solid"/>
                <a:round/>
                <a:headEnd type="none" w="med" len="med"/>
                <a:tailEnd type="none" w="med" len="med"/>
              </a:ln>
            </p:spPr>
          </p:cxnSp>
          <p:cxnSp>
            <p:nvCxnSpPr>
              <p:cNvPr id="168" name="Google Shape;168;p14"/>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grpSp>
          <p:nvGrpSpPr>
            <p:cNvPr id="169" name="Google Shape;169;p14"/>
            <p:cNvGrpSpPr/>
            <p:nvPr/>
          </p:nvGrpSpPr>
          <p:grpSpPr>
            <a:xfrm rot="10800000">
              <a:off x="-6310" y="-420350"/>
              <a:ext cx="1361898" cy="5566800"/>
              <a:chOff x="7798852" y="-50450"/>
              <a:chExt cx="1361898" cy="5566800"/>
            </a:xfrm>
          </p:grpSpPr>
          <p:sp>
            <p:nvSpPr>
              <p:cNvPr id="170" name="Google Shape;170;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1" name="Google Shape;171;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2" name="Google Shape;172;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3" name="Google Shape;173;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4" name="Google Shape;174;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75" name="Google Shape;175;p14"/>
              <p:cNvCxnSpPr/>
              <p:nvPr/>
            </p:nvCxnSpPr>
            <p:spPr>
              <a:xfrm>
                <a:off x="8099950" y="278675"/>
                <a:ext cx="1060800" cy="0"/>
              </a:xfrm>
              <a:prstGeom prst="straightConnector1">
                <a:avLst/>
              </a:prstGeom>
              <a:noFill/>
              <a:ln w="9525" cap="flat" cmpd="sng">
                <a:solidFill>
                  <a:schemeClr val="dk1"/>
                </a:solidFill>
                <a:prstDash val="solid"/>
                <a:round/>
                <a:headEnd type="none" w="med" len="med"/>
                <a:tailEnd type="none" w="med" len="med"/>
              </a:ln>
            </p:spPr>
          </p:cxnSp>
          <p:cxnSp>
            <p:nvCxnSpPr>
              <p:cNvPr id="176" name="Google Shape;176;p14"/>
              <p:cNvCxnSpPr/>
              <p:nvPr/>
            </p:nvCxnSpPr>
            <p:spPr>
              <a:xfrm rot="10800000">
                <a:off x="8805875" y="-50450"/>
                <a:ext cx="0" cy="4390200"/>
              </a:xfrm>
              <a:prstGeom prst="straightConnector1">
                <a:avLst/>
              </a:prstGeom>
              <a:noFill/>
              <a:ln w="9525" cap="flat" cmpd="sng">
                <a:solidFill>
                  <a:schemeClr val="dk1"/>
                </a:solidFill>
                <a:prstDash val="solid"/>
                <a:round/>
                <a:headEnd type="none" w="med" len="med"/>
                <a:tailEnd type="none" w="med" len="med"/>
              </a:ln>
            </p:spPr>
          </p:cxnSp>
        </p:grpSp>
      </p:grpSp>
      <p:sp>
        <p:nvSpPr>
          <p:cNvPr id="177" name="Google Shape;177;p14"/>
          <p:cNvSpPr/>
          <p:nvPr/>
        </p:nvSpPr>
        <p:spPr>
          <a:xfrm>
            <a:off x="2789304" y="-1433106"/>
            <a:ext cx="1837834" cy="2033800"/>
          </a:xfrm>
          <a:prstGeom prst="ellipse">
            <a:avLst/>
          </a:prstGeom>
          <a:solidFill>
            <a:schemeClr val="tx2">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8" name="Google Shape;178;p14"/>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79" name="Google Shape;179;p14"/>
          <p:cNvSpPr txBox="1">
            <a:spLocks noGrp="1"/>
          </p:cNvSpPr>
          <p:nvPr>
            <p:ph type="subTitle" idx="1"/>
          </p:nvPr>
        </p:nvSpPr>
        <p:spPr>
          <a:xfrm>
            <a:off x="1318896"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0" name="Google Shape;180;p14"/>
          <p:cNvSpPr txBox="1">
            <a:spLocks noGrp="1"/>
          </p:cNvSpPr>
          <p:nvPr>
            <p:ph type="subTitle" idx="2"/>
          </p:nvPr>
        </p:nvSpPr>
        <p:spPr>
          <a:xfrm>
            <a:off x="1318896"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1" name="Google Shape;181;p14"/>
          <p:cNvSpPr txBox="1">
            <a:spLocks noGrp="1"/>
          </p:cNvSpPr>
          <p:nvPr>
            <p:ph type="subTitle" idx="3"/>
          </p:nvPr>
        </p:nvSpPr>
        <p:spPr>
          <a:xfrm>
            <a:off x="4546017"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2" name="Google Shape;182;p14"/>
          <p:cNvSpPr txBox="1">
            <a:spLocks noGrp="1"/>
          </p:cNvSpPr>
          <p:nvPr>
            <p:ph type="subTitle" idx="4"/>
          </p:nvPr>
        </p:nvSpPr>
        <p:spPr>
          <a:xfrm>
            <a:off x="4546037"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3" name="Google Shape;183;p14"/>
          <p:cNvSpPr txBox="1">
            <a:spLocks noGrp="1"/>
          </p:cNvSpPr>
          <p:nvPr>
            <p:ph type="title" idx="5" hasCustomPrompt="1"/>
          </p:nvPr>
        </p:nvSpPr>
        <p:spPr>
          <a:xfrm>
            <a:off x="596407" y="305111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2"/>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4" name="Google Shape;184;p14"/>
          <p:cNvSpPr txBox="1">
            <a:spLocks noGrp="1"/>
          </p:cNvSpPr>
          <p:nvPr>
            <p:ph type="title" idx="6" hasCustomPrompt="1"/>
          </p:nvPr>
        </p:nvSpPr>
        <p:spPr>
          <a:xfrm>
            <a:off x="3823592" y="305111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2"/>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5" name="Google Shape;185;p14"/>
          <p:cNvSpPr txBox="1">
            <a:spLocks noGrp="1"/>
          </p:cNvSpPr>
          <p:nvPr>
            <p:ph type="title" idx="7" hasCustomPrompt="1"/>
          </p:nvPr>
        </p:nvSpPr>
        <p:spPr>
          <a:xfrm>
            <a:off x="596407" y="652598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2"/>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6" name="Google Shape;186;p14"/>
          <p:cNvSpPr txBox="1">
            <a:spLocks noGrp="1"/>
          </p:cNvSpPr>
          <p:nvPr>
            <p:ph type="title" idx="8" hasCustomPrompt="1"/>
          </p:nvPr>
        </p:nvSpPr>
        <p:spPr>
          <a:xfrm>
            <a:off x="3823592" y="652598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accent2"/>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7" name="Google Shape;187;p14"/>
          <p:cNvSpPr txBox="1">
            <a:spLocks noGrp="1"/>
          </p:cNvSpPr>
          <p:nvPr>
            <p:ph type="subTitle" idx="9"/>
          </p:nvPr>
        </p:nvSpPr>
        <p:spPr>
          <a:xfrm>
            <a:off x="1318896" y="3051117"/>
            <a:ext cx="2423908" cy="181408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8" name="Google Shape;188;p14"/>
          <p:cNvSpPr txBox="1">
            <a:spLocks noGrp="1"/>
          </p:cNvSpPr>
          <p:nvPr>
            <p:ph type="subTitle" idx="13"/>
          </p:nvPr>
        </p:nvSpPr>
        <p:spPr>
          <a:xfrm>
            <a:off x="1318851"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9" name="Google Shape;189;p14"/>
          <p:cNvSpPr txBox="1">
            <a:spLocks noGrp="1"/>
          </p:cNvSpPr>
          <p:nvPr>
            <p:ph type="subTitle" idx="14"/>
          </p:nvPr>
        </p:nvSpPr>
        <p:spPr>
          <a:xfrm>
            <a:off x="4546015" y="305111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90" name="Google Shape;190;p14"/>
          <p:cNvSpPr txBox="1">
            <a:spLocks noGrp="1"/>
          </p:cNvSpPr>
          <p:nvPr>
            <p:ph type="subTitle" idx="15"/>
          </p:nvPr>
        </p:nvSpPr>
        <p:spPr>
          <a:xfrm>
            <a:off x="4546037"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 name="Foliennummernplatzhalter 1">
            <a:extLst>
              <a:ext uri="{FF2B5EF4-FFF2-40B4-BE49-F238E27FC236}">
                <a16:creationId xmlns:a16="http://schemas.microsoft.com/office/drawing/2014/main" id="{05F9729A-C430-9D6B-A555-EFC7E6860562}"/>
              </a:ext>
            </a:extLst>
          </p:cNvPr>
          <p:cNvSpPr>
            <a:spLocks noGrp="1"/>
          </p:cNvSpPr>
          <p:nvPr>
            <p:ph type="sldNum" sz="quarter" idx="16"/>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six columns">
  <p:cSld name="CUSTOM_7">
    <p:spTree>
      <p:nvGrpSpPr>
        <p:cNvPr id="1" name="Shape 191"/>
        <p:cNvGrpSpPr/>
        <p:nvPr/>
      </p:nvGrpSpPr>
      <p:grpSpPr>
        <a:xfrm>
          <a:off x="0" y="0"/>
          <a:ext cx="0" cy="0"/>
          <a:chOff x="0" y="0"/>
          <a:chExt cx="0" cy="0"/>
        </a:xfrm>
      </p:grpSpPr>
      <p:grpSp>
        <p:nvGrpSpPr>
          <p:cNvPr id="192" name="Google Shape;192;p15"/>
          <p:cNvGrpSpPr/>
          <p:nvPr/>
        </p:nvGrpSpPr>
        <p:grpSpPr>
          <a:xfrm>
            <a:off x="4999097" y="-328556"/>
            <a:ext cx="2768924" cy="10340720"/>
            <a:chOff x="6046787" y="-152"/>
            <a:chExt cx="3349223" cy="4974600"/>
          </a:xfrm>
        </p:grpSpPr>
        <p:sp>
          <p:nvSpPr>
            <p:cNvPr id="193" name="Google Shape;193;p15"/>
            <p:cNvSpPr/>
            <p:nvPr/>
          </p:nvSpPr>
          <p:spPr>
            <a:xfrm flipH="1">
              <a:off x="8219410" y="4690048"/>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94" name="Google Shape;194;p15"/>
            <p:cNvSpPr/>
            <p:nvPr/>
          </p:nvSpPr>
          <p:spPr>
            <a:xfrm rot="10800000">
              <a:off x="6159494" y="475218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5" name="Google Shape;195;p15"/>
            <p:cNvSpPr/>
            <p:nvPr/>
          </p:nvSpPr>
          <p:spPr>
            <a:xfrm rot="10800000">
              <a:off x="6130267" y="4741158"/>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6" name="Google Shape;196;p15"/>
            <p:cNvSpPr/>
            <p:nvPr/>
          </p:nvSpPr>
          <p:spPr>
            <a:xfrm rot="10800000">
              <a:off x="6046787" y="4782810"/>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7" name="Google Shape;197;p15"/>
            <p:cNvSpPr/>
            <p:nvPr/>
          </p:nvSpPr>
          <p:spPr>
            <a:xfrm rot="10800000">
              <a:off x="6046787" y="4856489"/>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98" name="Google Shape;198;p15"/>
            <p:cNvCxnSpPr>
              <a:endCxn id="193" idx="3"/>
            </p:cNvCxnSpPr>
            <p:nvPr/>
          </p:nvCxnSpPr>
          <p:spPr>
            <a:xfrm>
              <a:off x="6350110" y="4832248"/>
              <a:ext cx="1869300" cy="0"/>
            </a:xfrm>
            <a:prstGeom prst="straightConnector1">
              <a:avLst/>
            </a:prstGeom>
            <a:noFill/>
            <a:ln w="9525" cap="flat" cmpd="sng">
              <a:solidFill>
                <a:schemeClr val="dk1"/>
              </a:solidFill>
              <a:prstDash val="solid"/>
              <a:round/>
              <a:headEnd type="none" w="med" len="med"/>
              <a:tailEnd type="none" w="med" len="med"/>
            </a:ln>
          </p:spPr>
        </p:cxnSp>
        <p:cxnSp>
          <p:nvCxnSpPr>
            <p:cNvPr id="199" name="Google Shape;199;p15"/>
            <p:cNvCxnSpPr>
              <a:endCxn id="193" idx="0"/>
            </p:cNvCxnSpPr>
            <p:nvPr/>
          </p:nvCxnSpPr>
          <p:spPr>
            <a:xfrm>
              <a:off x="8807710" y="-152"/>
              <a:ext cx="0" cy="4690200"/>
            </a:xfrm>
            <a:prstGeom prst="straightConnector1">
              <a:avLst/>
            </a:prstGeom>
            <a:noFill/>
            <a:ln w="9525" cap="flat" cmpd="sng">
              <a:solidFill>
                <a:schemeClr val="dk1"/>
              </a:solidFill>
              <a:prstDash val="solid"/>
              <a:round/>
              <a:headEnd type="none" w="med" len="med"/>
              <a:tailEnd type="none" w="med" len="med"/>
            </a:ln>
          </p:spPr>
        </p:cxnSp>
      </p:grpSp>
      <p:sp>
        <p:nvSpPr>
          <p:cNvPr id="201" name="Google Shape;201;p15"/>
          <p:cNvSpPr/>
          <p:nvPr/>
        </p:nvSpPr>
        <p:spPr>
          <a:xfrm>
            <a:off x="-1394082" y="-1738089"/>
            <a:ext cx="2522453" cy="2645886"/>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02" name="Google Shape;202;p15"/>
          <p:cNvSpPr/>
          <p:nvPr/>
        </p:nvSpPr>
        <p:spPr>
          <a:xfrm>
            <a:off x="1613121" y="9958759"/>
            <a:ext cx="2792866" cy="2535624"/>
          </a:xfrm>
          <a:prstGeom prst="ellipse">
            <a:avLst/>
          </a:prstGeom>
          <a:solidFill>
            <a:schemeClr val="tx2">
              <a:alpha val="1646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03" name="Google Shape;203;p15"/>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04" name="Google Shape;204;p15"/>
          <p:cNvSpPr txBox="1">
            <a:spLocks noGrp="1"/>
          </p:cNvSpPr>
          <p:nvPr>
            <p:ph type="subTitle" idx="1"/>
          </p:nvPr>
        </p:nvSpPr>
        <p:spPr>
          <a:xfrm>
            <a:off x="595250"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5" name="Google Shape;205;p15"/>
          <p:cNvSpPr txBox="1">
            <a:spLocks noGrp="1"/>
          </p:cNvSpPr>
          <p:nvPr>
            <p:ph type="subTitle" idx="2"/>
          </p:nvPr>
        </p:nvSpPr>
        <p:spPr>
          <a:xfrm>
            <a:off x="2792901"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6" name="Google Shape;206;p15"/>
          <p:cNvSpPr txBox="1">
            <a:spLocks noGrp="1"/>
          </p:cNvSpPr>
          <p:nvPr>
            <p:ph type="subTitle" idx="3"/>
          </p:nvPr>
        </p:nvSpPr>
        <p:spPr>
          <a:xfrm>
            <a:off x="595250"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7" name="Google Shape;207;p15"/>
          <p:cNvSpPr txBox="1">
            <a:spLocks noGrp="1"/>
          </p:cNvSpPr>
          <p:nvPr>
            <p:ph type="subTitle" idx="4"/>
          </p:nvPr>
        </p:nvSpPr>
        <p:spPr>
          <a:xfrm>
            <a:off x="2792901"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8" name="Google Shape;208;p15"/>
          <p:cNvSpPr txBox="1">
            <a:spLocks noGrp="1"/>
          </p:cNvSpPr>
          <p:nvPr>
            <p:ph type="subTitle" idx="5"/>
          </p:nvPr>
        </p:nvSpPr>
        <p:spPr>
          <a:xfrm>
            <a:off x="4990551"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9" name="Google Shape;209;p15"/>
          <p:cNvSpPr txBox="1">
            <a:spLocks noGrp="1"/>
          </p:cNvSpPr>
          <p:nvPr>
            <p:ph type="subTitle" idx="6"/>
          </p:nvPr>
        </p:nvSpPr>
        <p:spPr>
          <a:xfrm>
            <a:off x="4990551"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10" name="Google Shape;210;p15"/>
          <p:cNvSpPr txBox="1">
            <a:spLocks noGrp="1"/>
          </p:cNvSpPr>
          <p:nvPr>
            <p:ph type="subTitle" idx="7"/>
          </p:nvPr>
        </p:nvSpPr>
        <p:spPr>
          <a:xfrm>
            <a:off x="596139"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1" name="Google Shape;211;p15"/>
          <p:cNvSpPr txBox="1">
            <a:spLocks noGrp="1"/>
          </p:cNvSpPr>
          <p:nvPr>
            <p:ph type="subTitle" idx="8"/>
          </p:nvPr>
        </p:nvSpPr>
        <p:spPr>
          <a:xfrm>
            <a:off x="2793789"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2" name="Google Shape;212;p15"/>
          <p:cNvSpPr txBox="1">
            <a:spLocks noGrp="1"/>
          </p:cNvSpPr>
          <p:nvPr>
            <p:ph type="subTitle" idx="9"/>
          </p:nvPr>
        </p:nvSpPr>
        <p:spPr>
          <a:xfrm>
            <a:off x="4991440"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3" name="Google Shape;213;p15"/>
          <p:cNvSpPr txBox="1">
            <a:spLocks noGrp="1"/>
          </p:cNvSpPr>
          <p:nvPr>
            <p:ph type="subTitle" idx="13"/>
          </p:nvPr>
        </p:nvSpPr>
        <p:spPr>
          <a:xfrm>
            <a:off x="596139" y="6442994"/>
            <a:ext cx="1973998"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4" name="Google Shape;214;p15"/>
          <p:cNvSpPr txBox="1">
            <a:spLocks noGrp="1"/>
          </p:cNvSpPr>
          <p:nvPr>
            <p:ph type="subTitle" idx="14"/>
          </p:nvPr>
        </p:nvSpPr>
        <p:spPr>
          <a:xfrm>
            <a:off x="2793789" y="6442999"/>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5" name="Google Shape;215;p15"/>
          <p:cNvSpPr txBox="1">
            <a:spLocks noGrp="1"/>
          </p:cNvSpPr>
          <p:nvPr>
            <p:ph type="subTitle" idx="15"/>
          </p:nvPr>
        </p:nvSpPr>
        <p:spPr>
          <a:xfrm>
            <a:off x="4991440" y="6442999"/>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 name="Foliennummernplatzhalter 1">
            <a:extLst>
              <a:ext uri="{FF2B5EF4-FFF2-40B4-BE49-F238E27FC236}">
                <a16:creationId xmlns:a16="http://schemas.microsoft.com/office/drawing/2014/main" id="{F328E790-C615-5104-B140-821235766C5B}"/>
              </a:ext>
            </a:extLst>
          </p:cNvPr>
          <p:cNvSpPr>
            <a:spLocks noGrp="1"/>
          </p:cNvSpPr>
          <p:nvPr>
            <p:ph type="sldNum" sz="quarter" idx="16"/>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only 1">
  <p:cSld name="CUSTOM_10">
    <p:spTree>
      <p:nvGrpSpPr>
        <p:cNvPr id="1" name="Shape 216"/>
        <p:cNvGrpSpPr/>
        <p:nvPr/>
      </p:nvGrpSpPr>
      <p:grpSpPr>
        <a:xfrm>
          <a:off x="0" y="0"/>
          <a:ext cx="0" cy="0"/>
          <a:chOff x="0" y="0"/>
          <a:chExt cx="0" cy="0"/>
        </a:xfrm>
      </p:grpSpPr>
      <p:sp>
        <p:nvSpPr>
          <p:cNvPr id="217" name="Google Shape;217;p16"/>
          <p:cNvSpPr/>
          <p:nvPr/>
        </p:nvSpPr>
        <p:spPr>
          <a:xfrm>
            <a:off x="2947148" y="9910698"/>
            <a:ext cx="4203159" cy="3811246"/>
          </a:xfrm>
          <a:prstGeom prst="ellipse">
            <a:avLst/>
          </a:prstGeom>
          <a:solidFill>
            <a:schemeClr val="tx2">
              <a:alpha val="16460"/>
            </a:scheme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18" name="Google Shape;218;p16"/>
          <p:cNvGrpSpPr/>
          <p:nvPr/>
        </p:nvGrpSpPr>
        <p:grpSpPr>
          <a:xfrm>
            <a:off x="-188710" y="307461"/>
            <a:ext cx="5595514" cy="10412435"/>
            <a:chOff x="-123013" y="147910"/>
            <a:chExt cx="6768198" cy="5009100"/>
          </a:xfrm>
        </p:grpSpPr>
        <p:sp>
          <p:nvSpPr>
            <p:cNvPr id="219" name="Google Shape;219;p16"/>
            <p:cNvSpPr/>
            <p:nvPr/>
          </p:nvSpPr>
          <p:spPr>
            <a:xfrm rot="10800000" flipH="1">
              <a:off x="-123013" y="14791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20" name="Google Shape;220;p16"/>
            <p:cNvSpPr/>
            <p:nvPr/>
          </p:nvSpPr>
          <p:spPr>
            <a:xfrm>
              <a:off x="6342067" y="213016"/>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1" name="Google Shape;221;p16"/>
            <p:cNvSpPr/>
            <p:nvPr/>
          </p:nvSpPr>
          <p:spPr>
            <a:xfrm>
              <a:off x="6532479" y="199015"/>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2" name="Google Shape;222;p16"/>
            <p:cNvSpPr/>
            <p:nvPr/>
          </p:nvSpPr>
          <p:spPr>
            <a:xfrm>
              <a:off x="6561705" y="314522"/>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3" name="Google Shape;223;p16"/>
            <p:cNvSpPr/>
            <p:nvPr/>
          </p:nvSpPr>
          <p:spPr>
            <a:xfrm>
              <a:off x="6561705" y="240668"/>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224" name="Google Shape;224;p16"/>
            <p:cNvCxnSpPr>
              <a:endCxn id="219" idx="3"/>
            </p:cNvCxnSpPr>
            <p:nvPr/>
          </p:nvCxnSpPr>
          <p:spPr>
            <a:xfrm rot="10800000">
              <a:off x="1053587" y="290110"/>
              <a:ext cx="5285100" cy="0"/>
            </a:xfrm>
            <a:prstGeom prst="straightConnector1">
              <a:avLst/>
            </a:prstGeom>
            <a:noFill/>
            <a:ln w="9525" cap="flat" cmpd="sng">
              <a:solidFill>
                <a:schemeClr val="dk1"/>
              </a:solidFill>
              <a:prstDash val="solid"/>
              <a:round/>
              <a:headEnd type="none" w="med" len="med"/>
              <a:tailEnd type="none" w="med" len="med"/>
            </a:ln>
          </p:spPr>
        </p:cxnSp>
        <p:cxnSp>
          <p:nvCxnSpPr>
            <p:cNvPr id="225" name="Google Shape;225;p16"/>
            <p:cNvCxnSpPr>
              <a:endCxn id="219" idx="0"/>
            </p:cNvCxnSpPr>
            <p:nvPr/>
          </p:nvCxnSpPr>
          <p:spPr>
            <a:xfrm rot="10800000">
              <a:off x="465287" y="432310"/>
              <a:ext cx="0" cy="4724700"/>
            </a:xfrm>
            <a:prstGeom prst="straightConnector1">
              <a:avLst/>
            </a:prstGeom>
            <a:noFill/>
            <a:ln w="9525" cap="flat" cmpd="sng">
              <a:solidFill>
                <a:schemeClr val="dk1"/>
              </a:solidFill>
              <a:prstDash val="solid"/>
              <a:round/>
              <a:headEnd type="none" w="med" len="med"/>
              <a:tailEnd type="none" w="med" len="med"/>
            </a:ln>
          </p:spPr>
        </p:cxnSp>
      </p:grpSp>
      <p:sp>
        <p:nvSpPr>
          <p:cNvPr id="226" name="Google Shape;226;p16"/>
          <p:cNvSpPr txBox="1">
            <a:spLocks noGrp="1"/>
          </p:cNvSpPr>
          <p:nvPr>
            <p:ph type="title"/>
          </p:nvPr>
        </p:nvSpPr>
        <p:spPr>
          <a:xfrm>
            <a:off x="589649" y="1121461"/>
            <a:ext cx="6380336" cy="1190474"/>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 name="Foliennummernplatzhalter 1">
            <a:extLst>
              <a:ext uri="{FF2B5EF4-FFF2-40B4-BE49-F238E27FC236}">
                <a16:creationId xmlns:a16="http://schemas.microsoft.com/office/drawing/2014/main" id="{0C4B6B10-6397-BF2C-ECE6-4EEC21C7C196}"/>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rgbClr val="FFFFFF"/>
        </a:solidFill>
        <a:effectLst/>
      </p:bgPr>
    </p:bg>
    <p:spTree>
      <p:nvGrpSpPr>
        <p:cNvPr id="1" name="Shape 5"/>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0178D3-CD4B-EFFC-F2C7-37A47636BB4E}"/>
              </a:ext>
            </a:extLst>
          </p:cNvPr>
          <p:cNvGraphicFramePr>
            <a:graphicFrameLocks noChangeAspect="1"/>
          </p:cNvGraphicFramePr>
          <p:nvPr userDrawn="1">
            <p:custDataLst>
              <p:tags r:id="rId14"/>
            </p:custDataLst>
            <p:extLst>
              <p:ext uri="{D42A27DB-BD31-4B8C-83A1-F6EECF244321}">
                <p14:modId xmlns:p14="http://schemas.microsoft.com/office/powerpoint/2010/main" val="112125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25" imgH="426" progId="TCLayout.ActiveDocument.1">
                  <p:embed/>
                </p:oleObj>
              </mc:Choice>
              <mc:Fallback>
                <p:oleObj name="think-cell Folie" r:id="rId15" imgW="425" imgH="426" progId="TCLayout.ActiveDocument.1">
                  <p:embed/>
                  <p:pic>
                    <p:nvPicPr>
                      <p:cNvPr id="3" name="think-cell data - do not delete" hidden="1">
                        <a:extLst>
                          <a:ext uri="{FF2B5EF4-FFF2-40B4-BE49-F238E27FC236}">
                            <a16:creationId xmlns:a16="http://schemas.microsoft.com/office/drawing/2014/main" id="{350178D3-CD4B-EFFC-F2C7-37A47636BB4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589649" y="1121461"/>
            <a:ext cx="6380336" cy="1190474"/>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1pPr>
            <a:lvl2pPr lvl="1"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2pPr>
            <a:lvl3pPr lvl="2"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3pPr>
            <a:lvl4pPr lvl="3"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4pPr>
            <a:lvl5pPr lvl="4"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5pPr>
            <a:lvl6pPr lvl="5"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6pPr>
            <a:lvl7pPr lvl="6"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7pPr>
            <a:lvl8pPr lvl="7"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8pPr>
            <a:lvl9pPr lvl="8"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9pPr>
          </a:lstStyle>
          <a:p>
            <a:endParaRPr/>
          </a:p>
        </p:txBody>
      </p:sp>
      <p:sp>
        <p:nvSpPr>
          <p:cNvPr id="7" name="Google Shape;7;p1"/>
          <p:cNvSpPr txBox="1">
            <a:spLocks noGrp="1"/>
          </p:cNvSpPr>
          <p:nvPr>
            <p:ph type="body" idx="1"/>
          </p:nvPr>
        </p:nvSpPr>
        <p:spPr>
          <a:xfrm>
            <a:off x="589649" y="2395654"/>
            <a:ext cx="6380336" cy="7101684"/>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lt1"/>
              </a:buClr>
              <a:buSzPts val="1400"/>
              <a:buFont typeface="Sofia Sans"/>
              <a:buChar char="☐"/>
              <a:defRPr>
                <a:solidFill>
                  <a:schemeClr val="dk1"/>
                </a:solidFill>
                <a:latin typeface="Sofia Sans"/>
                <a:ea typeface="Sofia Sans"/>
                <a:cs typeface="Sofia Sans"/>
                <a:sym typeface="Sofia Sans"/>
              </a:defRPr>
            </a:lvl1pPr>
            <a:lvl2pPr marL="914400" lvl="1"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2pPr>
            <a:lvl3pPr marL="1371600" lvl="2"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3pPr>
            <a:lvl4pPr marL="1828800" lvl="3"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4pPr>
            <a:lvl5pPr marL="2286000" lvl="4"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5pPr>
            <a:lvl6pPr marL="2743200" lvl="5"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6pPr>
            <a:lvl7pPr marL="3200400" lvl="6"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7pPr>
            <a:lvl8pPr marL="3657600" lvl="7"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8pPr>
            <a:lvl9pPr marL="4114800" lvl="8"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9pPr>
          </a:lstStyle>
          <a:p>
            <a:endParaRPr/>
          </a:p>
        </p:txBody>
      </p:sp>
      <p:sp>
        <p:nvSpPr>
          <p:cNvPr id="2" name="Foliennummernplatzhalter 1">
            <a:extLst>
              <a:ext uri="{FF2B5EF4-FFF2-40B4-BE49-F238E27FC236}">
                <a16:creationId xmlns:a16="http://schemas.microsoft.com/office/drawing/2014/main" id="{FEC3EA53-ED81-6294-033F-89244D0AA930}"/>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2" r:id="rId3"/>
    <p:sldLayoutId id="2147483653" r:id="rId4"/>
    <p:sldLayoutId id="2147483654" r:id="rId5"/>
    <p:sldLayoutId id="2147483656" r:id="rId6"/>
    <p:sldLayoutId id="2147483660" r:id="rId7"/>
    <p:sldLayoutId id="2147483661" r:id="rId8"/>
    <p:sldLayoutId id="2147483662" r:id="rId9"/>
    <p:sldLayoutId id="2147483663" r:id="rId10"/>
    <p:sldLayoutId id="2147483665" r:id="rId11"/>
    <p:sldLayoutId id="2147483666"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67" userDrawn="1">
          <p15:clr>
            <a:srgbClr val="F26B43"/>
          </p15:clr>
        </p15:guide>
        <p15:guide id="2" pos="23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image" Target="../media/image9.svg"/><Relationship Id="rId7" Type="http://schemas.openxmlformats.org/officeDocument/2006/relationships/image" Target="../media/image11.svg"/><Relationship Id="rId12"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Layout" Target="../slideLayouts/slideLayout10.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6.svg"/><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image" Target="../media/image13.svg"/></Relationships>
</file>

<file path=ppt/slides/_rels/slide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3" Type="http://schemas.openxmlformats.org/officeDocument/2006/relationships/customXml" Target="../ink/ink2.xml"/><Relationship Id="rId18" Type="http://schemas.openxmlformats.org/officeDocument/2006/relationships/image" Target="../media/image30.png"/><Relationship Id="rId26" Type="http://schemas.openxmlformats.org/officeDocument/2006/relationships/image" Target="../media/image34.png"/><Relationship Id="rId39" Type="http://schemas.openxmlformats.org/officeDocument/2006/relationships/customXml" Target="../ink/ink15.xml"/><Relationship Id="rId21" Type="http://schemas.openxmlformats.org/officeDocument/2006/relationships/customXml" Target="../ink/ink6.xml"/><Relationship Id="rId34" Type="http://schemas.openxmlformats.org/officeDocument/2006/relationships/image" Target="../media/image38.png"/><Relationship Id="rId42" Type="http://schemas.openxmlformats.org/officeDocument/2006/relationships/image" Target="../media/image42.png"/><Relationship Id="rId7" Type="http://schemas.openxmlformats.org/officeDocument/2006/relationships/image" Target="../media/image24.png"/><Relationship Id="rId2" Type="http://schemas.openxmlformats.org/officeDocument/2006/relationships/notesSlide" Target="../notesSlides/notesSlide4.xml"/><Relationship Id="rId16" Type="http://schemas.openxmlformats.org/officeDocument/2006/relationships/image" Target="../media/image29.png"/><Relationship Id="rId20" Type="http://schemas.openxmlformats.org/officeDocument/2006/relationships/image" Target="../media/image31.png"/><Relationship Id="rId29" Type="http://schemas.openxmlformats.org/officeDocument/2006/relationships/customXml" Target="../ink/ink10.xml"/><Relationship Id="rId41" Type="http://schemas.openxmlformats.org/officeDocument/2006/relationships/customXml" Target="../ink/ink16.xml"/><Relationship Id="rId1" Type="http://schemas.openxmlformats.org/officeDocument/2006/relationships/slideLayout" Target="../slideLayouts/slideLayout10.xml"/><Relationship Id="rId6" Type="http://schemas.openxmlformats.org/officeDocument/2006/relationships/image" Target="../media/image23.png"/><Relationship Id="rId11" Type="http://schemas.openxmlformats.org/officeDocument/2006/relationships/customXml" Target="../ink/ink1.xml"/><Relationship Id="rId24" Type="http://schemas.openxmlformats.org/officeDocument/2006/relationships/image" Target="../media/image33.png"/><Relationship Id="rId32" Type="http://schemas.openxmlformats.org/officeDocument/2006/relationships/image" Target="../media/image37.png"/><Relationship Id="rId37" Type="http://schemas.openxmlformats.org/officeDocument/2006/relationships/customXml" Target="../ink/ink14.xml"/><Relationship Id="rId40"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customXml" Target="../ink/ink3.xml"/><Relationship Id="rId23" Type="http://schemas.openxmlformats.org/officeDocument/2006/relationships/customXml" Target="../ink/ink7.xml"/><Relationship Id="rId28" Type="http://schemas.openxmlformats.org/officeDocument/2006/relationships/image" Target="../media/image35.png"/><Relationship Id="rId36" Type="http://schemas.openxmlformats.org/officeDocument/2006/relationships/image" Target="../media/image39.png"/><Relationship Id="rId10" Type="http://schemas.openxmlformats.org/officeDocument/2006/relationships/image" Target="../media/image27.png"/><Relationship Id="rId19" Type="http://schemas.openxmlformats.org/officeDocument/2006/relationships/customXml" Target="../ink/ink5.xml"/><Relationship Id="rId31" Type="http://schemas.openxmlformats.org/officeDocument/2006/relationships/customXml" Target="../ink/ink11.xml"/><Relationship Id="rId44" Type="http://schemas.openxmlformats.org/officeDocument/2006/relationships/image" Target="../media/image43.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28.png"/><Relationship Id="rId22" Type="http://schemas.openxmlformats.org/officeDocument/2006/relationships/image" Target="../media/image32.png"/><Relationship Id="rId27" Type="http://schemas.openxmlformats.org/officeDocument/2006/relationships/customXml" Target="../ink/ink9.xml"/><Relationship Id="rId30" Type="http://schemas.openxmlformats.org/officeDocument/2006/relationships/image" Target="../media/image36.png"/><Relationship Id="rId35" Type="http://schemas.openxmlformats.org/officeDocument/2006/relationships/customXml" Target="../ink/ink13.xml"/><Relationship Id="rId43" Type="http://schemas.openxmlformats.org/officeDocument/2006/relationships/customXml" Target="../ink/ink17.xml"/><Relationship Id="rId8" Type="http://schemas.openxmlformats.org/officeDocument/2006/relationships/image" Target="../media/image25.png"/><Relationship Id="rId3" Type="http://schemas.openxmlformats.org/officeDocument/2006/relationships/image" Target="../media/image20.png"/><Relationship Id="rId12" Type="http://schemas.openxmlformats.org/officeDocument/2006/relationships/image" Target="../media/image270.png"/><Relationship Id="rId17" Type="http://schemas.openxmlformats.org/officeDocument/2006/relationships/customXml" Target="../ink/ink4.xml"/><Relationship Id="rId25" Type="http://schemas.openxmlformats.org/officeDocument/2006/relationships/customXml" Target="../ink/ink8.xml"/><Relationship Id="rId33" Type="http://schemas.openxmlformats.org/officeDocument/2006/relationships/customXml" Target="../ink/ink12.xml"/><Relationship Id="rId38" Type="http://schemas.openxmlformats.org/officeDocument/2006/relationships/image" Target="../media/image4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8" Type="http://schemas.openxmlformats.org/officeDocument/2006/relationships/image" Target="../media/image54.png"/><Relationship Id="rId3" Type="http://schemas.openxmlformats.org/officeDocument/2006/relationships/image" Target="../media/image9.svg"/><Relationship Id="rId7" Type="http://schemas.openxmlformats.org/officeDocument/2006/relationships/image" Target="../media/image47.svg"/><Relationship Id="rId12" Type="http://schemas.openxmlformats.org/officeDocument/2006/relationships/customXml" Target="../ink/ink18.xml"/><Relationship Id="rId17" Type="http://schemas.openxmlformats.org/officeDocument/2006/relationships/customXml" Target="../ink/ink20.xml"/><Relationship Id="rId2" Type="http://schemas.openxmlformats.org/officeDocument/2006/relationships/image" Target="../media/image8.png"/><Relationship Id="rId16" Type="http://schemas.openxmlformats.org/officeDocument/2006/relationships/image" Target="../media/image53.png"/><Relationship Id="rId20" Type="http://schemas.openxmlformats.org/officeDocument/2006/relationships/image" Target="../media/image55.png"/><Relationship Id="rId1" Type="http://schemas.openxmlformats.org/officeDocument/2006/relationships/slideLayout" Target="../slideLayouts/slideLayout10.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svg"/><Relationship Id="rId15" Type="http://schemas.openxmlformats.org/officeDocument/2006/relationships/customXml" Target="../ink/ink19.xml"/><Relationship Id="rId10" Type="http://schemas.openxmlformats.org/officeDocument/2006/relationships/image" Target="../media/image50.png"/><Relationship Id="rId19" Type="http://schemas.openxmlformats.org/officeDocument/2006/relationships/customXml" Target="../ink/ink21.xml"/><Relationship Id="rId4" Type="http://schemas.openxmlformats.org/officeDocument/2006/relationships/image" Target="../media/image44.png"/><Relationship Id="rId9" Type="http://schemas.openxmlformats.org/officeDocument/2006/relationships/image" Target="../media/image49.svg"/><Relationship Id="rId1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oleObject" Target="../embeddings/oleObject4.bin"/><Relationship Id="rId7" Type="http://schemas.openxmlformats.org/officeDocument/2006/relationships/hyperlink" Target="https://globalwindatlas.info/en/" TargetMode="Externa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oleObject" Target="../embeddings/oleObject4.bin"/><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slideLayout" Target="../slideLayouts/slideLayout9.xml"/><Relationship Id="rId16" Type="http://schemas.openxmlformats.org/officeDocument/2006/relationships/image" Target="../media/image9.svg"/><Relationship Id="rId1" Type="http://schemas.openxmlformats.org/officeDocument/2006/relationships/tags" Target="../tags/tag6.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8.png"/><Relationship Id="rId10" Type="http://schemas.openxmlformats.org/officeDocument/2006/relationships/image" Target="../media/image62.svg"/><Relationship Id="rId4" Type="http://schemas.openxmlformats.org/officeDocument/2006/relationships/image" Target="../media/image1.emf"/><Relationship Id="rId9" Type="http://schemas.openxmlformats.org/officeDocument/2006/relationships/image" Target="../media/image61.png"/><Relationship Id="rId14" Type="http://schemas.openxmlformats.org/officeDocument/2006/relationships/image" Target="../media/image66.sv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7.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jpeg"/><Relationship Id="rId4" Type="http://schemas.openxmlformats.org/officeDocument/2006/relationships/image" Target="../media/image68.svg"/><Relationship Id="rId9" Type="http://schemas.openxmlformats.org/officeDocument/2006/relationships/image" Target="../media/image73.jpe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75.png"/><Relationship Id="rId4" Type="http://schemas.openxmlformats.org/officeDocument/2006/relationships/image" Target="../media/image68.svg"/></Relationships>
</file>

<file path=ppt/slides/_rels/slide2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9.xml"/><Relationship Id="rId5" Type="http://schemas.openxmlformats.org/officeDocument/2006/relationships/image" Target="../media/image70.sv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8.xml"/><Relationship Id="rId5" Type="http://schemas.openxmlformats.org/officeDocument/2006/relationships/image" Target="../media/image19.sv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6.jpeg"/><Relationship Id="rId1" Type="http://schemas.openxmlformats.org/officeDocument/2006/relationships/slideLayout" Target="../slideLayouts/slideLayout10.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8.xml"/><Relationship Id="rId5" Type="http://schemas.openxmlformats.org/officeDocument/2006/relationships/image" Target="../media/image19.sv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sv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8.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79.jpeg"/></Relationships>
</file>

<file path=ppt/slides/_rels/slide3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customXml" Target="../ink/ink22.xml"/><Relationship Id="rId4" Type="http://schemas.openxmlformats.org/officeDocument/2006/relationships/image" Target="../media/image82.jpeg"/></Relationships>
</file>

<file path=ppt/slides/_rels/slide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90.jpeg"/></Relationships>
</file>

<file path=ppt/slides/_rels/slide4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10.xml"/><Relationship Id="rId5" Type="http://schemas.openxmlformats.org/officeDocument/2006/relationships/image" Target="../media/image70.svg"/><Relationship Id="rId4" Type="http://schemas.openxmlformats.org/officeDocument/2006/relationships/image" Target="../media/image69.png"/></Relationships>
</file>

<file path=ppt/slides/_rels/slide4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3.xml"/><Relationship Id="rId4" Type="http://schemas.openxmlformats.org/officeDocument/2006/relationships/image" Target="../media/image93.jpeg"/></Relationships>
</file>

<file path=ppt/slides/_rels/slide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5.xml"/><Relationship Id="rId5" Type="http://schemas.openxmlformats.org/officeDocument/2006/relationships/image" Target="../media/image9.svg"/><Relationship Id="rId4" Type="http://schemas.openxmlformats.org/officeDocument/2006/relationships/image" Target="../media/image8.png"/></Relationships>
</file>

<file path=ppt/slides/_rels/slide47.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70.svg"/><Relationship Id="rId2" Type="http://schemas.openxmlformats.org/officeDocument/2006/relationships/image" Target="../media/image96.jpeg"/><Relationship Id="rId1" Type="http://schemas.openxmlformats.org/officeDocument/2006/relationships/slideLayout" Target="../slideLayouts/slideLayout10.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18.png"/></Relationships>
</file>

<file path=ppt/slides/_rels/slide49.xml.rels><?xml version="1.0" encoding="UTF-8" standalone="yes"?>
<Relationships xmlns="http://schemas.openxmlformats.org/package/2006/relationships"><Relationship Id="rId8" Type="http://schemas.openxmlformats.org/officeDocument/2006/relationships/customXml" Target="../ink/ink26.xml"/><Relationship Id="rId13" Type="http://schemas.openxmlformats.org/officeDocument/2006/relationships/image" Target="../media/image103.png"/><Relationship Id="rId18" Type="http://schemas.openxmlformats.org/officeDocument/2006/relationships/customXml" Target="../ink/ink31.xml"/><Relationship Id="rId3" Type="http://schemas.openxmlformats.org/officeDocument/2006/relationships/image" Target="../media/image98.png"/><Relationship Id="rId21" Type="http://schemas.openxmlformats.org/officeDocument/2006/relationships/image" Target="../media/image107.png"/><Relationship Id="rId7" Type="http://schemas.openxmlformats.org/officeDocument/2006/relationships/image" Target="../media/image100.png"/><Relationship Id="rId12" Type="http://schemas.openxmlformats.org/officeDocument/2006/relationships/customXml" Target="../ink/ink28.xml"/><Relationship Id="rId17" Type="http://schemas.openxmlformats.org/officeDocument/2006/relationships/image" Target="../media/image105.png"/><Relationship Id="rId2" Type="http://schemas.openxmlformats.org/officeDocument/2006/relationships/customXml" Target="../ink/ink23.xml"/><Relationship Id="rId16" Type="http://schemas.openxmlformats.org/officeDocument/2006/relationships/customXml" Target="../ink/ink30.xml"/><Relationship Id="rId20" Type="http://schemas.openxmlformats.org/officeDocument/2006/relationships/customXml" Target="../ink/ink32.xml"/><Relationship Id="rId1" Type="http://schemas.openxmlformats.org/officeDocument/2006/relationships/slideLayout" Target="../slideLayouts/slideLayout5.xml"/><Relationship Id="rId6" Type="http://schemas.openxmlformats.org/officeDocument/2006/relationships/customXml" Target="../ink/ink25.xml"/><Relationship Id="rId11" Type="http://schemas.openxmlformats.org/officeDocument/2006/relationships/image" Target="../media/image102.png"/><Relationship Id="rId5" Type="http://schemas.openxmlformats.org/officeDocument/2006/relationships/image" Target="../media/image99.png"/><Relationship Id="rId15" Type="http://schemas.openxmlformats.org/officeDocument/2006/relationships/image" Target="../media/image104.png"/><Relationship Id="rId10" Type="http://schemas.openxmlformats.org/officeDocument/2006/relationships/customXml" Target="../ink/ink27.xml"/><Relationship Id="rId19" Type="http://schemas.openxmlformats.org/officeDocument/2006/relationships/image" Target="../media/image106.png"/><Relationship Id="rId4" Type="http://schemas.openxmlformats.org/officeDocument/2006/relationships/customXml" Target="../ink/ink24.xml"/><Relationship Id="rId9" Type="http://schemas.openxmlformats.org/officeDocument/2006/relationships/image" Target="../media/image101.png"/><Relationship Id="rId14" Type="http://schemas.openxmlformats.org/officeDocument/2006/relationships/customXml" Target="../ink/ink29.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9.xml"/><Relationship Id="rId6" Type="http://schemas.openxmlformats.org/officeDocument/2006/relationships/image" Target="../media/image87.jpeg"/><Relationship Id="rId5" Type="http://schemas.openxmlformats.org/officeDocument/2006/relationships/image" Target="../media/image70.sv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8.xml"/><Relationship Id="rId5" Type="http://schemas.openxmlformats.org/officeDocument/2006/relationships/image" Target="../media/image19.sv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98.jpeg"/><Relationship Id="rId1" Type="http://schemas.openxmlformats.org/officeDocument/2006/relationships/slideLayout" Target="../slideLayouts/slideLayout10.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53.xml.rels><?xml version="1.0" encoding="UTF-8" standalone="yes"?>
<Relationships xmlns="http://schemas.openxmlformats.org/package/2006/relationships"><Relationship Id="rId3" Type="http://schemas.openxmlformats.org/officeDocument/2006/relationships/image" Target="../media/image68.svg"/><Relationship Id="rId7" Type="http://schemas.openxmlformats.org/officeDocument/2006/relationships/image" Target="../media/image19.svg"/><Relationship Id="rId2" Type="http://schemas.openxmlformats.org/officeDocument/2006/relationships/image" Target="../media/image67.png"/><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9.svg"/><Relationship Id="rId4" Type="http://schemas.openxmlformats.org/officeDocument/2006/relationships/image" Target="../media/image8.png"/></Relationships>
</file>

<file path=ppt/slides/_rels/slide5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70.svg"/><Relationship Id="rId4" Type="http://schemas.openxmlformats.org/officeDocument/2006/relationships/image" Target="../media/image69.png"/></Relationships>
</file>

<file path=ppt/slides/_rels/slide5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8.svg"/><Relationship Id="rId7" Type="http://schemas.openxmlformats.org/officeDocument/2006/relationships/image" Target="../media/image8.png"/><Relationship Id="rId2" Type="http://schemas.openxmlformats.org/officeDocument/2006/relationships/image" Target="../media/image67.png"/><Relationship Id="rId1" Type="http://schemas.openxmlformats.org/officeDocument/2006/relationships/slideLayout" Target="../slideLayouts/slideLayout10.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jpeg"/></Relationships>
</file>

<file path=ppt/slides/_rels/slide5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10.xml"/><Relationship Id="rId5" Type="http://schemas.openxmlformats.org/officeDocument/2006/relationships/image" Target="../media/image70.svg"/><Relationship Id="rId4" Type="http://schemas.openxmlformats.org/officeDocument/2006/relationships/image" Target="../media/image69.png"/></Relationships>
</file>

<file path=ppt/slides/_rels/slide5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0.jpeg"/><Relationship Id="rId1" Type="http://schemas.openxmlformats.org/officeDocument/2006/relationships/slideLayout" Target="../slideLayouts/slideLayout12.xml"/><Relationship Id="rId5" Type="http://schemas.openxmlformats.org/officeDocument/2006/relationships/image" Target="../media/image9.svg"/><Relationship Id="rId4" Type="http://schemas.openxmlformats.org/officeDocument/2006/relationships/image" Target="../media/image8.png"/></Relationships>
</file>

<file path=ppt/slides/_rels/slide5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3.xml"/><Relationship Id="rId6" Type="http://schemas.openxmlformats.org/officeDocument/2006/relationships/image" Target="../media/image110.png"/><Relationship Id="rId5" Type="http://schemas.openxmlformats.org/officeDocument/2006/relationships/image" Target="../media/image109.svg"/><Relationship Id="rId4" Type="http://schemas.openxmlformats.org/officeDocument/2006/relationships/image" Target="../media/image108.png"/></Relationships>
</file>

<file path=ppt/slides/_rels/slide64.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noProof="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Titel 2">
            <a:extLst>
              <a:ext uri="{FF2B5EF4-FFF2-40B4-BE49-F238E27FC236}">
                <a16:creationId xmlns:a16="http://schemas.microsoft.com/office/drawing/2014/main" id="{09B6353F-CB41-C93E-F3AB-4184CA505A42}"/>
              </a:ext>
            </a:extLst>
          </p:cNvPr>
          <p:cNvSpPr>
            <a:spLocks noGrp="1"/>
          </p:cNvSpPr>
          <p:nvPr>
            <p:ph type="ctrTitle"/>
          </p:nvPr>
        </p:nvSpPr>
        <p:spPr>
          <a:xfrm>
            <a:off x="2712632" y="6114268"/>
            <a:ext cx="3802468" cy="1389655"/>
          </a:xfrm>
        </p:spPr>
        <p:txBody>
          <a:bodyPr/>
          <a:lstStyle/>
          <a:p>
            <a:r>
              <a:rPr lang="en-GB" sz="4000" noProof="0" dirty="0">
                <a:solidFill>
                  <a:srgbClr val="FFFFFF"/>
                </a:solidFill>
              </a:rPr>
              <a:t>Wind Energy Education HUB</a:t>
            </a:r>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pic>
        <p:nvPicPr>
          <p:cNvPr id="2" name="Grafik 1" descr="Windkraftanlagen Silhouette">
            <a:extLst>
              <a:ext uri="{FF2B5EF4-FFF2-40B4-BE49-F238E27FC236}">
                <a16:creationId xmlns:a16="http://schemas.microsoft.com/office/drawing/2014/main" id="{5A5A1D29-BCC0-045A-8BA0-0981B3C4B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56425" y="3803866"/>
            <a:ext cx="1803583" cy="1735531"/>
          </a:xfrm>
          <a:prstGeom prst="rect">
            <a:avLst/>
          </a:prstGeom>
        </p:spPr>
      </p:pic>
      <p:pic>
        <p:nvPicPr>
          <p:cNvPr id="10" name="Grafik 9" descr="Ein Bild, das Karte, Text, Kreis, Logo enthält.&#10;&#10;KI-generierte Inhalte können fehlerhaft sein.">
            <a:extLst>
              <a:ext uri="{FF2B5EF4-FFF2-40B4-BE49-F238E27FC236}">
                <a16:creationId xmlns:a16="http://schemas.microsoft.com/office/drawing/2014/main" id="{321A3F80-320B-6904-056A-01F1E0370F46}"/>
              </a:ext>
            </a:extLst>
          </p:cNvPr>
          <p:cNvPicPr>
            <a:picLocks noChangeAspect="1"/>
          </p:cNvPicPr>
          <p:nvPr/>
        </p:nvPicPr>
        <p:blipFill>
          <a:blip r:embed="rId5"/>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97470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10</a:t>
            </a:fld>
            <a:endParaRPr lang="en-GB" noProof="0"/>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719138" y="1295635"/>
            <a:ext cx="5516200" cy="1190474"/>
          </a:xfrm>
        </p:spPr>
        <p:txBody>
          <a:bodyPr/>
          <a:lstStyle/>
          <a:p>
            <a:r>
              <a:rPr lang="en-GB" noProof="0" dirty="0"/>
              <a:t>1. Wind, energy &amp; wind energy introduction</a:t>
            </a:r>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667850" y="2324540"/>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In this chapter you will play some games to learn about the basics of wind, energy and wind energy!</a:t>
            </a:r>
          </a:p>
        </p:txBody>
      </p:sp>
      <p:pic>
        <p:nvPicPr>
          <p:cNvPr id="18" name="Grafik 17" descr="Skizze mit einfarbiger Füllung">
            <a:extLst>
              <a:ext uri="{FF2B5EF4-FFF2-40B4-BE49-F238E27FC236}">
                <a16:creationId xmlns:a16="http://schemas.microsoft.com/office/drawing/2014/main" id="{B405F80C-758F-01DF-CEC4-3CC0D55256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7092" y="3139213"/>
            <a:ext cx="379044" cy="379044"/>
          </a:xfrm>
          <a:prstGeom prst="rect">
            <a:avLst/>
          </a:prstGeom>
        </p:spPr>
      </p:pic>
      <p:sp>
        <p:nvSpPr>
          <p:cNvPr id="20" name="Untertitel 5">
            <a:extLst>
              <a:ext uri="{FF2B5EF4-FFF2-40B4-BE49-F238E27FC236}">
                <a16:creationId xmlns:a16="http://schemas.microsoft.com/office/drawing/2014/main" id="{2240E9CB-3E86-122C-9767-7BADBDD48767}"/>
              </a:ext>
            </a:extLst>
          </p:cNvPr>
          <p:cNvSpPr txBox="1">
            <a:spLocks/>
          </p:cNvSpPr>
          <p:nvPr/>
        </p:nvSpPr>
        <p:spPr>
          <a:xfrm>
            <a:off x="1171256" y="308141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22" name="Ellipse 21">
            <a:extLst>
              <a:ext uri="{FF2B5EF4-FFF2-40B4-BE49-F238E27FC236}">
                <a16:creationId xmlns:a16="http://schemas.microsoft.com/office/drawing/2014/main" id="{FE293BEB-10AE-D6AB-EBE2-A922DCFE03C1}"/>
              </a:ext>
            </a:extLst>
          </p:cNvPr>
          <p:cNvSpPr>
            <a:spLocks noChangeAspect="1"/>
          </p:cNvSpPr>
          <p:nvPr/>
        </p:nvSpPr>
        <p:spPr>
          <a:xfrm>
            <a:off x="730307" y="3053530"/>
            <a:ext cx="507735" cy="507735"/>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4" name="Grafik 23" descr="Skizze mit einfarbiger Füllung">
            <a:extLst>
              <a:ext uri="{FF2B5EF4-FFF2-40B4-BE49-F238E27FC236}">
                <a16:creationId xmlns:a16="http://schemas.microsoft.com/office/drawing/2014/main" id="{8D663BB8-1F95-8E05-7D7F-1BFA3E8D88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3317" y="3138246"/>
            <a:ext cx="379044" cy="379044"/>
          </a:xfrm>
          <a:prstGeom prst="rect">
            <a:avLst/>
          </a:prstGeom>
        </p:spPr>
      </p:pic>
      <p:sp>
        <p:nvSpPr>
          <p:cNvPr id="28" name="Untertitel 5">
            <a:extLst>
              <a:ext uri="{FF2B5EF4-FFF2-40B4-BE49-F238E27FC236}">
                <a16:creationId xmlns:a16="http://schemas.microsoft.com/office/drawing/2014/main" id="{1E7F3884-BACD-49E3-027F-BC4198F8C2AE}"/>
              </a:ext>
            </a:extLst>
          </p:cNvPr>
          <p:cNvSpPr txBox="1">
            <a:spLocks/>
          </p:cNvSpPr>
          <p:nvPr/>
        </p:nvSpPr>
        <p:spPr>
          <a:xfrm>
            <a:off x="699897" y="366046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1</a:t>
            </a:r>
          </a:p>
        </p:txBody>
      </p:sp>
      <p:pic>
        <p:nvPicPr>
          <p:cNvPr id="34" name="Grafik 33" descr="Windkraftanlagen Silhouette">
            <a:extLst>
              <a:ext uri="{FF2B5EF4-FFF2-40B4-BE49-F238E27FC236}">
                <a16:creationId xmlns:a16="http://schemas.microsoft.com/office/drawing/2014/main" id="{07D92C56-89DA-4779-F42E-0575B27D41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43467" y="1536695"/>
            <a:ext cx="591871" cy="591871"/>
          </a:xfrm>
          <a:prstGeom prst="rect">
            <a:avLst/>
          </a:prstGeom>
        </p:spPr>
      </p:pic>
      <p:sp>
        <p:nvSpPr>
          <p:cNvPr id="5" name="Untertitel 3">
            <a:extLst>
              <a:ext uri="{FF2B5EF4-FFF2-40B4-BE49-F238E27FC236}">
                <a16:creationId xmlns:a16="http://schemas.microsoft.com/office/drawing/2014/main" id="{47CB8B55-5221-8ED1-B020-5C92DCB4AE8A}"/>
              </a:ext>
            </a:extLst>
          </p:cNvPr>
          <p:cNvSpPr txBox="1">
            <a:spLocks/>
          </p:cNvSpPr>
          <p:nvPr/>
        </p:nvSpPr>
        <p:spPr>
          <a:xfrm>
            <a:off x="730307" y="4028624"/>
            <a:ext cx="5896583" cy="31974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200" noProof="0" dirty="0"/>
              <a:t>Energy name game: </a:t>
            </a:r>
          </a:p>
          <a:p>
            <a:pPr marL="114300" indent="0">
              <a:lnSpc>
                <a:spcPct val="114999"/>
              </a:lnSpc>
            </a:pPr>
            <a:endParaRPr lang="en-GB" sz="1200" noProof="0" dirty="0"/>
          </a:p>
          <a:p>
            <a:pPr marL="342900" indent="-228600">
              <a:lnSpc>
                <a:spcPct val="114999"/>
              </a:lnSpc>
              <a:buAutoNum type="arabicParenR"/>
            </a:pPr>
            <a:r>
              <a:rPr lang="en-GB" sz="1200" noProof="0" dirty="0"/>
              <a:t>Form 2 groups from the class.</a:t>
            </a:r>
          </a:p>
          <a:p>
            <a:pPr marL="342900" indent="-228600">
              <a:lnSpc>
                <a:spcPct val="114999"/>
              </a:lnSpc>
              <a:buAutoNum type="arabicParenR"/>
            </a:pPr>
            <a:r>
              <a:rPr lang="en-GB" sz="1200" noProof="0" dirty="0"/>
              <a:t>Form a sitting circle and choose a group leader to explain the procedure.</a:t>
            </a:r>
          </a:p>
          <a:p>
            <a:pPr marL="342900" indent="-228600">
              <a:lnSpc>
                <a:spcPct val="114999"/>
              </a:lnSpc>
              <a:buAutoNum type="arabicParenR"/>
            </a:pPr>
            <a:r>
              <a:rPr lang="en-GB" sz="1200" noProof="0" dirty="0"/>
              <a:t>Now the game begins: Someone starts with the first letter of their family name and relates it to a term, which is energy related - a source of energy, an energy-consuming or -producing device, or energy term. </a:t>
            </a:r>
          </a:p>
          <a:p>
            <a:pPr marL="342900" indent="-228600">
              <a:lnSpc>
                <a:spcPct val="114999"/>
              </a:lnSpc>
              <a:buAutoNum type="arabicParenR"/>
            </a:pPr>
            <a:r>
              <a:rPr lang="en-GB" sz="1200" noProof="0" dirty="0"/>
              <a:t>Look at the examples:</a:t>
            </a:r>
          </a:p>
          <a:p>
            <a:pPr marL="342900" indent="-228600">
              <a:lnSpc>
                <a:spcPct val="114999"/>
              </a:lnSpc>
              <a:buAutoNum type="arabicParenR"/>
            </a:pPr>
            <a:endParaRPr lang="en-GB" sz="1200" noProof="0" dirty="0"/>
          </a:p>
          <a:p>
            <a:pPr marL="114300" indent="0">
              <a:lnSpc>
                <a:spcPct val="114999"/>
              </a:lnSpc>
            </a:pPr>
            <a:r>
              <a:rPr lang="en-GB" sz="1200" noProof="0" dirty="0"/>
              <a:t>  - M: Microwave</a:t>
            </a:r>
          </a:p>
          <a:p>
            <a:pPr marL="114300" indent="0">
              <a:lnSpc>
                <a:spcPct val="114999"/>
              </a:lnSpc>
            </a:pPr>
            <a:r>
              <a:rPr lang="en-GB" sz="1200" noProof="0" dirty="0"/>
              <a:t>  - G: Generator</a:t>
            </a:r>
          </a:p>
          <a:p>
            <a:pPr marL="114300" indent="0">
              <a:lnSpc>
                <a:spcPct val="114999"/>
              </a:lnSpc>
            </a:pPr>
            <a:r>
              <a:rPr lang="en-GB" sz="1200" noProof="0" dirty="0"/>
              <a:t>  - B: Biomass</a:t>
            </a:r>
          </a:p>
          <a:p>
            <a:pPr marL="114300" indent="0">
              <a:lnSpc>
                <a:spcPct val="114999"/>
              </a:lnSpc>
            </a:pPr>
            <a:endParaRPr lang="en-GB" sz="1200" noProof="0" dirty="0">
              <a:solidFill>
                <a:srgbClr val="333333"/>
              </a:solidFill>
            </a:endParaRPr>
          </a:p>
          <a:p>
            <a:pPr marL="114300" indent="0">
              <a:lnSpc>
                <a:spcPct val="114999"/>
              </a:lnSpc>
            </a:pPr>
            <a:r>
              <a:rPr lang="en-GB" sz="1200" noProof="0" dirty="0">
                <a:solidFill>
                  <a:schemeClr val="accent2"/>
                </a:solidFill>
              </a:rPr>
              <a:t>5)</a:t>
            </a:r>
            <a:r>
              <a:rPr lang="en-GB" sz="1200" noProof="0" dirty="0"/>
              <a:t> Now go around the circle; everyone takes their turn. The last letter of the last word is always the first letter of a new energy word. </a:t>
            </a:r>
          </a:p>
        </p:txBody>
      </p:sp>
      <p:sp>
        <p:nvSpPr>
          <p:cNvPr id="8" name="Textfeld 7">
            <a:extLst>
              <a:ext uri="{FF2B5EF4-FFF2-40B4-BE49-F238E27FC236}">
                <a16:creationId xmlns:a16="http://schemas.microsoft.com/office/drawing/2014/main" id="{0F2527F7-CBA9-70C1-03DE-5F22B192FA30}"/>
              </a:ext>
            </a:extLst>
          </p:cNvPr>
          <p:cNvSpPr txBox="1"/>
          <p:nvPr/>
        </p:nvSpPr>
        <p:spPr>
          <a:xfrm rot="-1260000">
            <a:off x="881703" y="7805077"/>
            <a:ext cx="1691694"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1500" b="1" noProof="0" dirty="0">
                <a:solidFill>
                  <a:schemeClr val="dk1"/>
                </a:solidFill>
                <a:latin typeface="Broadway"/>
                <a:sym typeface="Sofia Sans"/>
              </a:rPr>
              <a:t>Biomass</a:t>
            </a:r>
            <a:endParaRPr lang="en-GB" sz="1500" b="1" noProof="0" dirty="0">
              <a:solidFill>
                <a:schemeClr val="dk1"/>
              </a:solidFill>
              <a:latin typeface="Broadway"/>
            </a:endParaRPr>
          </a:p>
        </p:txBody>
      </p:sp>
      <p:sp>
        <p:nvSpPr>
          <p:cNvPr id="9" name="Textfeld 8">
            <a:extLst>
              <a:ext uri="{FF2B5EF4-FFF2-40B4-BE49-F238E27FC236}">
                <a16:creationId xmlns:a16="http://schemas.microsoft.com/office/drawing/2014/main" id="{8AE5B2B1-1A55-4C2C-EED1-53E025FF813D}"/>
              </a:ext>
            </a:extLst>
          </p:cNvPr>
          <p:cNvSpPr txBox="1"/>
          <p:nvPr/>
        </p:nvSpPr>
        <p:spPr>
          <a:xfrm rot="-1260000">
            <a:off x="5787368" y="7607240"/>
            <a:ext cx="1691694"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1500" b="1" noProof="0">
                <a:solidFill>
                  <a:schemeClr val="tx1"/>
                </a:solidFill>
                <a:latin typeface="Sofia Sans"/>
                <a:sym typeface="Sofia Sans"/>
              </a:rPr>
              <a:t>Oven</a:t>
            </a:r>
            <a:endParaRPr lang="en-GB" sz="1500" noProof="0">
              <a:solidFill>
                <a:schemeClr val="tx1"/>
              </a:solidFill>
            </a:endParaRPr>
          </a:p>
        </p:txBody>
      </p:sp>
      <p:sp>
        <p:nvSpPr>
          <p:cNvPr id="10" name="Textfeld 9">
            <a:extLst>
              <a:ext uri="{FF2B5EF4-FFF2-40B4-BE49-F238E27FC236}">
                <a16:creationId xmlns:a16="http://schemas.microsoft.com/office/drawing/2014/main" id="{91A3E247-EF6D-1DD4-2CEE-AD97DFB2AB84}"/>
              </a:ext>
            </a:extLst>
          </p:cNvPr>
          <p:cNvSpPr txBox="1"/>
          <p:nvPr/>
        </p:nvSpPr>
        <p:spPr>
          <a:xfrm rot="-1260000">
            <a:off x="2596231" y="8106252"/>
            <a:ext cx="1691694"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500" b="1" noProof="0">
                <a:solidFill>
                  <a:schemeClr val="dk1"/>
                </a:solidFill>
                <a:latin typeface="Sofia Sans"/>
              </a:rPr>
              <a:t>Light bulb</a:t>
            </a:r>
          </a:p>
        </p:txBody>
      </p:sp>
      <p:sp>
        <p:nvSpPr>
          <p:cNvPr id="11" name="Textfeld 10">
            <a:extLst>
              <a:ext uri="{FF2B5EF4-FFF2-40B4-BE49-F238E27FC236}">
                <a16:creationId xmlns:a16="http://schemas.microsoft.com/office/drawing/2014/main" id="{95BBC967-E5E7-5520-3149-E6BC2AA47613}"/>
              </a:ext>
            </a:extLst>
          </p:cNvPr>
          <p:cNvSpPr txBox="1"/>
          <p:nvPr/>
        </p:nvSpPr>
        <p:spPr>
          <a:xfrm rot="1260000">
            <a:off x="1335581" y="8762671"/>
            <a:ext cx="169169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2000" b="1" noProof="0">
                <a:solidFill>
                  <a:schemeClr val="dk1"/>
                </a:solidFill>
                <a:latin typeface="Sofia Sans"/>
              </a:rPr>
              <a:t>Geothermal</a:t>
            </a:r>
          </a:p>
        </p:txBody>
      </p:sp>
      <p:sp>
        <p:nvSpPr>
          <p:cNvPr id="12" name="Textfeld 11">
            <a:extLst>
              <a:ext uri="{FF2B5EF4-FFF2-40B4-BE49-F238E27FC236}">
                <a16:creationId xmlns:a16="http://schemas.microsoft.com/office/drawing/2014/main" id="{5EF3E304-9BD6-88F0-8F3E-ED96D307D49F}"/>
              </a:ext>
            </a:extLst>
          </p:cNvPr>
          <p:cNvSpPr txBox="1"/>
          <p:nvPr/>
        </p:nvSpPr>
        <p:spPr>
          <a:xfrm rot="-1260000">
            <a:off x="3884172" y="8575457"/>
            <a:ext cx="1691694"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1500" noProof="0">
                <a:solidFill>
                  <a:schemeClr val="dk1"/>
                </a:solidFill>
                <a:latin typeface="Sofia Sans"/>
              </a:rPr>
              <a:t>Electricity</a:t>
            </a:r>
          </a:p>
        </p:txBody>
      </p:sp>
      <p:sp>
        <p:nvSpPr>
          <p:cNvPr id="13" name="Textfeld 12">
            <a:extLst>
              <a:ext uri="{FF2B5EF4-FFF2-40B4-BE49-F238E27FC236}">
                <a16:creationId xmlns:a16="http://schemas.microsoft.com/office/drawing/2014/main" id="{75435C71-5BAC-6693-DC70-C04C791B459A}"/>
              </a:ext>
            </a:extLst>
          </p:cNvPr>
          <p:cNvSpPr txBox="1"/>
          <p:nvPr/>
        </p:nvSpPr>
        <p:spPr>
          <a:xfrm rot="1080000">
            <a:off x="3486880" y="7824534"/>
            <a:ext cx="166968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2000" b="1" noProof="0">
                <a:solidFill>
                  <a:schemeClr val="dk1"/>
                </a:solidFill>
                <a:latin typeface="Sofia Sans"/>
              </a:rPr>
              <a:t>Generator</a:t>
            </a:r>
          </a:p>
        </p:txBody>
      </p:sp>
      <p:pic>
        <p:nvPicPr>
          <p:cNvPr id="14" name="Grafik 13" descr="Flugzeug Silhouette">
            <a:extLst>
              <a:ext uri="{FF2B5EF4-FFF2-40B4-BE49-F238E27FC236}">
                <a16:creationId xmlns:a16="http://schemas.microsoft.com/office/drawing/2014/main" id="{75811885-D681-ED86-BD6D-115F876577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5292" y="8418772"/>
            <a:ext cx="914740" cy="914400"/>
          </a:xfrm>
          <a:prstGeom prst="rect">
            <a:avLst/>
          </a:prstGeom>
        </p:spPr>
      </p:pic>
      <p:pic>
        <p:nvPicPr>
          <p:cNvPr id="15" name="Grafik 14" descr="Lagerfeuer Silhouette">
            <a:extLst>
              <a:ext uri="{FF2B5EF4-FFF2-40B4-BE49-F238E27FC236}">
                <a16:creationId xmlns:a16="http://schemas.microsoft.com/office/drawing/2014/main" id="{38FB201E-E664-1437-9C88-1B95B765AD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67706" y="8737039"/>
            <a:ext cx="914740" cy="914400"/>
          </a:xfrm>
          <a:prstGeom prst="rect">
            <a:avLst/>
          </a:prstGeom>
        </p:spPr>
      </p:pic>
      <p:pic>
        <p:nvPicPr>
          <p:cNvPr id="16" name="Grafik 15" descr="Elektroauto Silhouette">
            <a:extLst>
              <a:ext uri="{FF2B5EF4-FFF2-40B4-BE49-F238E27FC236}">
                <a16:creationId xmlns:a16="http://schemas.microsoft.com/office/drawing/2014/main" id="{AFEFEFD4-466A-92EB-7F8D-0D011A0ECB4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2137" y="7217783"/>
            <a:ext cx="914740" cy="914400"/>
          </a:xfrm>
          <a:prstGeom prst="rect">
            <a:avLst/>
          </a:prstGeom>
        </p:spPr>
      </p:pic>
      <p:pic>
        <p:nvPicPr>
          <p:cNvPr id="17" name="Grafik 16" descr="dunkel (mittlere Sonne) Silhouette">
            <a:extLst>
              <a:ext uri="{FF2B5EF4-FFF2-40B4-BE49-F238E27FC236}">
                <a16:creationId xmlns:a16="http://schemas.microsoft.com/office/drawing/2014/main" id="{7C721E98-FF10-6521-4B84-2246FDF7F1D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162908" y="7347397"/>
            <a:ext cx="914740" cy="914400"/>
          </a:xfrm>
          <a:prstGeom prst="rect">
            <a:avLst/>
          </a:prstGeom>
        </p:spPr>
      </p:pic>
      <p:sp>
        <p:nvSpPr>
          <p:cNvPr id="21" name="Rechteck: eine Ecke abgeschnitten 20">
            <a:extLst>
              <a:ext uri="{FF2B5EF4-FFF2-40B4-BE49-F238E27FC236}">
                <a16:creationId xmlns:a16="http://schemas.microsoft.com/office/drawing/2014/main" id="{FA6DD4FC-E339-C276-2283-3E165E7E8F50}"/>
              </a:ext>
            </a:extLst>
          </p:cNvPr>
          <p:cNvSpPr/>
          <p:nvPr/>
        </p:nvSpPr>
        <p:spPr>
          <a:xfrm>
            <a:off x="5297530" y="9458240"/>
            <a:ext cx="1672455" cy="450935"/>
          </a:xfrm>
          <a:prstGeom prst="snip1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150" b="1" noProof="0">
                <a:solidFill>
                  <a:schemeClr val="dk1"/>
                </a:solidFill>
                <a:latin typeface="Sofia Sans"/>
                <a:ea typeface="+mn-lt"/>
                <a:cs typeface="+mn-lt"/>
                <a:sym typeface="Sofia Sans"/>
              </a:rPr>
              <a:t>Be Creative! </a:t>
            </a:r>
            <a:endParaRPr lang="en-GB" sz="1150" b="1" noProof="0">
              <a:solidFill>
                <a:schemeClr val="dk1"/>
              </a:solidFill>
              <a:latin typeface="Sofia Sans"/>
              <a:cs typeface="Arial"/>
            </a:endParaRPr>
          </a:p>
        </p:txBody>
      </p:sp>
    </p:spTree>
    <p:extLst>
      <p:ext uri="{BB962C8B-B14F-4D97-AF65-F5344CB8AC3E}">
        <p14:creationId xmlns:p14="http://schemas.microsoft.com/office/powerpoint/2010/main" val="1601966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1FC4D4D-A852-3684-AEF3-B33B3F8311BC}"/>
              </a:ext>
            </a:extLst>
          </p:cNvPr>
          <p:cNvSpPr/>
          <p:nvPr/>
        </p:nvSpPr>
        <p:spPr>
          <a:xfrm>
            <a:off x="719138" y="1596647"/>
            <a:ext cx="5740172" cy="3181820"/>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Foliennummernplatzhalter 6">
            <a:extLst>
              <a:ext uri="{FF2B5EF4-FFF2-40B4-BE49-F238E27FC236}">
                <a16:creationId xmlns:a16="http://schemas.microsoft.com/office/drawing/2014/main" id="{9CA144AC-D3D4-E708-3AA3-62478F40EBA0}"/>
              </a:ext>
            </a:extLst>
          </p:cNvPr>
          <p:cNvSpPr>
            <a:spLocks noGrp="1"/>
          </p:cNvSpPr>
          <p:nvPr>
            <p:ph type="sldNum" sz="quarter" idx="10"/>
          </p:nvPr>
        </p:nvSpPr>
        <p:spPr/>
        <p:txBody>
          <a:bodyPr/>
          <a:lstStyle/>
          <a:p>
            <a:fld id="{DF7F771E-9578-4C04-B869-01AF4C35C90C}" type="slidenum">
              <a:rPr lang="en-GB" noProof="0" smtClean="0"/>
              <a:t>11</a:t>
            </a:fld>
            <a:endParaRPr lang="en-GB" noProof="0"/>
          </a:p>
        </p:txBody>
      </p:sp>
      <p:sp>
        <p:nvSpPr>
          <p:cNvPr id="3" name="Ellipse 2">
            <a:extLst>
              <a:ext uri="{FF2B5EF4-FFF2-40B4-BE49-F238E27FC236}">
                <a16:creationId xmlns:a16="http://schemas.microsoft.com/office/drawing/2014/main" id="{855A30B5-31EC-CF54-E7E3-4E2BE1B24C7A}"/>
              </a:ext>
            </a:extLst>
          </p:cNvPr>
          <p:cNvSpPr>
            <a:spLocks noChangeAspect="1"/>
          </p:cNvSpPr>
          <p:nvPr/>
        </p:nvSpPr>
        <p:spPr>
          <a:xfrm>
            <a:off x="6128978" y="127793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0" name="Grafik 19" descr="Lesezeichen mit einfarbiger Füllung">
            <a:extLst>
              <a:ext uri="{FF2B5EF4-FFF2-40B4-BE49-F238E27FC236}">
                <a16:creationId xmlns:a16="http://schemas.microsoft.com/office/drawing/2014/main" id="{65CEF2F0-0EE8-EB62-7168-208D0FD3E6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5" name="Untertitel 5">
            <a:extLst>
              <a:ext uri="{FF2B5EF4-FFF2-40B4-BE49-F238E27FC236}">
                <a16:creationId xmlns:a16="http://schemas.microsoft.com/office/drawing/2014/main" id="{86D9B208-016D-11B1-A5B7-841961C1B3AD}"/>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Good to know about energy!</a:t>
            </a:r>
            <a:endParaRPr lang="en-GB" noProof="0"/>
          </a:p>
        </p:txBody>
      </p:sp>
      <p:sp>
        <p:nvSpPr>
          <p:cNvPr id="6" name="Untertitel 2">
            <a:extLst>
              <a:ext uri="{FF2B5EF4-FFF2-40B4-BE49-F238E27FC236}">
                <a16:creationId xmlns:a16="http://schemas.microsoft.com/office/drawing/2014/main" id="{EECBEFEB-9C0E-5927-15A7-351A5C54385E}"/>
              </a:ext>
            </a:extLst>
          </p:cNvPr>
          <p:cNvSpPr>
            <a:spLocks noGrp="1"/>
          </p:cNvSpPr>
          <p:nvPr>
            <p:ph type="subTitle" idx="1"/>
          </p:nvPr>
        </p:nvSpPr>
        <p:spPr>
          <a:xfrm>
            <a:off x="887983" y="2189701"/>
            <a:ext cx="5565290" cy="2235280"/>
          </a:xfrm>
        </p:spPr>
        <p:txBody>
          <a:bodyPr/>
          <a:lstStyle/>
          <a:p>
            <a:pPr marL="139700" indent="0"/>
            <a:r>
              <a:rPr lang="en-GB" sz="1200" b="1" noProof="0" dirty="0"/>
              <a:t>Energy is what makes things happen—it’s the power to do work</a:t>
            </a:r>
            <a:r>
              <a:rPr lang="en-GB" sz="1200" noProof="0" dirty="0"/>
              <a:t>. For example, when you eat food, your body turns that energy into movement, like running or playing. </a:t>
            </a:r>
          </a:p>
          <a:p>
            <a:pPr marL="139700" indent="0">
              <a:lnSpc>
                <a:spcPct val="114999"/>
              </a:lnSpc>
            </a:pPr>
            <a:r>
              <a:rPr lang="en-GB" sz="1200" b="1" noProof="0" dirty="0"/>
              <a:t>Energy comes in two main types: </a:t>
            </a:r>
            <a:endParaRPr lang="en-GB" sz="1200" noProof="0" dirty="0"/>
          </a:p>
          <a:p>
            <a:pPr marL="139700" indent="0">
              <a:lnSpc>
                <a:spcPct val="114999"/>
              </a:lnSpc>
            </a:pPr>
            <a:r>
              <a:rPr lang="en-GB" sz="1200" noProof="0" dirty="0"/>
              <a:t>- </a:t>
            </a:r>
            <a:r>
              <a:rPr lang="en-GB" sz="1200" dirty="0"/>
              <a:t>      </a:t>
            </a:r>
            <a:r>
              <a:rPr lang="en-GB" sz="1200" noProof="0" dirty="0"/>
              <a:t>Kinetic energy: Energy of moving things (like a bike going down a hill).        </a:t>
            </a:r>
            <a:endParaRPr lang="en-GB" sz="1200" dirty="0"/>
          </a:p>
          <a:p>
            <a:pPr marL="139700" indent="0">
              <a:lnSpc>
                <a:spcPct val="114999"/>
              </a:lnSpc>
            </a:pPr>
            <a:r>
              <a:rPr lang="en-GB" sz="1200" noProof="0" dirty="0"/>
              <a:t>-       Potential energy: Stored energy (like a ball sitting on a high shelf). </a:t>
            </a:r>
          </a:p>
          <a:p>
            <a:pPr marL="139700" indent="0">
              <a:lnSpc>
                <a:spcPct val="114999"/>
              </a:lnSpc>
            </a:pPr>
            <a:r>
              <a:rPr lang="en-GB" sz="1200" b="1" noProof="0" dirty="0"/>
              <a:t>There are also other kinds of energy, like: </a:t>
            </a:r>
            <a:endParaRPr lang="en-GB" sz="1200" noProof="0" dirty="0"/>
          </a:p>
          <a:p>
            <a:pPr marL="311150" indent="-171450">
              <a:lnSpc>
                <a:spcPct val="114999"/>
              </a:lnSpc>
              <a:buFont typeface="Calibri"/>
              <a:buChar char="-"/>
            </a:pPr>
            <a:r>
              <a:rPr lang="en-GB" sz="1200" noProof="0" dirty="0"/>
              <a:t>    Heat energy (from fire or </a:t>
            </a:r>
            <a:r>
              <a:rPr lang="en-GB" sz="1200" dirty="0"/>
              <a:t>s</a:t>
            </a:r>
            <a:r>
              <a:rPr lang="en-GB" sz="1200" noProof="0" dirty="0"/>
              <a:t>un), </a:t>
            </a:r>
          </a:p>
          <a:p>
            <a:pPr marL="311150" indent="-171450">
              <a:lnSpc>
                <a:spcPct val="114999"/>
              </a:lnSpc>
              <a:buFont typeface="Calibri"/>
              <a:buChar char="-"/>
            </a:pPr>
            <a:r>
              <a:rPr lang="en-GB" sz="1200" noProof="0" dirty="0"/>
              <a:t>    Electric energy (in plugs and batteries), </a:t>
            </a:r>
          </a:p>
          <a:p>
            <a:pPr marL="311150" indent="-171450">
              <a:lnSpc>
                <a:spcPct val="114999"/>
              </a:lnSpc>
              <a:buFont typeface="Calibri"/>
              <a:buChar char="-"/>
            </a:pPr>
            <a:r>
              <a:rPr lang="en-GB" sz="1200" noProof="0" dirty="0"/>
              <a:t>    Gravitational potential energy (energy from height, like water in a dam). </a:t>
            </a:r>
          </a:p>
          <a:p>
            <a:pPr marL="311150" indent="-171450">
              <a:lnSpc>
                <a:spcPct val="114999"/>
              </a:lnSpc>
              <a:buFont typeface="Calibri"/>
              <a:buChar char="-"/>
            </a:pPr>
            <a:endParaRPr lang="en-GB" sz="1200" noProof="0" dirty="0"/>
          </a:p>
        </p:txBody>
      </p:sp>
      <p:sp>
        <p:nvSpPr>
          <p:cNvPr id="12" name="Untertitel 5">
            <a:extLst>
              <a:ext uri="{FF2B5EF4-FFF2-40B4-BE49-F238E27FC236}">
                <a16:creationId xmlns:a16="http://schemas.microsoft.com/office/drawing/2014/main" id="{F1D95211-1D98-ACB5-0D97-B3CD20B1694A}"/>
              </a:ext>
            </a:extLst>
          </p:cNvPr>
          <p:cNvSpPr txBox="1">
            <a:spLocks/>
          </p:cNvSpPr>
          <p:nvPr/>
        </p:nvSpPr>
        <p:spPr>
          <a:xfrm>
            <a:off x="699897" y="500158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2</a:t>
            </a:r>
          </a:p>
        </p:txBody>
      </p:sp>
      <p:sp>
        <p:nvSpPr>
          <p:cNvPr id="13" name="Untertitel 3">
            <a:extLst>
              <a:ext uri="{FF2B5EF4-FFF2-40B4-BE49-F238E27FC236}">
                <a16:creationId xmlns:a16="http://schemas.microsoft.com/office/drawing/2014/main" id="{471ED06A-7353-0A3F-662C-FC58BBB7C18B}"/>
              </a:ext>
            </a:extLst>
          </p:cNvPr>
          <p:cNvSpPr txBox="1">
            <a:spLocks/>
          </p:cNvSpPr>
          <p:nvPr/>
        </p:nvSpPr>
        <p:spPr>
          <a:xfrm>
            <a:off x="719138" y="5299655"/>
            <a:ext cx="5907752" cy="1820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Renewable and non-renewable energy sources:</a:t>
            </a:r>
          </a:p>
          <a:p>
            <a:pPr marL="144000" indent="0"/>
            <a:endParaRPr lang="en-GB" sz="1200" dirty="0"/>
          </a:p>
          <a:p>
            <a:pPr marL="342900" indent="-228600">
              <a:lnSpc>
                <a:spcPct val="114999"/>
              </a:lnSpc>
              <a:buAutoNum type="arabicParenR"/>
            </a:pPr>
            <a:r>
              <a:rPr lang="en-GB" sz="1200" noProof="0" dirty="0"/>
              <a:t>Form a group of 2-4 students.</a:t>
            </a:r>
          </a:p>
          <a:p>
            <a:pPr marL="342900" indent="-228600">
              <a:lnSpc>
                <a:spcPct val="114999"/>
              </a:lnSpc>
              <a:buAutoNum type="arabicParenR"/>
            </a:pPr>
            <a:r>
              <a:rPr lang="en-GB" sz="1200" noProof="0" dirty="0"/>
              <a:t>Look at the pictures on the next side and decide, which of them are renewable energy sources and which of them are non-renewable / conservative energy sources! Tick the right box.</a:t>
            </a:r>
          </a:p>
          <a:p>
            <a:pPr marL="342900" indent="-228600">
              <a:lnSpc>
                <a:spcPct val="114999"/>
              </a:lnSpc>
              <a:buAutoNum type="arabicParenR"/>
            </a:pPr>
            <a:r>
              <a:rPr lang="en-GB" sz="1200" noProof="0" dirty="0"/>
              <a:t>Think about: do you know how they all are named?</a:t>
            </a:r>
          </a:p>
          <a:p>
            <a:pPr marL="342900" indent="-228600">
              <a:lnSpc>
                <a:spcPct val="114999"/>
              </a:lnSpc>
              <a:buAutoNum type="arabicParenR"/>
            </a:pPr>
            <a:r>
              <a:rPr lang="en-GB" sz="1200" noProof="0" dirty="0"/>
              <a:t>Try it on your own first and then discuss it in the group. </a:t>
            </a:r>
          </a:p>
          <a:p>
            <a:pPr marL="114300" indent="0">
              <a:lnSpc>
                <a:spcPct val="114999"/>
              </a:lnSpc>
            </a:pPr>
            <a:endParaRPr lang="en-GB" sz="1200" noProof="0" dirty="0"/>
          </a:p>
          <a:p>
            <a:pPr marL="114300" indent="0">
              <a:lnSpc>
                <a:spcPct val="114999"/>
              </a:lnSpc>
            </a:pPr>
            <a:endParaRPr lang="en-GB" sz="120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noProof="0" dirty="0"/>
          </a:p>
          <a:p>
            <a:pPr marL="114300" indent="0">
              <a:lnSpc>
                <a:spcPct val="114999"/>
              </a:lnSpc>
            </a:pPr>
            <a:endParaRPr lang="en-GB" sz="1150" i="1" noProof="0" dirty="0"/>
          </a:p>
        </p:txBody>
      </p:sp>
    </p:spTree>
    <p:extLst>
      <p:ext uri="{BB962C8B-B14F-4D97-AF65-F5344CB8AC3E}">
        <p14:creationId xmlns:p14="http://schemas.microsoft.com/office/powerpoint/2010/main" val="3374372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12</a:t>
            </a:fld>
            <a:endParaRPr lang="en-GB" noProof="0"/>
          </a:p>
        </p:txBody>
      </p:sp>
      <p:pic>
        <p:nvPicPr>
          <p:cNvPr id="2" name="Grafik 1" descr="Ein Bild, das Clipart, Design enthält.&#10;&#10;Beschreibung automatisch generiert.">
            <a:extLst>
              <a:ext uri="{FF2B5EF4-FFF2-40B4-BE49-F238E27FC236}">
                <a16:creationId xmlns:a16="http://schemas.microsoft.com/office/drawing/2014/main" id="{B7255242-02F8-3BA5-29B9-2490301C4735}"/>
              </a:ext>
            </a:extLst>
          </p:cNvPr>
          <p:cNvPicPr>
            <a:picLocks noChangeAspect="1"/>
          </p:cNvPicPr>
          <p:nvPr/>
        </p:nvPicPr>
        <p:blipFill>
          <a:blip r:embed="rId3"/>
          <a:stretch>
            <a:fillRect/>
          </a:stretch>
        </p:blipFill>
        <p:spPr>
          <a:xfrm>
            <a:off x="944100" y="1738014"/>
            <a:ext cx="1606903" cy="1543794"/>
          </a:xfrm>
          <a:prstGeom prst="rect">
            <a:avLst/>
          </a:prstGeom>
        </p:spPr>
      </p:pic>
      <p:pic>
        <p:nvPicPr>
          <p:cNvPr id="7" name="Grafik 6" descr="Ein Bild, das Logo, Symbol, Design enthält.&#10;&#10;Beschreibung automatisch generiert.">
            <a:extLst>
              <a:ext uri="{FF2B5EF4-FFF2-40B4-BE49-F238E27FC236}">
                <a16:creationId xmlns:a16="http://schemas.microsoft.com/office/drawing/2014/main" id="{C626F102-0D4B-C862-7A1A-70249A8CF74B}"/>
              </a:ext>
            </a:extLst>
          </p:cNvPr>
          <p:cNvPicPr>
            <a:picLocks noChangeAspect="1"/>
          </p:cNvPicPr>
          <p:nvPr/>
        </p:nvPicPr>
        <p:blipFill>
          <a:blip r:embed="rId4"/>
          <a:stretch>
            <a:fillRect/>
          </a:stretch>
        </p:blipFill>
        <p:spPr>
          <a:xfrm>
            <a:off x="3139197" y="4272808"/>
            <a:ext cx="1550521" cy="1480351"/>
          </a:xfrm>
          <a:prstGeom prst="rect">
            <a:avLst/>
          </a:prstGeom>
        </p:spPr>
      </p:pic>
      <p:pic>
        <p:nvPicPr>
          <p:cNvPr id="8" name="Grafik 7" descr="Ein Bild, das Logo, Symbol, Schrift, Grafiken enthält.&#10;&#10;Beschreibung automatisch generiert.">
            <a:extLst>
              <a:ext uri="{FF2B5EF4-FFF2-40B4-BE49-F238E27FC236}">
                <a16:creationId xmlns:a16="http://schemas.microsoft.com/office/drawing/2014/main" id="{1359D337-1D66-1DE5-4E06-4D96347AB294}"/>
              </a:ext>
            </a:extLst>
          </p:cNvPr>
          <p:cNvPicPr>
            <a:picLocks noChangeAspect="1"/>
          </p:cNvPicPr>
          <p:nvPr/>
        </p:nvPicPr>
        <p:blipFill>
          <a:blip r:embed="rId5"/>
          <a:stretch>
            <a:fillRect/>
          </a:stretch>
        </p:blipFill>
        <p:spPr>
          <a:xfrm>
            <a:off x="5123629" y="1752112"/>
            <a:ext cx="1529378" cy="1529696"/>
          </a:xfrm>
          <a:prstGeom prst="rect">
            <a:avLst/>
          </a:prstGeom>
        </p:spPr>
      </p:pic>
      <p:pic>
        <p:nvPicPr>
          <p:cNvPr id="9" name="Grafik 8" descr="Ein Bild, das Symbol enthält.&#10;&#10;Beschreibung automatisch generiert.">
            <a:extLst>
              <a:ext uri="{FF2B5EF4-FFF2-40B4-BE49-F238E27FC236}">
                <a16:creationId xmlns:a16="http://schemas.microsoft.com/office/drawing/2014/main" id="{A6953649-490C-1802-8D63-4A99FF934F79}"/>
              </a:ext>
            </a:extLst>
          </p:cNvPr>
          <p:cNvPicPr>
            <a:picLocks noChangeAspect="1"/>
          </p:cNvPicPr>
          <p:nvPr/>
        </p:nvPicPr>
        <p:blipFill>
          <a:blip r:embed="rId6"/>
          <a:stretch>
            <a:fillRect/>
          </a:stretch>
        </p:blipFill>
        <p:spPr>
          <a:xfrm>
            <a:off x="999677" y="4222895"/>
            <a:ext cx="1550520" cy="1522646"/>
          </a:xfrm>
          <a:prstGeom prst="rect">
            <a:avLst/>
          </a:prstGeom>
        </p:spPr>
      </p:pic>
      <p:pic>
        <p:nvPicPr>
          <p:cNvPr id="10" name="Grafik 9" descr="Ein Bild, das Clipart, Grafiken, Design enthält.&#10;&#10;Beschreibung automatisch generiert.">
            <a:extLst>
              <a:ext uri="{FF2B5EF4-FFF2-40B4-BE49-F238E27FC236}">
                <a16:creationId xmlns:a16="http://schemas.microsoft.com/office/drawing/2014/main" id="{F56FB6D0-DCA3-5FF5-D949-A469EC1AA2BE}"/>
              </a:ext>
            </a:extLst>
          </p:cNvPr>
          <p:cNvPicPr>
            <a:picLocks noChangeAspect="1"/>
          </p:cNvPicPr>
          <p:nvPr/>
        </p:nvPicPr>
        <p:blipFill>
          <a:blip r:embed="rId7"/>
          <a:stretch>
            <a:fillRect/>
          </a:stretch>
        </p:blipFill>
        <p:spPr>
          <a:xfrm>
            <a:off x="1001197" y="6823909"/>
            <a:ext cx="1578712" cy="1487400"/>
          </a:xfrm>
          <a:prstGeom prst="rect">
            <a:avLst/>
          </a:prstGeom>
        </p:spPr>
      </p:pic>
      <p:pic>
        <p:nvPicPr>
          <p:cNvPr id="11" name="Grafik 10" descr="Ein Bild, das Kreis, Design enthält.&#10;&#10;Beschreibung automatisch generiert.">
            <a:extLst>
              <a:ext uri="{FF2B5EF4-FFF2-40B4-BE49-F238E27FC236}">
                <a16:creationId xmlns:a16="http://schemas.microsoft.com/office/drawing/2014/main" id="{C4A38CEB-21AE-CAD3-E74F-1D2AB2432DC2}"/>
              </a:ext>
            </a:extLst>
          </p:cNvPr>
          <p:cNvPicPr>
            <a:picLocks noChangeAspect="1"/>
          </p:cNvPicPr>
          <p:nvPr/>
        </p:nvPicPr>
        <p:blipFill>
          <a:blip r:embed="rId8"/>
          <a:stretch>
            <a:fillRect/>
          </a:stretch>
        </p:blipFill>
        <p:spPr>
          <a:xfrm>
            <a:off x="5123629" y="4238218"/>
            <a:ext cx="1585760" cy="1508548"/>
          </a:xfrm>
          <a:prstGeom prst="rect">
            <a:avLst/>
          </a:prstGeom>
        </p:spPr>
      </p:pic>
      <p:pic>
        <p:nvPicPr>
          <p:cNvPr id="12" name="Grafik 11" descr="Ein Bild, das Windmühle, Schwarzweiß, Propeller enthält.&#10;&#10;Beschreibung automatisch generiert.">
            <a:extLst>
              <a:ext uri="{FF2B5EF4-FFF2-40B4-BE49-F238E27FC236}">
                <a16:creationId xmlns:a16="http://schemas.microsoft.com/office/drawing/2014/main" id="{D5F31C03-D862-E64D-F4CE-8D6D3936274D}"/>
              </a:ext>
            </a:extLst>
          </p:cNvPr>
          <p:cNvPicPr>
            <a:picLocks noChangeAspect="1"/>
          </p:cNvPicPr>
          <p:nvPr/>
        </p:nvPicPr>
        <p:blipFill>
          <a:blip r:embed="rId9"/>
          <a:stretch>
            <a:fillRect/>
          </a:stretch>
        </p:blipFill>
        <p:spPr>
          <a:xfrm>
            <a:off x="3125490" y="1729285"/>
            <a:ext cx="1578712" cy="1508548"/>
          </a:xfrm>
          <a:prstGeom prst="rect">
            <a:avLst/>
          </a:prstGeom>
        </p:spPr>
      </p:pic>
      <p:pic>
        <p:nvPicPr>
          <p:cNvPr id="13" name="Grafik 12" descr="Ein Bild, das Kreis, Design, Muster, Schwarzweiß enthält.&#10;&#10;Beschreibung automatisch generiert.">
            <a:extLst>
              <a:ext uri="{FF2B5EF4-FFF2-40B4-BE49-F238E27FC236}">
                <a16:creationId xmlns:a16="http://schemas.microsoft.com/office/drawing/2014/main" id="{ABF5B4D9-EB05-C043-4FBC-CE74E38E6CCC}"/>
              </a:ext>
            </a:extLst>
          </p:cNvPr>
          <p:cNvPicPr>
            <a:picLocks noChangeAspect="1"/>
          </p:cNvPicPr>
          <p:nvPr/>
        </p:nvPicPr>
        <p:blipFill>
          <a:blip r:embed="rId10"/>
          <a:stretch>
            <a:fillRect/>
          </a:stretch>
        </p:blipFill>
        <p:spPr>
          <a:xfrm>
            <a:off x="3125490" y="6809810"/>
            <a:ext cx="1606903" cy="1515597"/>
          </a:xfrm>
          <a:prstGeom prst="rect">
            <a:avLst/>
          </a:prstGeom>
        </p:spPr>
      </p:pic>
      <p:sp>
        <p:nvSpPr>
          <p:cNvPr id="14" name="Textfeld 13">
            <a:extLst>
              <a:ext uri="{FF2B5EF4-FFF2-40B4-BE49-F238E27FC236}">
                <a16:creationId xmlns:a16="http://schemas.microsoft.com/office/drawing/2014/main" id="{1DC39A33-AFC3-BAFB-BCFC-815AF85F41A3}"/>
              </a:ext>
            </a:extLst>
          </p:cNvPr>
          <p:cNvSpPr txBox="1"/>
          <p:nvPr/>
        </p:nvSpPr>
        <p:spPr>
          <a:xfrm>
            <a:off x="1114958" y="3290460"/>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Coal</a:t>
            </a:r>
            <a:endParaRPr lang="en-GB" sz="1200" b="1" noProof="0">
              <a:solidFill>
                <a:schemeClr val="dk1"/>
              </a:solidFill>
              <a:latin typeface="Sofia Sans"/>
            </a:endParaRPr>
          </a:p>
        </p:txBody>
      </p:sp>
      <p:sp>
        <p:nvSpPr>
          <p:cNvPr id="16" name="Textfeld 15">
            <a:extLst>
              <a:ext uri="{FF2B5EF4-FFF2-40B4-BE49-F238E27FC236}">
                <a16:creationId xmlns:a16="http://schemas.microsoft.com/office/drawing/2014/main" id="{8559A7D3-2E5E-B910-272A-32EA29C804A2}"/>
              </a:ext>
            </a:extLst>
          </p:cNvPr>
          <p:cNvSpPr txBox="1"/>
          <p:nvPr/>
        </p:nvSpPr>
        <p:spPr>
          <a:xfrm>
            <a:off x="5200789" y="3290460"/>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Uranium</a:t>
            </a:r>
          </a:p>
        </p:txBody>
      </p:sp>
      <p:sp>
        <p:nvSpPr>
          <p:cNvPr id="17" name="Textfeld 16">
            <a:extLst>
              <a:ext uri="{FF2B5EF4-FFF2-40B4-BE49-F238E27FC236}">
                <a16:creationId xmlns:a16="http://schemas.microsoft.com/office/drawing/2014/main" id="{93DF21F3-B62A-CE9C-BDB3-1F4AB943CCC4}"/>
              </a:ext>
            </a:extLst>
          </p:cNvPr>
          <p:cNvSpPr txBox="1"/>
          <p:nvPr/>
        </p:nvSpPr>
        <p:spPr>
          <a:xfrm>
            <a:off x="3197034" y="3290460"/>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Wind</a:t>
            </a:r>
          </a:p>
        </p:txBody>
      </p:sp>
      <p:sp>
        <p:nvSpPr>
          <p:cNvPr id="19" name="Textfeld 18">
            <a:extLst>
              <a:ext uri="{FF2B5EF4-FFF2-40B4-BE49-F238E27FC236}">
                <a16:creationId xmlns:a16="http://schemas.microsoft.com/office/drawing/2014/main" id="{73A61211-80BF-B1A8-FC36-E9ED11B6DC85}"/>
              </a:ext>
            </a:extLst>
          </p:cNvPr>
          <p:cNvSpPr txBox="1"/>
          <p:nvPr/>
        </p:nvSpPr>
        <p:spPr>
          <a:xfrm>
            <a:off x="1111159" y="5826552"/>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Biomass</a:t>
            </a:r>
          </a:p>
        </p:txBody>
      </p:sp>
      <p:sp>
        <p:nvSpPr>
          <p:cNvPr id="21" name="Textfeld 20">
            <a:extLst>
              <a:ext uri="{FF2B5EF4-FFF2-40B4-BE49-F238E27FC236}">
                <a16:creationId xmlns:a16="http://schemas.microsoft.com/office/drawing/2014/main" id="{9C779F89-23F1-8273-09EF-134F10F9DD9C}"/>
              </a:ext>
            </a:extLst>
          </p:cNvPr>
          <p:cNvSpPr txBox="1"/>
          <p:nvPr/>
        </p:nvSpPr>
        <p:spPr>
          <a:xfrm>
            <a:off x="3189149" y="5817699"/>
            <a:ext cx="157586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Natural Gas</a:t>
            </a:r>
          </a:p>
        </p:txBody>
      </p:sp>
      <p:sp>
        <p:nvSpPr>
          <p:cNvPr id="23" name="Textfeld 22">
            <a:extLst>
              <a:ext uri="{FF2B5EF4-FFF2-40B4-BE49-F238E27FC236}">
                <a16:creationId xmlns:a16="http://schemas.microsoft.com/office/drawing/2014/main" id="{AD661E3A-5B0F-01A4-3643-66BF593B9B61}"/>
              </a:ext>
            </a:extLst>
          </p:cNvPr>
          <p:cNvSpPr txBox="1"/>
          <p:nvPr/>
        </p:nvSpPr>
        <p:spPr>
          <a:xfrm>
            <a:off x="5205957" y="5817699"/>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Geothermal</a:t>
            </a:r>
          </a:p>
        </p:txBody>
      </p:sp>
      <p:sp>
        <p:nvSpPr>
          <p:cNvPr id="25" name="Textfeld 24">
            <a:extLst>
              <a:ext uri="{FF2B5EF4-FFF2-40B4-BE49-F238E27FC236}">
                <a16:creationId xmlns:a16="http://schemas.microsoft.com/office/drawing/2014/main" id="{EBBDADC1-07FE-F8E2-49CD-4C68E9023C03}"/>
              </a:ext>
            </a:extLst>
          </p:cNvPr>
          <p:cNvSpPr txBox="1"/>
          <p:nvPr/>
        </p:nvSpPr>
        <p:spPr>
          <a:xfrm>
            <a:off x="1111965" y="8400115"/>
            <a:ext cx="143903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Hydropower</a:t>
            </a:r>
          </a:p>
        </p:txBody>
      </p:sp>
      <p:sp>
        <p:nvSpPr>
          <p:cNvPr id="26" name="Textfeld 25">
            <a:extLst>
              <a:ext uri="{FF2B5EF4-FFF2-40B4-BE49-F238E27FC236}">
                <a16:creationId xmlns:a16="http://schemas.microsoft.com/office/drawing/2014/main" id="{09890D54-A53D-4CA6-508B-2A1A76DBB6A7}"/>
              </a:ext>
            </a:extLst>
          </p:cNvPr>
          <p:cNvSpPr txBox="1"/>
          <p:nvPr/>
        </p:nvSpPr>
        <p:spPr>
          <a:xfrm>
            <a:off x="3251486" y="8400115"/>
            <a:ext cx="14390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Wingdings"/>
              <a:buChar char="q"/>
            </a:pPr>
            <a:r>
              <a:rPr lang="en-GB" sz="1200" b="1" noProof="0">
                <a:solidFill>
                  <a:schemeClr val="dk1"/>
                </a:solidFill>
                <a:latin typeface="Sofia Sans"/>
                <a:sym typeface="Sofia Sans"/>
              </a:rPr>
              <a:t>Renewable</a:t>
            </a:r>
            <a:endParaRPr lang="en-GB" noProof="0">
              <a:solidFill>
                <a:schemeClr val="dk1"/>
              </a:solidFill>
              <a:sym typeface="Sofia Sans"/>
            </a:endParaRPr>
          </a:p>
          <a:p>
            <a:pPr marL="171450" indent="-171450">
              <a:buFont typeface="Wingdings"/>
              <a:buChar char="q"/>
            </a:pPr>
            <a:r>
              <a:rPr lang="en-GB" sz="1200" b="1" noProof="0">
                <a:solidFill>
                  <a:schemeClr val="dk1"/>
                </a:solidFill>
                <a:latin typeface="Sofia Sans"/>
                <a:sym typeface="Sofia Sans"/>
              </a:rPr>
              <a:t>Non-Renewable</a:t>
            </a:r>
            <a:endParaRPr lang="en-GB" sz="1200" b="1" noProof="0">
              <a:solidFill>
                <a:schemeClr val="dk1"/>
              </a:solidFill>
              <a:latin typeface="Sofia Sans"/>
            </a:endParaRPr>
          </a:p>
          <a:p>
            <a:r>
              <a:rPr lang="en-GB" sz="1200" b="1" noProof="0">
                <a:solidFill>
                  <a:schemeClr val="dk1"/>
                </a:solidFill>
                <a:latin typeface="Sofia Sans"/>
              </a:rPr>
              <a:t>Name: </a:t>
            </a:r>
            <a:r>
              <a:rPr lang="en-GB" sz="1200" b="1" noProof="0">
                <a:solidFill>
                  <a:srgbClr val="FF0000"/>
                </a:solidFill>
                <a:latin typeface="Sofia Sans"/>
              </a:rPr>
              <a:t>Solar</a:t>
            </a:r>
          </a:p>
        </p:txBody>
      </p:sp>
      <mc:AlternateContent xmlns:mc="http://schemas.openxmlformats.org/markup-compatibility/2006" xmlns:p14="http://schemas.microsoft.com/office/powerpoint/2010/main">
        <mc:Choice Requires="p14">
          <p:contentPart p14:bwMode="auto" r:id="rId11">
            <p14:nvContentPartPr>
              <p14:cNvPr id="37" name="Freihand 36">
                <a:extLst>
                  <a:ext uri="{FF2B5EF4-FFF2-40B4-BE49-F238E27FC236}">
                    <a16:creationId xmlns:a16="http://schemas.microsoft.com/office/drawing/2014/main" id="{F90333A1-842E-1BF9-7359-4943903F00D5}"/>
                  </a:ext>
                </a:extLst>
              </p14:cNvPr>
              <p14:cNvContentPartPr/>
              <p14:nvPr/>
            </p14:nvContentPartPr>
            <p14:xfrm>
              <a:off x="1234338" y="3531500"/>
              <a:ext cx="72483" cy="81206"/>
            </p14:xfrm>
          </p:contentPart>
        </mc:Choice>
        <mc:Fallback xmlns="">
          <p:pic>
            <p:nvPicPr>
              <p:cNvPr id="37" name="Freihand 36">
                <a:extLst>
                  <a:ext uri="{FF2B5EF4-FFF2-40B4-BE49-F238E27FC236}">
                    <a16:creationId xmlns:a16="http://schemas.microsoft.com/office/drawing/2014/main" id="{F90333A1-842E-1BF9-7359-4943903F00D5}"/>
                  </a:ext>
                </a:extLst>
              </p:cNvPr>
              <p:cNvPicPr/>
              <p:nvPr/>
            </p:nvPicPr>
            <p:blipFill>
              <a:blip r:embed="rId12"/>
              <a:stretch>
                <a:fillRect/>
              </a:stretch>
            </p:blipFill>
            <p:spPr>
              <a:xfrm>
                <a:off x="1216485" y="3513613"/>
                <a:ext cx="107832" cy="116622"/>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8" name="Freihand 37">
                <a:extLst>
                  <a:ext uri="{FF2B5EF4-FFF2-40B4-BE49-F238E27FC236}">
                    <a16:creationId xmlns:a16="http://schemas.microsoft.com/office/drawing/2014/main" id="{AFC3F3E6-DEC2-5BB7-F53C-FBF65CBAE387}"/>
                  </a:ext>
                </a:extLst>
              </p14:cNvPr>
              <p14:cNvContentPartPr/>
              <p14:nvPr/>
            </p14:nvContentPartPr>
            <p14:xfrm>
              <a:off x="1252391" y="3521239"/>
              <a:ext cx="53775" cy="98938"/>
            </p14:xfrm>
          </p:contentPart>
        </mc:Choice>
        <mc:Fallback xmlns="">
          <p:pic>
            <p:nvPicPr>
              <p:cNvPr id="38" name="Freihand 37">
                <a:extLst>
                  <a:ext uri="{FF2B5EF4-FFF2-40B4-BE49-F238E27FC236}">
                    <a16:creationId xmlns:a16="http://schemas.microsoft.com/office/drawing/2014/main" id="{AFC3F3E6-DEC2-5BB7-F53C-FBF65CBAE387}"/>
                  </a:ext>
                </a:extLst>
              </p:cNvPr>
              <p:cNvPicPr/>
              <p:nvPr/>
            </p:nvPicPr>
            <p:blipFill>
              <a:blip r:embed="rId14"/>
              <a:stretch>
                <a:fillRect/>
              </a:stretch>
            </p:blipFill>
            <p:spPr>
              <a:xfrm>
                <a:off x="1234466" y="3503250"/>
                <a:ext cx="89267" cy="134556"/>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9" name="Freihand 38">
                <a:extLst>
                  <a:ext uri="{FF2B5EF4-FFF2-40B4-BE49-F238E27FC236}">
                    <a16:creationId xmlns:a16="http://schemas.microsoft.com/office/drawing/2014/main" id="{F7DEEC2C-B4F4-BDF3-6910-87D4D55474F6}"/>
                  </a:ext>
                </a:extLst>
              </p14:cNvPr>
              <p14:cNvContentPartPr/>
              <p14:nvPr/>
            </p14:nvContentPartPr>
            <p14:xfrm>
              <a:off x="3297820" y="3336373"/>
              <a:ext cx="93585" cy="111367"/>
            </p14:xfrm>
          </p:contentPart>
        </mc:Choice>
        <mc:Fallback xmlns="">
          <p:pic>
            <p:nvPicPr>
              <p:cNvPr id="39" name="Freihand 38">
                <a:extLst>
                  <a:ext uri="{FF2B5EF4-FFF2-40B4-BE49-F238E27FC236}">
                    <a16:creationId xmlns:a16="http://schemas.microsoft.com/office/drawing/2014/main" id="{F7DEEC2C-B4F4-BDF3-6910-87D4D55474F6}"/>
                  </a:ext>
                </a:extLst>
              </p:cNvPr>
              <p:cNvPicPr/>
              <p:nvPr/>
            </p:nvPicPr>
            <p:blipFill>
              <a:blip r:embed="rId16"/>
              <a:stretch>
                <a:fillRect/>
              </a:stretch>
            </p:blipFill>
            <p:spPr>
              <a:xfrm>
                <a:off x="3279892" y="3318468"/>
                <a:ext cx="129083" cy="146818"/>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40" name="Freihand 39">
                <a:extLst>
                  <a:ext uri="{FF2B5EF4-FFF2-40B4-BE49-F238E27FC236}">
                    <a16:creationId xmlns:a16="http://schemas.microsoft.com/office/drawing/2014/main" id="{B9712D9B-28F9-E8DA-7292-07988C3FC843}"/>
                  </a:ext>
                </a:extLst>
              </p14:cNvPr>
              <p14:cNvContentPartPr/>
              <p14:nvPr/>
            </p14:nvContentPartPr>
            <p14:xfrm>
              <a:off x="3314437" y="3336373"/>
              <a:ext cx="75734" cy="66859"/>
            </p14:xfrm>
          </p:contentPart>
        </mc:Choice>
        <mc:Fallback xmlns="">
          <p:pic>
            <p:nvPicPr>
              <p:cNvPr id="40" name="Freihand 39">
                <a:extLst>
                  <a:ext uri="{FF2B5EF4-FFF2-40B4-BE49-F238E27FC236}">
                    <a16:creationId xmlns:a16="http://schemas.microsoft.com/office/drawing/2014/main" id="{B9712D9B-28F9-E8DA-7292-07988C3FC843}"/>
                  </a:ext>
                </a:extLst>
              </p:cNvPr>
              <p:cNvPicPr/>
              <p:nvPr/>
            </p:nvPicPr>
            <p:blipFill>
              <a:blip r:embed="rId18"/>
              <a:stretch>
                <a:fillRect/>
              </a:stretch>
            </p:blipFill>
            <p:spPr>
              <a:xfrm>
                <a:off x="3296575" y="3318496"/>
                <a:ext cx="111100" cy="102255"/>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41" name="Freihand 40">
                <a:extLst>
                  <a:ext uri="{FF2B5EF4-FFF2-40B4-BE49-F238E27FC236}">
                    <a16:creationId xmlns:a16="http://schemas.microsoft.com/office/drawing/2014/main" id="{BF9E2DF8-35AA-F983-4D9C-47B9FE6EA6B8}"/>
                  </a:ext>
                </a:extLst>
              </p14:cNvPr>
              <p14:cNvContentPartPr/>
              <p14:nvPr/>
            </p14:nvContentPartPr>
            <p14:xfrm>
              <a:off x="5313993" y="3531419"/>
              <a:ext cx="72829" cy="80852"/>
            </p14:xfrm>
          </p:contentPart>
        </mc:Choice>
        <mc:Fallback xmlns="">
          <p:pic>
            <p:nvPicPr>
              <p:cNvPr id="41" name="Freihand 40">
                <a:extLst>
                  <a:ext uri="{FF2B5EF4-FFF2-40B4-BE49-F238E27FC236}">
                    <a16:creationId xmlns:a16="http://schemas.microsoft.com/office/drawing/2014/main" id="{BF9E2DF8-35AA-F983-4D9C-47B9FE6EA6B8}"/>
                  </a:ext>
                </a:extLst>
              </p:cNvPr>
              <p:cNvPicPr/>
              <p:nvPr/>
            </p:nvPicPr>
            <p:blipFill>
              <a:blip r:embed="rId20"/>
              <a:stretch>
                <a:fillRect/>
              </a:stretch>
            </p:blipFill>
            <p:spPr>
              <a:xfrm>
                <a:off x="5296055" y="3513531"/>
                <a:ext cx="108347" cy="116269"/>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2" name="Freihand 41">
                <a:extLst>
                  <a:ext uri="{FF2B5EF4-FFF2-40B4-BE49-F238E27FC236}">
                    <a16:creationId xmlns:a16="http://schemas.microsoft.com/office/drawing/2014/main" id="{F98BBF4B-4F6B-2805-6BC9-D5254BEAAD7B}"/>
                  </a:ext>
                </a:extLst>
              </p14:cNvPr>
              <p14:cNvContentPartPr/>
              <p14:nvPr/>
            </p14:nvContentPartPr>
            <p14:xfrm>
              <a:off x="5303467" y="3510895"/>
              <a:ext cx="82354" cy="138979"/>
            </p14:xfrm>
          </p:contentPart>
        </mc:Choice>
        <mc:Fallback xmlns="">
          <p:pic>
            <p:nvPicPr>
              <p:cNvPr id="42" name="Freihand 41">
                <a:extLst>
                  <a:ext uri="{FF2B5EF4-FFF2-40B4-BE49-F238E27FC236}">
                    <a16:creationId xmlns:a16="http://schemas.microsoft.com/office/drawing/2014/main" id="{F98BBF4B-4F6B-2805-6BC9-D5254BEAAD7B}"/>
                  </a:ext>
                </a:extLst>
              </p:cNvPr>
              <p:cNvPicPr/>
              <p:nvPr/>
            </p:nvPicPr>
            <p:blipFill>
              <a:blip r:embed="rId22"/>
              <a:stretch>
                <a:fillRect/>
              </a:stretch>
            </p:blipFill>
            <p:spPr>
              <a:xfrm>
                <a:off x="5285564" y="3492939"/>
                <a:ext cx="117802" cy="174532"/>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43" name="Freihand 42">
                <a:extLst>
                  <a:ext uri="{FF2B5EF4-FFF2-40B4-BE49-F238E27FC236}">
                    <a16:creationId xmlns:a16="http://schemas.microsoft.com/office/drawing/2014/main" id="{E77EC7B7-1B79-B79C-BBFD-D05D84843438}"/>
                  </a:ext>
                </a:extLst>
              </p14:cNvPr>
              <p14:cNvContentPartPr/>
              <p14:nvPr/>
            </p14:nvContentPartPr>
            <p14:xfrm>
              <a:off x="1230112" y="5887212"/>
              <a:ext cx="52519" cy="106042"/>
            </p14:xfrm>
          </p:contentPart>
        </mc:Choice>
        <mc:Fallback xmlns="">
          <p:pic>
            <p:nvPicPr>
              <p:cNvPr id="43" name="Freihand 42">
                <a:extLst>
                  <a:ext uri="{FF2B5EF4-FFF2-40B4-BE49-F238E27FC236}">
                    <a16:creationId xmlns:a16="http://schemas.microsoft.com/office/drawing/2014/main" id="{E77EC7B7-1B79-B79C-BBFD-D05D84843438}"/>
                  </a:ext>
                </a:extLst>
              </p:cNvPr>
              <p:cNvPicPr/>
              <p:nvPr/>
            </p:nvPicPr>
            <p:blipFill>
              <a:blip r:embed="rId24"/>
              <a:stretch>
                <a:fillRect/>
              </a:stretch>
            </p:blipFill>
            <p:spPr>
              <a:xfrm>
                <a:off x="1212248" y="5869299"/>
                <a:ext cx="87889" cy="141509"/>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44" name="Freihand 43">
                <a:extLst>
                  <a:ext uri="{FF2B5EF4-FFF2-40B4-BE49-F238E27FC236}">
                    <a16:creationId xmlns:a16="http://schemas.microsoft.com/office/drawing/2014/main" id="{7FCC9ACF-0651-E6E3-F4B4-B1D909B92573}"/>
                  </a:ext>
                </a:extLst>
              </p14:cNvPr>
              <p14:cNvContentPartPr/>
              <p14:nvPr/>
            </p14:nvContentPartPr>
            <p14:xfrm>
              <a:off x="1190968" y="5850701"/>
              <a:ext cx="121233" cy="122800"/>
            </p14:xfrm>
          </p:contentPart>
        </mc:Choice>
        <mc:Fallback xmlns="">
          <p:pic>
            <p:nvPicPr>
              <p:cNvPr id="44" name="Freihand 43">
                <a:extLst>
                  <a:ext uri="{FF2B5EF4-FFF2-40B4-BE49-F238E27FC236}">
                    <a16:creationId xmlns:a16="http://schemas.microsoft.com/office/drawing/2014/main" id="{7FCC9ACF-0651-E6E3-F4B4-B1D909B92573}"/>
                  </a:ext>
                </a:extLst>
              </p:cNvPr>
              <p:cNvPicPr/>
              <p:nvPr/>
            </p:nvPicPr>
            <p:blipFill>
              <a:blip r:embed="rId26"/>
              <a:stretch>
                <a:fillRect/>
              </a:stretch>
            </p:blipFill>
            <p:spPr>
              <a:xfrm>
                <a:off x="1173034" y="5832748"/>
                <a:ext cx="156742" cy="158347"/>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45" name="Freihand 44">
                <a:extLst>
                  <a:ext uri="{FF2B5EF4-FFF2-40B4-BE49-F238E27FC236}">
                    <a16:creationId xmlns:a16="http://schemas.microsoft.com/office/drawing/2014/main" id="{DFD9288E-B00F-339C-16D5-5469544EF0C8}"/>
                  </a:ext>
                </a:extLst>
              </p14:cNvPr>
              <p14:cNvContentPartPr/>
              <p14:nvPr/>
            </p14:nvContentPartPr>
            <p14:xfrm>
              <a:off x="3279453" y="6053853"/>
              <a:ext cx="102679" cy="105967"/>
            </p14:xfrm>
          </p:contentPart>
        </mc:Choice>
        <mc:Fallback xmlns="">
          <p:pic>
            <p:nvPicPr>
              <p:cNvPr id="45" name="Freihand 44">
                <a:extLst>
                  <a:ext uri="{FF2B5EF4-FFF2-40B4-BE49-F238E27FC236}">
                    <a16:creationId xmlns:a16="http://schemas.microsoft.com/office/drawing/2014/main" id="{DFD9288E-B00F-339C-16D5-5469544EF0C8}"/>
                  </a:ext>
                </a:extLst>
              </p:cNvPr>
              <p:cNvPicPr/>
              <p:nvPr/>
            </p:nvPicPr>
            <p:blipFill>
              <a:blip r:embed="rId28"/>
              <a:stretch>
                <a:fillRect/>
              </a:stretch>
            </p:blipFill>
            <p:spPr>
              <a:xfrm>
                <a:off x="3261502" y="6035892"/>
                <a:ext cx="138222" cy="141529"/>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6" name="Freihand 45">
                <a:extLst>
                  <a:ext uri="{FF2B5EF4-FFF2-40B4-BE49-F238E27FC236}">
                    <a16:creationId xmlns:a16="http://schemas.microsoft.com/office/drawing/2014/main" id="{E42C7760-DA83-B140-EC15-170A76CED852}"/>
                  </a:ext>
                </a:extLst>
              </p14:cNvPr>
              <p14:cNvContentPartPr/>
              <p14:nvPr/>
            </p14:nvContentPartPr>
            <p14:xfrm>
              <a:off x="3264940" y="6043592"/>
              <a:ext cx="113181" cy="113730"/>
            </p14:xfrm>
          </p:contentPart>
        </mc:Choice>
        <mc:Fallback xmlns="">
          <p:pic>
            <p:nvPicPr>
              <p:cNvPr id="46" name="Freihand 45">
                <a:extLst>
                  <a:ext uri="{FF2B5EF4-FFF2-40B4-BE49-F238E27FC236}">
                    <a16:creationId xmlns:a16="http://schemas.microsoft.com/office/drawing/2014/main" id="{E42C7760-DA83-B140-EC15-170A76CED852}"/>
                  </a:ext>
                </a:extLst>
              </p:cNvPr>
              <p:cNvPicPr/>
              <p:nvPr/>
            </p:nvPicPr>
            <p:blipFill>
              <a:blip r:embed="rId30"/>
              <a:stretch>
                <a:fillRect/>
              </a:stretch>
            </p:blipFill>
            <p:spPr>
              <a:xfrm>
                <a:off x="3246975" y="6025654"/>
                <a:ext cx="148752" cy="149248"/>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7" name="Freihand 46">
                <a:extLst>
                  <a:ext uri="{FF2B5EF4-FFF2-40B4-BE49-F238E27FC236}">
                    <a16:creationId xmlns:a16="http://schemas.microsoft.com/office/drawing/2014/main" id="{7F59C1C3-515A-02D9-A231-117A5268EC3B}"/>
                  </a:ext>
                </a:extLst>
              </p14:cNvPr>
              <p14:cNvContentPartPr/>
              <p14:nvPr/>
            </p14:nvContentPartPr>
            <p14:xfrm>
              <a:off x="5305069" y="5851944"/>
              <a:ext cx="111050" cy="127920"/>
            </p14:xfrm>
          </p:contentPart>
        </mc:Choice>
        <mc:Fallback xmlns="">
          <p:pic>
            <p:nvPicPr>
              <p:cNvPr id="47" name="Freihand 46">
                <a:extLst>
                  <a:ext uri="{FF2B5EF4-FFF2-40B4-BE49-F238E27FC236}">
                    <a16:creationId xmlns:a16="http://schemas.microsoft.com/office/drawing/2014/main" id="{7F59C1C3-515A-02D9-A231-117A5268EC3B}"/>
                  </a:ext>
                </a:extLst>
              </p:cNvPr>
              <p:cNvPicPr/>
              <p:nvPr/>
            </p:nvPicPr>
            <p:blipFill>
              <a:blip r:embed="rId32"/>
              <a:stretch>
                <a:fillRect/>
              </a:stretch>
            </p:blipFill>
            <p:spPr>
              <a:xfrm>
                <a:off x="5287100" y="5834028"/>
                <a:ext cx="146629" cy="163394"/>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8" name="Freihand 47">
                <a:extLst>
                  <a:ext uri="{FF2B5EF4-FFF2-40B4-BE49-F238E27FC236}">
                    <a16:creationId xmlns:a16="http://schemas.microsoft.com/office/drawing/2014/main" id="{7D1E9A88-B856-D696-DD37-639BDE6F5A19}"/>
                  </a:ext>
                </a:extLst>
              </p14:cNvPr>
              <p14:cNvContentPartPr/>
              <p14:nvPr/>
            </p14:nvContentPartPr>
            <p14:xfrm>
              <a:off x="5343838" y="5831422"/>
              <a:ext cx="43320" cy="98202"/>
            </p14:xfrm>
          </p:contentPart>
        </mc:Choice>
        <mc:Fallback xmlns="">
          <p:pic>
            <p:nvPicPr>
              <p:cNvPr id="48" name="Freihand 47">
                <a:extLst>
                  <a:ext uri="{FF2B5EF4-FFF2-40B4-BE49-F238E27FC236}">
                    <a16:creationId xmlns:a16="http://schemas.microsoft.com/office/drawing/2014/main" id="{7D1E9A88-B856-D696-DD37-639BDE6F5A19}"/>
                  </a:ext>
                </a:extLst>
              </p:cNvPr>
              <p:cNvPicPr/>
              <p:nvPr/>
            </p:nvPicPr>
            <p:blipFill>
              <a:blip r:embed="rId34"/>
              <a:stretch>
                <a:fillRect/>
              </a:stretch>
            </p:blipFill>
            <p:spPr>
              <a:xfrm>
                <a:off x="5325937" y="5813502"/>
                <a:ext cx="78764" cy="133684"/>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9" name="Freihand 48">
                <a:extLst>
                  <a:ext uri="{FF2B5EF4-FFF2-40B4-BE49-F238E27FC236}">
                    <a16:creationId xmlns:a16="http://schemas.microsoft.com/office/drawing/2014/main" id="{B84A6D74-DF07-7EF3-3ED2-5B67264E8213}"/>
                  </a:ext>
                </a:extLst>
              </p14:cNvPr>
              <p14:cNvContentPartPr/>
              <p14:nvPr/>
            </p14:nvContentPartPr>
            <p14:xfrm>
              <a:off x="1204437" y="8405573"/>
              <a:ext cx="112574" cy="163336"/>
            </p14:xfrm>
          </p:contentPart>
        </mc:Choice>
        <mc:Fallback xmlns="">
          <p:pic>
            <p:nvPicPr>
              <p:cNvPr id="49" name="Freihand 48">
                <a:extLst>
                  <a:ext uri="{FF2B5EF4-FFF2-40B4-BE49-F238E27FC236}">
                    <a16:creationId xmlns:a16="http://schemas.microsoft.com/office/drawing/2014/main" id="{B84A6D74-DF07-7EF3-3ED2-5B67264E8213}"/>
                  </a:ext>
                </a:extLst>
              </p:cNvPr>
              <p:cNvPicPr/>
              <p:nvPr/>
            </p:nvPicPr>
            <p:blipFill>
              <a:blip r:embed="rId36"/>
              <a:stretch>
                <a:fillRect/>
              </a:stretch>
            </p:blipFill>
            <p:spPr>
              <a:xfrm>
                <a:off x="1186511" y="8387624"/>
                <a:ext cx="148067" cy="198875"/>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50" name="Freihand 49">
                <a:extLst>
                  <a:ext uri="{FF2B5EF4-FFF2-40B4-BE49-F238E27FC236}">
                    <a16:creationId xmlns:a16="http://schemas.microsoft.com/office/drawing/2014/main" id="{BC899390-8EC0-5D70-AEF1-99D363B9806D}"/>
                  </a:ext>
                </a:extLst>
              </p14:cNvPr>
              <p14:cNvContentPartPr/>
              <p14:nvPr/>
            </p14:nvContentPartPr>
            <p14:xfrm>
              <a:off x="1214267" y="8426095"/>
              <a:ext cx="92781" cy="131400"/>
            </p14:xfrm>
          </p:contentPart>
        </mc:Choice>
        <mc:Fallback xmlns="">
          <p:pic>
            <p:nvPicPr>
              <p:cNvPr id="50" name="Freihand 49">
                <a:extLst>
                  <a:ext uri="{FF2B5EF4-FFF2-40B4-BE49-F238E27FC236}">
                    <a16:creationId xmlns:a16="http://schemas.microsoft.com/office/drawing/2014/main" id="{BC899390-8EC0-5D70-AEF1-99D363B9806D}"/>
                  </a:ext>
                </a:extLst>
              </p:cNvPr>
              <p:cNvPicPr/>
              <p:nvPr/>
            </p:nvPicPr>
            <p:blipFill>
              <a:blip r:embed="rId38"/>
              <a:stretch>
                <a:fillRect/>
              </a:stretch>
            </p:blipFill>
            <p:spPr>
              <a:xfrm>
                <a:off x="1196356" y="8408144"/>
                <a:ext cx="128246" cy="166943"/>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51" name="Freihand 50">
                <a:extLst>
                  <a:ext uri="{FF2B5EF4-FFF2-40B4-BE49-F238E27FC236}">
                    <a16:creationId xmlns:a16="http://schemas.microsoft.com/office/drawing/2014/main" id="{0BF0940E-9912-15D0-D880-2EA8F64D1D78}"/>
                  </a:ext>
                </a:extLst>
              </p14:cNvPr>
              <p14:cNvContentPartPr/>
              <p14:nvPr/>
            </p14:nvContentPartPr>
            <p14:xfrm>
              <a:off x="3356253" y="8467057"/>
              <a:ext cx="86337" cy="87669"/>
            </p14:xfrm>
          </p:contentPart>
        </mc:Choice>
        <mc:Fallback xmlns="">
          <p:pic>
            <p:nvPicPr>
              <p:cNvPr id="51" name="Freihand 50">
                <a:extLst>
                  <a:ext uri="{FF2B5EF4-FFF2-40B4-BE49-F238E27FC236}">
                    <a16:creationId xmlns:a16="http://schemas.microsoft.com/office/drawing/2014/main" id="{0BF0940E-9912-15D0-D880-2EA8F64D1D78}"/>
                  </a:ext>
                </a:extLst>
              </p:cNvPr>
              <p:cNvPicPr/>
              <p:nvPr/>
            </p:nvPicPr>
            <p:blipFill>
              <a:blip r:embed="rId40"/>
              <a:stretch>
                <a:fillRect/>
              </a:stretch>
            </p:blipFill>
            <p:spPr>
              <a:xfrm>
                <a:off x="3338341" y="8449165"/>
                <a:ext cx="121803" cy="123094"/>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3" name="Freihand 52">
                <a:extLst>
                  <a:ext uri="{FF2B5EF4-FFF2-40B4-BE49-F238E27FC236}">
                    <a16:creationId xmlns:a16="http://schemas.microsoft.com/office/drawing/2014/main" id="{7964E81E-8B12-C682-A055-79D6459167A8}"/>
                  </a:ext>
                </a:extLst>
              </p14:cNvPr>
              <p14:cNvContentPartPr/>
              <p14:nvPr/>
            </p14:nvContentPartPr>
            <p14:xfrm>
              <a:off x="3362277" y="8444215"/>
              <a:ext cx="106849" cy="133781"/>
            </p14:xfrm>
          </p:contentPart>
        </mc:Choice>
        <mc:Fallback xmlns="">
          <p:pic>
            <p:nvPicPr>
              <p:cNvPr id="53" name="Freihand 52">
                <a:extLst>
                  <a:ext uri="{FF2B5EF4-FFF2-40B4-BE49-F238E27FC236}">
                    <a16:creationId xmlns:a16="http://schemas.microsoft.com/office/drawing/2014/main" id="{7964E81E-8B12-C682-A055-79D6459167A8}"/>
                  </a:ext>
                </a:extLst>
              </p:cNvPr>
              <p:cNvPicPr/>
              <p:nvPr/>
            </p:nvPicPr>
            <p:blipFill>
              <a:blip r:embed="rId42"/>
              <a:stretch>
                <a:fillRect/>
              </a:stretch>
            </p:blipFill>
            <p:spPr>
              <a:xfrm>
                <a:off x="3344349" y="8426282"/>
                <a:ext cx="142346" cy="169289"/>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54" name="Freihand 53">
                <a:extLst>
                  <a:ext uri="{FF2B5EF4-FFF2-40B4-BE49-F238E27FC236}">
                    <a16:creationId xmlns:a16="http://schemas.microsoft.com/office/drawing/2014/main" id="{14E7730D-2D52-2176-65A7-B177D1735405}"/>
                  </a:ext>
                </a:extLst>
              </p14:cNvPr>
              <p14:cNvContentPartPr/>
              <p14:nvPr/>
            </p14:nvContentPartPr>
            <p14:xfrm>
              <a:off x="-902987" y="8766477"/>
              <a:ext cx="10261" cy="10261"/>
            </p14:xfrm>
          </p:contentPart>
        </mc:Choice>
        <mc:Fallback xmlns="">
          <p:pic>
            <p:nvPicPr>
              <p:cNvPr id="54" name="Freihand 53">
                <a:extLst>
                  <a:ext uri="{FF2B5EF4-FFF2-40B4-BE49-F238E27FC236}">
                    <a16:creationId xmlns:a16="http://schemas.microsoft.com/office/drawing/2014/main" id="{14E7730D-2D52-2176-65A7-B177D1735405}"/>
                  </a:ext>
                </a:extLst>
              </p:cNvPr>
              <p:cNvPicPr/>
              <p:nvPr/>
            </p:nvPicPr>
            <p:blipFill>
              <a:blip r:embed="rId44"/>
              <a:stretch>
                <a:fillRect/>
              </a:stretch>
            </p:blipFill>
            <p:spPr>
              <a:xfrm>
                <a:off x="-1416037" y="8253427"/>
                <a:ext cx="1026100" cy="1026100"/>
              </a:xfrm>
              <a:prstGeom prst="rect">
                <a:avLst/>
              </a:prstGeom>
            </p:spPr>
          </p:pic>
        </mc:Fallback>
      </mc:AlternateContent>
    </p:spTree>
    <p:extLst>
      <p:ext uri="{BB962C8B-B14F-4D97-AF65-F5344CB8AC3E}">
        <p14:creationId xmlns:p14="http://schemas.microsoft.com/office/powerpoint/2010/main" val="4165276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16"/>
          </p:nvPr>
        </p:nvSpPr>
        <p:spPr/>
        <p:txBody>
          <a:bodyPr/>
          <a:lstStyle/>
          <a:p>
            <a:fld id="{DF7F771E-9578-4C04-B869-01AF4C35C90C}" type="slidenum">
              <a:rPr lang="en-GB" noProof="0" smtClean="0"/>
              <a:t>13</a:t>
            </a:fld>
            <a:endParaRPr lang="en-GB" noProof="0"/>
          </a:p>
        </p:txBody>
      </p:sp>
      <p:sp>
        <p:nvSpPr>
          <p:cNvPr id="5" name="Untertitel 3">
            <a:extLst>
              <a:ext uri="{FF2B5EF4-FFF2-40B4-BE49-F238E27FC236}">
                <a16:creationId xmlns:a16="http://schemas.microsoft.com/office/drawing/2014/main" id="{47CB8B55-5221-8ED1-B020-5C92DCB4AE8A}"/>
              </a:ext>
            </a:extLst>
          </p:cNvPr>
          <p:cNvSpPr txBox="1">
            <a:spLocks/>
          </p:cNvSpPr>
          <p:nvPr/>
        </p:nvSpPr>
        <p:spPr>
          <a:xfrm>
            <a:off x="789133" y="1299111"/>
            <a:ext cx="5991508" cy="2317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Good to know about wind and wind energy:</a:t>
            </a:r>
          </a:p>
          <a:p>
            <a:pPr marL="285750" indent="-285750">
              <a:lnSpc>
                <a:spcPct val="114999"/>
              </a:lnSpc>
              <a:buFont typeface="Arial"/>
              <a:buChar char="•"/>
            </a:pPr>
            <a:r>
              <a:rPr lang="en-GB" sz="1200" noProof="0" dirty="0"/>
              <a:t>Wind energy is a renewable energy source.</a:t>
            </a:r>
          </a:p>
          <a:p>
            <a:pPr marL="285750" indent="-285750">
              <a:lnSpc>
                <a:spcPct val="114999"/>
              </a:lnSpc>
              <a:buFont typeface="Arial"/>
              <a:buChar char="•"/>
            </a:pPr>
            <a:r>
              <a:rPr lang="en-GB" sz="1200" noProof="0" dirty="0"/>
              <a:t>Wind energy comes from moving air.</a:t>
            </a:r>
            <a:endParaRPr lang="en-GB" noProof="0" dirty="0"/>
          </a:p>
          <a:p>
            <a:pPr marL="285750" indent="-285750">
              <a:lnSpc>
                <a:spcPct val="114999"/>
              </a:lnSpc>
              <a:buFont typeface="Arial"/>
              <a:buChar char="•"/>
            </a:pPr>
            <a:r>
              <a:rPr lang="en-GB" sz="1200" noProof="0" dirty="0"/>
              <a:t>Basically, wind is caused by 3 things:</a:t>
            </a:r>
          </a:p>
          <a:p>
            <a:pPr marL="0" indent="0">
              <a:lnSpc>
                <a:spcPct val="114999"/>
              </a:lnSpc>
            </a:pPr>
            <a:r>
              <a:rPr lang="en-GB" sz="1200" noProof="0" dirty="0"/>
              <a:t>   - The heating of the atmosphere by the sun,</a:t>
            </a:r>
            <a:endParaRPr lang="en-GB" noProof="0" dirty="0"/>
          </a:p>
          <a:p>
            <a:pPr marL="0" indent="0">
              <a:lnSpc>
                <a:spcPct val="114999"/>
              </a:lnSpc>
            </a:pPr>
            <a:r>
              <a:rPr lang="en-GB" sz="1200" noProof="0" dirty="0"/>
              <a:t>    -The rotation of the Earth, and</a:t>
            </a:r>
            <a:endParaRPr lang="en-GB" noProof="0" dirty="0"/>
          </a:p>
          <a:p>
            <a:pPr marL="0" indent="0">
              <a:lnSpc>
                <a:spcPct val="114999"/>
              </a:lnSpc>
            </a:pPr>
            <a:r>
              <a:rPr lang="en-GB" sz="1200" noProof="0" dirty="0"/>
              <a:t>    -The earth’s surface irregularities.</a:t>
            </a:r>
            <a:endParaRPr lang="en-GB" noProof="0" dirty="0"/>
          </a:p>
          <a:p>
            <a:pPr marL="285750" indent="-285750">
              <a:lnSpc>
                <a:spcPct val="114999"/>
              </a:lnSpc>
              <a:buFont typeface="Arial"/>
              <a:buChar char="•"/>
            </a:pPr>
            <a:r>
              <a:rPr lang="en-GB" sz="1200" noProof="0" dirty="0"/>
              <a:t>Some areas have strong winds, while others have very little.</a:t>
            </a:r>
            <a:endParaRPr lang="en-GB" noProof="0" dirty="0"/>
          </a:p>
          <a:p>
            <a:pPr marL="285750" indent="-285750">
              <a:lnSpc>
                <a:spcPct val="114999"/>
              </a:lnSpc>
              <a:buFont typeface="Arial"/>
              <a:buChar char="•"/>
            </a:pPr>
            <a:r>
              <a:rPr lang="en-GB" sz="1200" noProof="0" dirty="0"/>
              <a:t>Wind energy can’t produce electricity all the time—it depends on the wind.</a:t>
            </a:r>
            <a:endParaRPr lang="en-GB" noProof="0" dirty="0"/>
          </a:p>
          <a:p>
            <a:pPr marL="285750" indent="-285750">
              <a:lnSpc>
                <a:spcPct val="114999"/>
              </a:lnSpc>
              <a:buFont typeface="Arial"/>
              <a:buChar char="•"/>
            </a:pPr>
            <a:r>
              <a:rPr lang="en-GB" sz="1200" noProof="0" dirty="0"/>
              <a:t>It doesn’t pollute the air but can create noise.</a:t>
            </a:r>
            <a:endParaRPr lang="en-GB" noProof="0" dirty="0"/>
          </a:p>
          <a:p>
            <a:pPr marL="114300" indent="0">
              <a:lnSpc>
                <a:spcPct val="114999"/>
              </a:lnSpc>
            </a:pPr>
            <a:endParaRPr lang="en-GB" sz="1200" b="1" noProof="0" dirty="0"/>
          </a:p>
          <a:p>
            <a:pPr marL="114300" indent="0">
              <a:lnSpc>
                <a:spcPct val="114999"/>
              </a:lnSpc>
            </a:pPr>
            <a:endParaRPr lang="en-GB" sz="1200" b="1" noProof="0" dirty="0"/>
          </a:p>
          <a:p>
            <a:pPr marL="114300" indent="0">
              <a:lnSpc>
                <a:spcPct val="114999"/>
              </a:lnSpc>
            </a:pPr>
            <a:endParaRPr lang="en-GB" sz="120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noProof="0" dirty="0"/>
          </a:p>
          <a:p>
            <a:pPr marL="114300" indent="0">
              <a:lnSpc>
                <a:spcPct val="114999"/>
              </a:lnSpc>
            </a:pPr>
            <a:endParaRPr lang="en-GB" sz="1150" b="1" i="1" noProof="0" dirty="0"/>
          </a:p>
        </p:txBody>
      </p:sp>
    </p:spTree>
    <p:extLst>
      <p:ext uri="{BB962C8B-B14F-4D97-AF65-F5344CB8AC3E}">
        <p14:creationId xmlns:p14="http://schemas.microsoft.com/office/powerpoint/2010/main" val="3117399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14</a:t>
            </a:fld>
            <a:endParaRPr lang="en-GB" noProof="0"/>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719138" y="1277938"/>
            <a:ext cx="6380336" cy="708958"/>
          </a:xfrm>
        </p:spPr>
        <p:txBody>
          <a:bodyPr/>
          <a:lstStyle/>
          <a:p>
            <a:r>
              <a:rPr lang="en-GB" noProof="0" dirty="0"/>
              <a:t>2. Windy places</a:t>
            </a:r>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719137"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200" noProof="0"/>
              <a:t>In this chapter you will </a:t>
            </a:r>
            <a:r>
              <a:rPr lang="en-GB" sz="1200" noProof="0" dirty="0"/>
              <a:t>learn </a:t>
            </a:r>
            <a:r>
              <a:rPr lang="en-GB" sz="1200" noProof="0"/>
              <a:t>more about the basics of wind energy and where you can find </a:t>
            </a:r>
            <a:r>
              <a:rPr lang="en-GB" sz="1200" noProof="0" dirty="0"/>
              <a:t>windier locations</a:t>
            </a:r>
            <a:r>
              <a:rPr lang="en-GB" sz="1200" noProof="0"/>
              <a:t>.</a:t>
            </a:r>
            <a:endParaRPr lang="en-GB" sz="1200" noProof="0" dirty="0"/>
          </a:p>
        </p:txBody>
      </p:sp>
      <p:pic>
        <p:nvPicPr>
          <p:cNvPr id="18" name="Grafik 17" descr="Skizze mit einfarbiger Füllung">
            <a:extLst>
              <a:ext uri="{FF2B5EF4-FFF2-40B4-BE49-F238E27FC236}">
                <a16:creationId xmlns:a16="http://schemas.microsoft.com/office/drawing/2014/main" id="{B405F80C-758F-01DF-CEC4-3CC0D55256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5801" y="2799573"/>
            <a:ext cx="379044" cy="379044"/>
          </a:xfrm>
          <a:prstGeom prst="rect">
            <a:avLst/>
          </a:prstGeom>
        </p:spPr>
      </p:pic>
      <p:sp>
        <p:nvSpPr>
          <p:cNvPr id="20" name="Untertitel 5">
            <a:extLst>
              <a:ext uri="{FF2B5EF4-FFF2-40B4-BE49-F238E27FC236}">
                <a16:creationId xmlns:a16="http://schemas.microsoft.com/office/drawing/2014/main" id="{2240E9CB-3E86-122C-9767-7BADBDD48767}"/>
              </a:ext>
            </a:extLst>
          </p:cNvPr>
          <p:cNvSpPr txBox="1">
            <a:spLocks/>
          </p:cNvSpPr>
          <p:nvPr/>
        </p:nvSpPr>
        <p:spPr>
          <a:xfrm>
            <a:off x="1179965" y="274177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22" name="Ellipse 21">
            <a:extLst>
              <a:ext uri="{FF2B5EF4-FFF2-40B4-BE49-F238E27FC236}">
                <a16:creationId xmlns:a16="http://schemas.microsoft.com/office/drawing/2014/main" id="{FE293BEB-10AE-D6AB-EBE2-A922DCFE03C1}"/>
              </a:ext>
            </a:extLst>
          </p:cNvPr>
          <p:cNvSpPr>
            <a:spLocks noChangeAspect="1"/>
          </p:cNvSpPr>
          <p:nvPr/>
        </p:nvSpPr>
        <p:spPr>
          <a:xfrm>
            <a:off x="739016" y="2713890"/>
            <a:ext cx="507735" cy="507735"/>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4" name="Grafik 23" descr="Skizze mit einfarbiger Füllung">
            <a:extLst>
              <a:ext uri="{FF2B5EF4-FFF2-40B4-BE49-F238E27FC236}">
                <a16:creationId xmlns:a16="http://schemas.microsoft.com/office/drawing/2014/main" id="{8D663BB8-1F95-8E05-7D7F-1BFA3E8D88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2026" y="2798606"/>
            <a:ext cx="379044" cy="379044"/>
          </a:xfrm>
          <a:prstGeom prst="rect">
            <a:avLst/>
          </a:prstGeom>
        </p:spPr>
      </p:pic>
      <p:sp>
        <p:nvSpPr>
          <p:cNvPr id="28" name="Untertitel 5">
            <a:extLst>
              <a:ext uri="{FF2B5EF4-FFF2-40B4-BE49-F238E27FC236}">
                <a16:creationId xmlns:a16="http://schemas.microsoft.com/office/drawing/2014/main" id="{1E7F3884-BACD-49E3-027F-BC4198F8C2AE}"/>
              </a:ext>
            </a:extLst>
          </p:cNvPr>
          <p:cNvSpPr txBox="1">
            <a:spLocks/>
          </p:cNvSpPr>
          <p:nvPr/>
        </p:nvSpPr>
        <p:spPr>
          <a:xfrm>
            <a:off x="699897" y="332082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1</a:t>
            </a:r>
          </a:p>
        </p:txBody>
      </p:sp>
      <p:sp>
        <p:nvSpPr>
          <p:cNvPr id="30" name="Untertitel 3">
            <a:extLst>
              <a:ext uri="{FF2B5EF4-FFF2-40B4-BE49-F238E27FC236}">
                <a16:creationId xmlns:a16="http://schemas.microsoft.com/office/drawing/2014/main" id="{54BF23FD-9A2C-06FA-3BEF-5E979E4936DC}"/>
              </a:ext>
            </a:extLst>
          </p:cNvPr>
          <p:cNvSpPr txBox="1">
            <a:spLocks/>
          </p:cNvSpPr>
          <p:nvPr/>
        </p:nvSpPr>
        <p:spPr>
          <a:xfrm>
            <a:off x="703339" y="3636094"/>
            <a:ext cx="5957301" cy="57211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200" noProof="0" dirty="0"/>
              <a:t>Allocate these places according to their wind strength. Good wind locations for the production of energy are (very) windy, bad wind locations have hardly any wind. </a:t>
            </a:r>
          </a:p>
        </p:txBody>
      </p:sp>
      <p:pic>
        <p:nvPicPr>
          <p:cNvPr id="35" name="Grafik 34" descr="Bergszenerie Silhouette">
            <a:extLst>
              <a:ext uri="{FF2B5EF4-FFF2-40B4-BE49-F238E27FC236}">
                <a16:creationId xmlns:a16="http://schemas.microsoft.com/office/drawing/2014/main" id="{2DED5AC4-286B-F5B5-4D15-F3418F7B1D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645" y="4427823"/>
            <a:ext cx="914400" cy="914400"/>
          </a:xfrm>
          <a:prstGeom prst="rect">
            <a:avLst/>
          </a:prstGeom>
        </p:spPr>
      </p:pic>
      <p:sp>
        <p:nvSpPr>
          <p:cNvPr id="36" name="Textfeld 35">
            <a:extLst>
              <a:ext uri="{FF2B5EF4-FFF2-40B4-BE49-F238E27FC236}">
                <a16:creationId xmlns:a16="http://schemas.microsoft.com/office/drawing/2014/main" id="{F8ADBDA0-D345-1F23-62C6-701FA4081948}"/>
              </a:ext>
            </a:extLst>
          </p:cNvPr>
          <p:cNvSpPr txBox="1"/>
          <p:nvPr/>
        </p:nvSpPr>
        <p:spPr>
          <a:xfrm>
            <a:off x="2016507" y="4778800"/>
            <a:ext cx="101744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solidFill>
                  <a:schemeClr val="dk1"/>
                </a:solidFill>
                <a:latin typeface="Sofia Sans"/>
                <a:sym typeface="Sofia Sans"/>
              </a:rPr>
              <a:t>H</a:t>
            </a:r>
            <a:r>
              <a:rPr lang="en-GB" sz="1200" noProof="0" dirty="0" err="1">
                <a:solidFill>
                  <a:schemeClr val="dk1"/>
                </a:solidFill>
                <a:latin typeface="Sofia Sans"/>
                <a:sym typeface="Sofia Sans"/>
              </a:rPr>
              <a:t>igh</a:t>
            </a:r>
            <a:r>
              <a:rPr lang="en-GB" sz="1200" noProof="0" dirty="0">
                <a:solidFill>
                  <a:schemeClr val="dk1"/>
                </a:solidFill>
                <a:latin typeface="Sofia Sans"/>
                <a:sym typeface="Sofia Sans"/>
              </a:rPr>
              <a:t> places</a:t>
            </a:r>
            <a:endParaRPr lang="en-GB" sz="1200" noProof="0" dirty="0">
              <a:solidFill>
                <a:schemeClr val="dk1"/>
              </a:solidFill>
              <a:latin typeface="Sofia Sans"/>
            </a:endParaRPr>
          </a:p>
        </p:txBody>
      </p:sp>
      <p:pic>
        <p:nvPicPr>
          <p:cNvPr id="37" name="Grafik 36" descr="Stadt Silhouette">
            <a:extLst>
              <a:ext uri="{FF2B5EF4-FFF2-40B4-BE49-F238E27FC236}">
                <a16:creationId xmlns:a16="http://schemas.microsoft.com/office/drawing/2014/main" id="{1BE02235-556D-B24E-1997-96FBAB946C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2440" y="5562106"/>
            <a:ext cx="914212" cy="914400"/>
          </a:xfrm>
          <a:prstGeom prst="rect">
            <a:avLst/>
          </a:prstGeom>
        </p:spPr>
      </p:pic>
      <p:pic>
        <p:nvPicPr>
          <p:cNvPr id="38" name="Grafik 37" descr="Wüstenszenerie Silhouette">
            <a:extLst>
              <a:ext uri="{FF2B5EF4-FFF2-40B4-BE49-F238E27FC236}">
                <a16:creationId xmlns:a16="http://schemas.microsoft.com/office/drawing/2014/main" id="{9ADBDACC-649D-A55E-64F8-67A20C0892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2440" y="7837454"/>
            <a:ext cx="914212" cy="914400"/>
          </a:xfrm>
          <a:prstGeom prst="rect">
            <a:avLst/>
          </a:prstGeom>
        </p:spPr>
      </p:pic>
      <p:pic>
        <p:nvPicPr>
          <p:cNvPr id="39" name="Grafik 38" descr="Leuchtturmszenerie Silhouette">
            <a:extLst>
              <a:ext uri="{FF2B5EF4-FFF2-40B4-BE49-F238E27FC236}">
                <a16:creationId xmlns:a16="http://schemas.microsoft.com/office/drawing/2014/main" id="{D0CE55E5-7BC2-5CE1-7F95-DBFEE1F0559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2440" y="6694585"/>
            <a:ext cx="914212" cy="914400"/>
          </a:xfrm>
          <a:prstGeom prst="rect">
            <a:avLst/>
          </a:prstGeom>
        </p:spPr>
      </p:pic>
      <p:sp>
        <p:nvSpPr>
          <p:cNvPr id="40" name="Textfeld 39">
            <a:extLst>
              <a:ext uri="{FF2B5EF4-FFF2-40B4-BE49-F238E27FC236}">
                <a16:creationId xmlns:a16="http://schemas.microsoft.com/office/drawing/2014/main" id="{EC65250B-25D6-EC78-1650-F0F82EA6D642}"/>
              </a:ext>
            </a:extLst>
          </p:cNvPr>
          <p:cNvSpPr txBox="1"/>
          <p:nvPr/>
        </p:nvSpPr>
        <p:spPr>
          <a:xfrm>
            <a:off x="2016997" y="5797047"/>
            <a:ext cx="157896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solidFill>
                  <a:schemeClr val="dk1"/>
                </a:solidFill>
                <a:latin typeface="Sofia Sans"/>
              </a:rPr>
              <a:t>C</a:t>
            </a:r>
            <a:r>
              <a:rPr lang="en-GB" sz="1200" noProof="0" dirty="0" err="1">
                <a:solidFill>
                  <a:schemeClr val="dk1"/>
                </a:solidFill>
                <a:latin typeface="Sofia Sans"/>
              </a:rPr>
              <a:t>losed</a:t>
            </a:r>
            <a:r>
              <a:rPr lang="en-GB" sz="1200" noProof="0" dirty="0">
                <a:solidFill>
                  <a:schemeClr val="dk1"/>
                </a:solidFill>
                <a:latin typeface="Sofia Sans"/>
              </a:rPr>
              <a:t> spaces &amp; low places</a:t>
            </a:r>
          </a:p>
        </p:txBody>
      </p:sp>
      <p:sp>
        <p:nvSpPr>
          <p:cNvPr id="41" name="Textfeld 40">
            <a:extLst>
              <a:ext uri="{FF2B5EF4-FFF2-40B4-BE49-F238E27FC236}">
                <a16:creationId xmlns:a16="http://schemas.microsoft.com/office/drawing/2014/main" id="{F1293E47-9417-EAE5-E94A-0E12BBA3B773}"/>
              </a:ext>
            </a:extLst>
          </p:cNvPr>
          <p:cNvSpPr txBox="1"/>
          <p:nvPr/>
        </p:nvSpPr>
        <p:spPr>
          <a:xfrm>
            <a:off x="2017114" y="6836106"/>
            <a:ext cx="157896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solidFill>
                  <a:schemeClr val="dk1"/>
                </a:solidFill>
                <a:latin typeface="Sofia Sans"/>
              </a:rPr>
              <a:t>C</a:t>
            </a:r>
            <a:r>
              <a:rPr lang="en-GB" sz="1200" noProof="0" dirty="0" err="1">
                <a:solidFill>
                  <a:schemeClr val="dk1"/>
                </a:solidFill>
                <a:latin typeface="Sofia Sans"/>
              </a:rPr>
              <a:t>oasts</a:t>
            </a:r>
            <a:r>
              <a:rPr lang="en-GB" sz="1200" noProof="0" dirty="0">
                <a:solidFill>
                  <a:schemeClr val="dk1"/>
                </a:solidFill>
                <a:latin typeface="Sofia Sans"/>
              </a:rPr>
              <a:t> &amp; offshore (in oceans, seas) wind turbines</a:t>
            </a:r>
          </a:p>
        </p:txBody>
      </p:sp>
      <p:sp>
        <p:nvSpPr>
          <p:cNvPr id="42" name="Textfeld 41">
            <a:extLst>
              <a:ext uri="{FF2B5EF4-FFF2-40B4-BE49-F238E27FC236}">
                <a16:creationId xmlns:a16="http://schemas.microsoft.com/office/drawing/2014/main" id="{BA7D5FB3-6F17-8BEB-7A58-D531002CF1E9}"/>
              </a:ext>
            </a:extLst>
          </p:cNvPr>
          <p:cNvSpPr txBox="1"/>
          <p:nvPr/>
        </p:nvSpPr>
        <p:spPr>
          <a:xfrm>
            <a:off x="2017232" y="8155689"/>
            <a:ext cx="157896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noProof="0" dirty="0">
                <a:solidFill>
                  <a:schemeClr val="dk1"/>
                </a:solidFill>
                <a:latin typeface="Sofia Sans"/>
              </a:rPr>
              <a:t>Open spaces</a:t>
            </a:r>
          </a:p>
        </p:txBody>
      </p:sp>
      <p:sp>
        <p:nvSpPr>
          <p:cNvPr id="43" name="Untertitel 3">
            <a:extLst>
              <a:ext uri="{FF2B5EF4-FFF2-40B4-BE49-F238E27FC236}">
                <a16:creationId xmlns:a16="http://schemas.microsoft.com/office/drawing/2014/main" id="{F0436956-FAED-84AE-50EB-318CD2AE2783}"/>
              </a:ext>
            </a:extLst>
          </p:cNvPr>
          <p:cNvSpPr txBox="1">
            <a:spLocks/>
          </p:cNvSpPr>
          <p:nvPr/>
        </p:nvSpPr>
        <p:spPr>
          <a:xfrm>
            <a:off x="5336960" y="5443992"/>
            <a:ext cx="1579554" cy="572112"/>
          </a:xfrm>
          <a:prstGeom prst="rect">
            <a:avLst/>
          </a:prstGeom>
          <a:noFill/>
          <a:ln w="12700">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150" b="1" noProof="0"/>
              <a:t>GOOD locations - </a:t>
            </a:r>
            <a:r>
              <a:rPr lang="en-GB" sz="1200" b="1" noProof="0"/>
              <a:t>(very) windy</a:t>
            </a:r>
            <a:endParaRPr lang="en-GB" sz="1150" b="1" noProof="0"/>
          </a:p>
        </p:txBody>
      </p:sp>
      <p:sp>
        <p:nvSpPr>
          <p:cNvPr id="44" name="Untertitel 3">
            <a:extLst>
              <a:ext uri="{FF2B5EF4-FFF2-40B4-BE49-F238E27FC236}">
                <a16:creationId xmlns:a16="http://schemas.microsoft.com/office/drawing/2014/main" id="{250A6714-446D-A6C4-9CEA-39C538FEDBFE}"/>
              </a:ext>
            </a:extLst>
          </p:cNvPr>
          <p:cNvSpPr txBox="1">
            <a:spLocks/>
          </p:cNvSpPr>
          <p:nvPr/>
        </p:nvSpPr>
        <p:spPr>
          <a:xfrm>
            <a:off x="5338177" y="7459684"/>
            <a:ext cx="1579554" cy="572112"/>
          </a:xfrm>
          <a:prstGeom prst="rect">
            <a:avLst/>
          </a:prstGeom>
          <a:noFill/>
          <a:ln w="12700">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150" b="1" noProof="0"/>
              <a:t>BAD locations – hardly any </a:t>
            </a:r>
            <a:r>
              <a:rPr lang="en-GB" sz="1200" b="1" noProof="0"/>
              <a:t>wind</a:t>
            </a:r>
            <a:endParaRPr lang="en-GB" sz="1150" b="1" noProof="0"/>
          </a:p>
        </p:txBody>
      </p:sp>
      <p:sp>
        <p:nvSpPr>
          <p:cNvPr id="45" name="Ellipse 44">
            <a:extLst>
              <a:ext uri="{FF2B5EF4-FFF2-40B4-BE49-F238E27FC236}">
                <a16:creationId xmlns:a16="http://schemas.microsoft.com/office/drawing/2014/main" id="{5548AE0F-152F-B4D0-004F-FB7AA2EF8B04}"/>
              </a:ext>
            </a:extLst>
          </p:cNvPr>
          <p:cNvSpPr/>
          <p:nvPr/>
        </p:nvSpPr>
        <p:spPr>
          <a:xfrm>
            <a:off x="3730493" y="4778893"/>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6" name="Ellipse 45">
            <a:extLst>
              <a:ext uri="{FF2B5EF4-FFF2-40B4-BE49-F238E27FC236}">
                <a16:creationId xmlns:a16="http://schemas.microsoft.com/office/drawing/2014/main" id="{220CFB99-BEA1-2C2E-B4E1-64EBCE961C4D}"/>
              </a:ext>
            </a:extLst>
          </p:cNvPr>
          <p:cNvSpPr/>
          <p:nvPr/>
        </p:nvSpPr>
        <p:spPr>
          <a:xfrm>
            <a:off x="5080493" y="5599319"/>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7" name="Ellipse 46">
            <a:extLst>
              <a:ext uri="{FF2B5EF4-FFF2-40B4-BE49-F238E27FC236}">
                <a16:creationId xmlns:a16="http://schemas.microsoft.com/office/drawing/2014/main" id="{3CBF6D85-53E3-A00C-070D-E8D40C033454}"/>
              </a:ext>
            </a:extLst>
          </p:cNvPr>
          <p:cNvSpPr/>
          <p:nvPr/>
        </p:nvSpPr>
        <p:spPr>
          <a:xfrm>
            <a:off x="3731479" y="8155725"/>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Ellipse 47">
            <a:extLst>
              <a:ext uri="{FF2B5EF4-FFF2-40B4-BE49-F238E27FC236}">
                <a16:creationId xmlns:a16="http://schemas.microsoft.com/office/drawing/2014/main" id="{910ED7F8-D575-8500-B409-5E5892436F2B}"/>
              </a:ext>
            </a:extLst>
          </p:cNvPr>
          <p:cNvSpPr/>
          <p:nvPr/>
        </p:nvSpPr>
        <p:spPr>
          <a:xfrm>
            <a:off x="3731597" y="7012944"/>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Ellipse 48">
            <a:extLst>
              <a:ext uri="{FF2B5EF4-FFF2-40B4-BE49-F238E27FC236}">
                <a16:creationId xmlns:a16="http://schemas.microsoft.com/office/drawing/2014/main" id="{511BEF2C-A58F-231E-999D-04A5EE7853B7}"/>
              </a:ext>
            </a:extLst>
          </p:cNvPr>
          <p:cNvSpPr/>
          <p:nvPr/>
        </p:nvSpPr>
        <p:spPr>
          <a:xfrm>
            <a:off x="3731714" y="5797434"/>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Ellipse 49">
            <a:extLst>
              <a:ext uri="{FF2B5EF4-FFF2-40B4-BE49-F238E27FC236}">
                <a16:creationId xmlns:a16="http://schemas.microsoft.com/office/drawing/2014/main" id="{FD24D0A8-D04F-AD07-BCC5-13ACFD23F499}"/>
              </a:ext>
            </a:extLst>
          </p:cNvPr>
          <p:cNvSpPr/>
          <p:nvPr/>
        </p:nvSpPr>
        <p:spPr>
          <a:xfrm>
            <a:off x="5081657" y="7615011"/>
            <a:ext cx="249310" cy="27014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1" name="Rechteck: eine Ecke abgeschnitten 50">
            <a:extLst>
              <a:ext uri="{FF2B5EF4-FFF2-40B4-BE49-F238E27FC236}">
                <a16:creationId xmlns:a16="http://schemas.microsoft.com/office/drawing/2014/main" id="{B3D1212F-17EC-7625-FE39-D3FE9FFAC09A}"/>
              </a:ext>
            </a:extLst>
          </p:cNvPr>
          <p:cNvSpPr/>
          <p:nvPr/>
        </p:nvSpPr>
        <p:spPr>
          <a:xfrm>
            <a:off x="748069" y="9162108"/>
            <a:ext cx="1672455" cy="747930"/>
          </a:xfrm>
          <a:prstGeom prst="snip1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50" b="1" noProof="0">
                <a:solidFill>
                  <a:schemeClr val="dk1"/>
                </a:solidFill>
                <a:latin typeface="Sofia Sans"/>
                <a:ea typeface="+mn-lt"/>
                <a:cs typeface="+mn-lt"/>
                <a:sym typeface="Sofia Sans"/>
              </a:rPr>
              <a:t>Draw arrows to the correct answers on the right-hand side </a:t>
            </a:r>
            <a:endParaRPr lang="en-GB" noProof="0"/>
          </a:p>
        </p:txBody>
      </p:sp>
      <mc:AlternateContent xmlns:mc="http://schemas.openxmlformats.org/markup-compatibility/2006" xmlns:p14="http://schemas.microsoft.com/office/powerpoint/2010/main">
        <mc:Choice Requires="p14">
          <p:contentPart p14:bwMode="auto" r:id="rId12">
            <p14:nvContentPartPr>
              <p14:cNvPr id="2" name="Freihand 1">
                <a:extLst>
                  <a:ext uri="{FF2B5EF4-FFF2-40B4-BE49-F238E27FC236}">
                    <a16:creationId xmlns:a16="http://schemas.microsoft.com/office/drawing/2014/main" id="{78BF406A-3099-D3BB-609F-5D3DC63390BE}"/>
                  </a:ext>
                </a:extLst>
              </p14:cNvPr>
              <p14:cNvContentPartPr/>
              <p14:nvPr/>
            </p14:nvContentPartPr>
            <p14:xfrm>
              <a:off x="3979803" y="4822329"/>
              <a:ext cx="1272410" cy="842329"/>
            </p14:xfrm>
          </p:contentPart>
        </mc:Choice>
        <mc:Fallback xmlns="">
          <p:pic>
            <p:nvPicPr>
              <p:cNvPr id="2" name="Freihand 1">
                <a:extLst>
                  <a:ext uri="{FF2B5EF4-FFF2-40B4-BE49-F238E27FC236}">
                    <a16:creationId xmlns:a16="http://schemas.microsoft.com/office/drawing/2014/main" id="{78BF406A-3099-D3BB-609F-5D3DC63390BE}"/>
                  </a:ext>
                </a:extLst>
              </p:cNvPr>
              <p:cNvPicPr/>
              <p:nvPr/>
            </p:nvPicPr>
            <p:blipFill>
              <a:blip r:embed="rId14"/>
              <a:stretch>
                <a:fillRect/>
              </a:stretch>
            </p:blipFill>
            <p:spPr>
              <a:xfrm>
                <a:off x="3961806" y="4804338"/>
                <a:ext cx="1308045" cy="877951"/>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5" name="Freihand 4">
                <a:extLst>
                  <a:ext uri="{FF2B5EF4-FFF2-40B4-BE49-F238E27FC236}">
                    <a16:creationId xmlns:a16="http://schemas.microsoft.com/office/drawing/2014/main" id="{FB849A82-B70A-BBF1-6123-6F1986573DCF}"/>
                  </a:ext>
                </a:extLst>
              </p14:cNvPr>
              <p14:cNvContentPartPr/>
              <p14:nvPr/>
            </p14:nvContentPartPr>
            <p14:xfrm>
              <a:off x="3979803" y="5983585"/>
              <a:ext cx="1247622" cy="1716930"/>
            </p14:xfrm>
          </p:contentPart>
        </mc:Choice>
        <mc:Fallback xmlns="">
          <p:pic>
            <p:nvPicPr>
              <p:cNvPr id="5" name="Freihand 4">
                <a:extLst>
                  <a:ext uri="{FF2B5EF4-FFF2-40B4-BE49-F238E27FC236}">
                    <a16:creationId xmlns:a16="http://schemas.microsoft.com/office/drawing/2014/main" id="{FB849A82-B70A-BBF1-6123-6F1986573DCF}"/>
                  </a:ext>
                </a:extLst>
              </p:cNvPr>
              <p:cNvPicPr/>
              <p:nvPr/>
            </p:nvPicPr>
            <p:blipFill>
              <a:blip r:embed="rId16"/>
              <a:stretch>
                <a:fillRect/>
              </a:stretch>
            </p:blipFill>
            <p:spPr>
              <a:xfrm>
                <a:off x="3961810" y="5965588"/>
                <a:ext cx="1283248" cy="1752564"/>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7" name="Freihand 6">
                <a:extLst>
                  <a:ext uri="{FF2B5EF4-FFF2-40B4-BE49-F238E27FC236}">
                    <a16:creationId xmlns:a16="http://schemas.microsoft.com/office/drawing/2014/main" id="{7D84F3FD-B377-96F3-7CD7-E985C210F7FE}"/>
                  </a:ext>
                </a:extLst>
              </p14:cNvPr>
              <p14:cNvContentPartPr/>
              <p14:nvPr/>
            </p14:nvContentPartPr>
            <p14:xfrm>
              <a:off x="3941042" y="5692630"/>
              <a:ext cx="1247623" cy="1377354"/>
            </p14:xfrm>
          </p:contentPart>
        </mc:Choice>
        <mc:Fallback xmlns="">
          <p:pic>
            <p:nvPicPr>
              <p:cNvPr id="7" name="Freihand 6">
                <a:extLst>
                  <a:ext uri="{FF2B5EF4-FFF2-40B4-BE49-F238E27FC236}">
                    <a16:creationId xmlns:a16="http://schemas.microsoft.com/office/drawing/2014/main" id="{7D84F3FD-B377-96F3-7CD7-E985C210F7FE}"/>
                  </a:ext>
                </a:extLst>
              </p:cNvPr>
              <p:cNvPicPr/>
              <p:nvPr/>
            </p:nvPicPr>
            <p:blipFill>
              <a:blip r:embed="rId18"/>
              <a:stretch>
                <a:fillRect/>
              </a:stretch>
            </p:blipFill>
            <p:spPr>
              <a:xfrm>
                <a:off x="3923049" y="5674635"/>
                <a:ext cx="1283249" cy="1412985"/>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8" name="Freihand 7">
                <a:extLst>
                  <a:ext uri="{FF2B5EF4-FFF2-40B4-BE49-F238E27FC236}">
                    <a16:creationId xmlns:a16="http://schemas.microsoft.com/office/drawing/2014/main" id="{A08603C8-EF6F-9A8C-4674-EE1DB1A60DF3}"/>
                  </a:ext>
                </a:extLst>
              </p14:cNvPr>
              <p14:cNvContentPartPr/>
              <p14:nvPr/>
            </p14:nvContentPartPr>
            <p14:xfrm>
              <a:off x="3963480" y="5778775"/>
              <a:ext cx="1225647" cy="2502033"/>
            </p14:xfrm>
          </p:contentPart>
        </mc:Choice>
        <mc:Fallback xmlns="">
          <p:pic>
            <p:nvPicPr>
              <p:cNvPr id="8" name="Freihand 7">
                <a:extLst>
                  <a:ext uri="{FF2B5EF4-FFF2-40B4-BE49-F238E27FC236}">
                    <a16:creationId xmlns:a16="http://schemas.microsoft.com/office/drawing/2014/main" id="{A08603C8-EF6F-9A8C-4674-EE1DB1A60DF3}"/>
                  </a:ext>
                </a:extLst>
              </p:cNvPr>
              <p:cNvPicPr/>
              <p:nvPr/>
            </p:nvPicPr>
            <p:blipFill>
              <a:blip r:embed="rId20"/>
              <a:stretch>
                <a:fillRect/>
              </a:stretch>
            </p:blipFill>
            <p:spPr>
              <a:xfrm>
                <a:off x="3945482" y="5760777"/>
                <a:ext cx="1261283" cy="2537668"/>
              </a:xfrm>
              <a:prstGeom prst="rect">
                <a:avLst/>
              </a:prstGeom>
            </p:spPr>
          </p:pic>
        </mc:Fallback>
      </mc:AlternateContent>
    </p:spTree>
    <p:extLst>
      <p:ext uri="{BB962C8B-B14F-4D97-AF65-F5344CB8AC3E}">
        <p14:creationId xmlns:p14="http://schemas.microsoft.com/office/powerpoint/2010/main" val="1350676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1FC4D4D-A852-3684-AEF3-B33B3F8311BC}"/>
              </a:ext>
            </a:extLst>
          </p:cNvPr>
          <p:cNvSpPr/>
          <p:nvPr/>
        </p:nvSpPr>
        <p:spPr>
          <a:xfrm>
            <a:off x="719138" y="5246776"/>
            <a:ext cx="5740172" cy="2678023"/>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Foliennummernplatzhalter 6">
            <a:extLst>
              <a:ext uri="{FF2B5EF4-FFF2-40B4-BE49-F238E27FC236}">
                <a16:creationId xmlns:a16="http://schemas.microsoft.com/office/drawing/2014/main" id="{9CA144AC-D3D4-E708-3AA3-62478F40EBA0}"/>
              </a:ext>
            </a:extLst>
          </p:cNvPr>
          <p:cNvSpPr>
            <a:spLocks noGrp="1"/>
          </p:cNvSpPr>
          <p:nvPr>
            <p:ph type="sldNum" sz="quarter" idx="10"/>
          </p:nvPr>
        </p:nvSpPr>
        <p:spPr/>
        <p:txBody>
          <a:bodyPr/>
          <a:lstStyle/>
          <a:p>
            <a:fld id="{DF7F771E-9578-4C04-B869-01AF4C35C90C}" type="slidenum">
              <a:rPr lang="en-GB" noProof="0" smtClean="0"/>
              <a:t>15</a:t>
            </a:fld>
            <a:endParaRPr lang="en-GB" noProof="0"/>
          </a:p>
        </p:txBody>
      </p:sp>
      <p:sp>
        <p:nvSpPr>
          <p:cNvPr id="3" name="Ellipse 2">
            <a:extLst>
              <a:ext uri="{FF2B5EF4-FFF2-40B4-BE49-F238E27FC236}">
                <a16:creationId xmlns:a16="http://schemas.microsoft.com/office/drawing/2014/main" id="{855A30B5-31EC-CF54-E7E3-4E2BE1B24C7A}"/>
              </a:ext>
            </a:extLst>
          </p:cNvPr>
          <p:cNvSpPr>
            <a:spLocks noChangeAspect="1"/>
          </p:cNvSpPr>
          <p:nvPr/>
        </p:nvSpPr>
        <p:spPr>
          <a:xfrm>
            <a:off x="6128978" y="492806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0" name="Grafik 19" descr="Lesezeichen mit einfarbiger Füllung">
            <a:extLst>
              <a:ext uri="{FF2B5EF4-FFF2-40B4-BE49-F238E27FC236}">
                <a16:creationId xmlns:a16="http://schemas.microsoft.com/office/drawing/2014/main" id="{65CEF2F0-0EE8-EB62-7168-208D0FD3E6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5055915"/>
            <a:ext cx="404450" cy="404450"/>
          </a:xfrm>
          <a:prstGeom prst="rect">
            <a:avLst/>
          </a:prstGeom>
        </p:spPr>
      </p:pic>
      <p:sp>
        <p:nvSpPr>
          <p:cNvPr id="5" name="Untertitel 5">
            <a:extLst>
              <a:ext uri="{FF2B5EF4-FFF2-40B4-BE49-F238E27FC236}">
                <a16:creationId xmlns:a16="http://schemas.microsoft.com/office/drawing/2014/main" id="{86D9B208-016D-11B1-A5B7-841961C1B3AD}"/>
              </a:ext>
            </a:extLst>
          </p:cNvPr>
          <p:cNvSpPr txBox="1">
            <a:spLocks/>
          </p:cNvSpPr>
          <p:nvPr/>
        </p:nvSpPr>
        <p:spPr>
          <a:xfrm>
            <a:off x="894164" y="534640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In summary</a:t>
            </a:r>
          </a:p>
        </p:txBody>
      </p:sp>
      <p:sp>
        <p:nvSpPr>
          <p:cNvPr id="6" name="Untertitel 2">
            <a:extLst>
              <a:ext uri="{FF2B5EF4-FFF2-40B4-BE49-F238E27FC236}">
                <a16:creationId xmlns:a16="http://schemas.microsoft.com/office/drawing/2014/main" id="{EECBEFEB-9C0E-5927-15A7-351A5C54385E}"/>
              </a:ext>
            </a:extLst>
          </p:cNvPr>
          <p:cNvSpPr>
            <a:spLocks noGrp="1"/>
          </p:cNvSpPr>
          <p:nvPr>
            <p:ph type="subTitle" idx="1"/>
          </p:nvPr>
        </p:nvSpPr>
        <p:spPr>
          <a:xfrm>
            <a:off x="887983" y="5839831"/>
            <a:ext cx="5195684" cy="2235280"/>
          </a:xfrm>
        </p:spPr>
        <p:txBody>
          <a:bodyPr/>
          <a:lstStyle/>
          <a:p>
            <a:pPr marL="311150" indent="-171450">
              <a:buFont typeface="Arial"/>
              <a:buChar char="•"/>
            </a:pPr>
            <a:r>
              <a:rPr lang="en-GB" sz="1200" noProof="0" dirty="0"/>
              <a:t>Windy places enable the generation of energy out of the movement of wind turbines.</a:t>
            </a:r>
          </a:p>
          <a:p>
            <a:pPr marL="311150" indent="-171450">
              <a:lnSpc>
                <a:spcPct val="114999"/>
              </a:lnSpc>
              <a:buFont typeface="Arial"/>
              <a:buChar char="•"/>
            </a:pPr>
            <a:r>
              <a:rPr lang="en-GB" sz="1200" noProof="0" dirty="0"/>
              <a:t>Good places for wind energy production are where it is </a:t>
            </a:r>
            <a:r>
              <a:rPr lang="en-GB" sz="1200" dirty="0"/>
              <a:t>very</a:t>
            </a:r>
            <a:r>
              <a:rPr lang="en-GB" sz="1200" noProof="0" dirty="0"/>
              <a:t> windy.</a:t>
            </a:r>
          </a:p>
          <a:p>
            <a:pPr marL="311150" indent="-171450">
              <a:lnSpc>
                <a:spcPct val="114999"/>
              </a:lnSpc>
              <a:buFont typeface="Arial"/>
              <a:buChar char="•"/>
            </a:pPr>
            <a:r>
              <a:rPr lang="en-GB" sz="1200" noProof="0" dirty="0"/>
              <a:t>-&gt; Examples: in high places, places with a lot of space, places next to the sea or ocean.</a:t>
            </a:r>
          </a:p>
          <a:p>
            <a:pPr marL="311150" indent="-171450">
              <a:lnSpc>
                <a:spcPct val="114999"/>
              </a:lnSpc>
              <a:buFont typeface="Arial"/>
              <a:buChar char="•"/>
            </a:pPr>
            <a:r>
              <a:rPr lang="en-GB" sz="1200" noProof="0" dirty="0"/>
              <a:t>Bad places for wind energy production are where there is hardly any wind.</a:t>
            </a:r>
          </a:p>
          <a:p>
            <a:pPr marL="311150" indent="-171450">
              <a:lnSpc>
                <a:spcPct val="114999"/>
              </a:lnSpc>
              <a:buFont typeface="Arial"/>
              <a:buChar char="•"/>
            </a:pPr>
            <a:r>
              <a:rPr lang="en-GB" sz="1200" noProof="0" dirty="0"/>
              <a:t>-&gt; Examples: in low places, in cities or locations with many obstacles.</a:t>
            </a:r>
          </a:p>
        </p:txBody>
      </p:sp>
      <p:sp>
        <p:nvSpPr>
          <p:cNvPr id="16" name="Untertitel 3">
            <a:extLst>
              <a:ext uri="{FF2B5EF4-FFF2-40B4-BE49-F238E27FC236}">
                <a16:creationId xmlns:a16="http://schemas.microsoft.com/office/drawing/2014/main" id="{9512D10A-8AFA-B149-A351-9F6D9825A080}"/>
              </a:ext>
            </a:extLst>
          </p:cNvPr>
          <p:cNvSpPr txBox="1">
            <a:spLocks/>
          </p:cNvSpPr>
          <p:nvPr/>
        </p:nvSpPr>
        <p:spPr>
          <a:xfrm>
            <a:off x="789341" y="1650379"/>
            <a:ext cx="5734467" cy="50157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200" noProof="0" dirty="0"/>
              <a:t>Explain why a certain area is good and what makes a certain area bad.​</a:t>
            </a:r>
          </a:p>
        </p:txBody>
      </p:sp>
      <p:sp>
        <p:nvSpPr>
          <p:cNvPr id="4" name="Untertitel 3">
            <a:extLst>
              <a:ext uri="{FF2B5EF4-FFF2-40B4-BE49-F238E27FC236}">
                <a16:creationId xmlns:a16="http://schemas.microsoft.com/office/drawing/2014/main" id="{3B98D95B-10EA-CE22-95E0-1DBB4C1CB63B}"/>
              </a:ext>
            </a:extLst>
          </p:cNvPr>
          <p:cNvSpPr txBox="1">
            <a:spLocks/>
          </p:cNvSpPr>
          <p:nvPr/>
        </p:nvSpPr>
        <p:spPr>
          <a:xfrm>
            <a:off x="798066" y="2262566"/>
            <a:ext cx="5734467" cy="2391452"/>
          </a:xfrm>
          <a:prstGeom prst="rect">
            <a:avLst/>
          </a:prstGeom>
          <a:noFill/>
          <a:ln>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150" noProof="0">
                <a:solidFill>
                  <a:srgbClr val="FF0000"/>
                </a:solidFill>
              </a:rPr>
              <a:t>A good wind location typically has consistent and predictable wind patterns, influenced by factors like proximity to water or flat terrain. These areas allow for steady airflow, making them ideal for wind energy or wind sports. Consistency is crucial for reliable use, ensuring the wind can be harnessed effectively.</a:t>
            </a:r>
          </a:p>
          <a:p>
            <a:pPr marL="0" indent="0">
              <a:lnSpc>
                <a:spcPct val="114999"/>
              </a:lnSpc>
            </a:pPr>
            <a:r>
              <a:rPr lang="en-GB" sz="1150" noProof="0">
                <a:solidFill>
                  <a:srgbClr val="FF0000"/>
                </a:solidFill>
              </a:rPr>
              <a:t>Bad wind locations are often marked by irregular, gusty winds due to obstructions like mountains or tall buildings. These disruptions create turbulent conditions, making it harder to predict or use the wind efficiently for activities or energy generation.</a:t>
            </a:r>
            <a:endParaRPr lang="en-GB" noProof="0">
              <a:solidFill>
                <a:srgbClr val="FF0000"/>
              </a:solidFill>
            </a:endParaRPr>
          </a:p>
          <a:p>
            <a:pPr marL="0" indent="0">
              <a:lnSpc>
                <a:spcPct val="114999"/>
              </a:lnSpc>
            </a:pPr>
            <a:endParaRPr lang="en-GB" sz="1150" noProof="0"/>
          </a:p>
        </p:txBody>
      </p:sp>
      <p:sp>
        <p:nvSpPr>
          <p:cNvPr id="17" name="Untertitel 5">
            <a:extLst>
              <a:ext uri="{FF2B5EF4-FFF2-40B4-BE49-F238E27FC236}">
                <a16:creationId xmlns:a16="http://schemas.microsoft.com/office/drawing/2014/main" id="{BEF3A7DB-7CEA-2AE8-759A-77A0CC69B473}"/>
              </a:ext>
            </a:extLst>
          </p:cNvPr>
          <p:cNvSpPr txBox="1">
            <a:spLocks/>
          </p:cNvSpPr>
          <p:nvPr/>
        </p:nvSpPr>
        <p:spPr>
          <a:xfrm>
            <a:off x="699897" y="130042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2</a:t>
            </a:r>
          </a:p>
        </p:txBody>
      </p:sp>
    </p:spTree>
    <p:extLst>
      <p:ext uri="{BB962C8B-B14F-4D97-AF65-F5344CB8AC3E}">
        <p14:creationId xmlns:p14="http://schemas.microsoft.com/office/powerpoint/2010/main" val="35732797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oogle Shape;630;p38">
            <a:extLst>
              <a:ext uri="{FF2B5EF4-FFF2-40B4-BE49-F238E27FC236}">
                <a16:creationId xmlns:a16="http://schemas.microsoft.com/office/drawing/2014/main" id="{997CC2AE-7AEE-FB9A-9D2A-5EDD08D09BCA}"/>
              </a:ext>
            </a:extLst>
          </p:cNvPr>
          <p:cNvGraphicFramePr/>
          <p:nvPr>
            <p:extLst>
              <p:ext uri="{D42A27DB-BD31-4B8C-83A1-F6EECF244321}">
                <p14:modId xmlns:p14="http://schemas.microsoft.com/office/powerpoint/2010/main" val="1719072803"/>
              </p:ext>
            </p:extLst>
          </p:nvPr>
        </p:nvGraphicFramePr>
        <p:xfrm>
          <a:off x="820332" y="5904926"/>
          <a:ext cx="5919009" cy="136105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Country</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i="0" u="none" strike="noStrike" noProof="0">
                          <a:solidFill>
                            <a:srgbClr val="000000"/>
                          </a:solidFill>
                          <a:latin typeface="Sofia Sans" panose="020B0604020202020204" charset="0"/>
                        </a:rPr>
                        <a:t>Power density (W/m</a:t>
                      </a:r>
                      <a:r>
                        <a:rPr lang="de-DE" sz="1000"/>
                        <a:t>²</a:t>
                      </a:r>
                      <a:r>
                        <a:rPr lang="en-GB" sz="1000" b="1" i="0" u="none" strike="noStrike" noProof="0">
                          <a:solidFill>
                            <a:srgbClr val="000000"/>
                          </a:solidFill>
                          <a:latin typeface="Sofia Sans" panose="020B0604020202020204" charset="0"/>
                        </a:rPr>
                        <a:t>)</a:t>
                      </a:r>
                      <a:endParaRPr lang="en-GB" sz="1000" b="1" i="0" u="none" strike="noStrike" noProof="0" dirty="0">
                        <a:solidFill>
                          <a:srgbClr val="000000"/>
                        </a:solidFill>
                        <a:latin typeface="Sofia Sans" panose="020B0604020202020204" charset="0"/>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noProof="0">
                          <a:latin typeface="Sofia Sans" panose="020B0604020202020204" charset="0"/>
                        </a:rPr>
                        <a:t>Speed of wind (m/s)</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Ghana</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rgbClr val="FF0000"/>
                          </a:solidFill>
                          <a:latin typeface="Sofia Sans"/>
                          <a:ea typeface="Sofia Sans"/>
                          <a:cs typeface="Sofia Sans"/>
                          <a:sym typeface="Sofia Sans"/>
                        </a:rPr>
                        <a:t>184</a:t>
                      </a:r>
                      <a:endParaRPr lang="de-DE" sz="1000" dirty="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rgbClr val="FF0000"/>
                          </a:solidFill>
                          <a:latin typeface="Sofia Sans"/>
                          <a:ea typeface="Sofia Sans"/>
                          <a:cs typeface="Sofia Sans"/>
                          <a:sym typeface="Sofia Sans"/>
                        </a:rPr>
                        <a:t>5.7</a:t>
                      </a:r>
                      <a:endParaRPr lang="de-DE" sz="1000" dirty="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Germany </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rgbClr val="FF0000"/>
                          </a:solidFill>
                          <a:latin typeface="Sofia Sans"/>
                          <a:ea typeface="Sofia Sans"/>
                          <a:cs typeface="Sofia Sans"/>
                          <a:sym typeface="Sofia Sans"/>
                        </a:rPr>
                        <a:t>595</a:t>
                      </a:r>
                      <a:endParaRPr lang="de-DE" sz="1000" dirty="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rgbClr val="FF0000"/>
                          </a:solidFill>
                          <a:latin typeface="Sofia Sans"/>
                          <a:ea typeface="Sofia Sans"/>
                          <a:cs typeface="Sofia Sans"/>
                          <a:sym typeface="Sofia Sans"/>
                        </a:rPr>
                        <a:t>8.45</a:t>
                      </a:r>
                      <a:endParaRPr lang="de-DE" sz="1000" dirty="0">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000" b="1" i="0" u="none" strike="noStrike" cap="none">
                          <a:solidFill>
                            <a:schemeClr val="dk1"/>
                          </a:solidFill>
                          <a:latin typeface="Sofia Sans"/>
                          <a:ea typeface="Sofia Sans"/>
                          <a:cs typeface="Arial"/>
                          <a:sym typeface="Arial"/>
                        </a:rPr>
                        <a:t>Optional: different country</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2982118"/>
                  </a:ext>
                </a:extLst>
              </a:tr>
            </a:tbl>
          </a:graphicData>
        </a:graphic>
      </p:graphicFrame>
      <p:graphicFrame>
        <p:nvGraphicFramePr>
          <p:cNvPr id="4" name="think-cell data - do not delete" hidden="1">
            <a:extLst>
              <a:ext uri="{FF2B5EF4-FFF2-40B4-BE49-F238E27FC236}">
                <a16:creationId xmlns:a16="http://schemas.microsoft.com/office/drawing/2014/main" id="{28322D3D-38D5-1D78-7ACF-55EE3A3F08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think-cell data - do not delete" hidden="1">
                        <a:extLst>
                          <a:ext uri="{FF2B5EF4-FFF2-40B4-BE49-F238E27FC236}">
                            <a16:creationId xmlns:a16="http://schemas.microsoft.com/office/drawing/2014/main" id="{28322D3D-38D5-1D78-7ACF-55EE3A3F0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CDD0F4D4-63C7-DB1E-5928-B11AC7445F27}"/>
              </a:ext>
            </a:extLst>
          </p:cNvPr>
          <p:cNvSpPr>
            <a:spLocks noGrp="1"/>
          </p:cNvSpPr>
          <p:nvPr>
            <p:ph type="title"/>
          </p:nvPr>
        </p:nvSpPr>
        <p:spPr>
          <a:xfrm>
            <a:off x="719138" y="1288519"/>
            <a:ext cx="6369175" cy="1190474"/>
          </a:xfrm>
        </p:spPr>
        <p:txBody>
          <a:bodyPr/>
          <a:lstStyle/>
          <a:p>
            <a:r>
              <a:rPr lang="en-GB" noProof="0" dirty="0"/>
              <a:t>3. </a:t>
            </a:r>
            <a:r>
              <a:rPr lang="en-GB" dirty="0"/>
              <a:t>The wind atlas</a:t>
            </a:r>
            <a:endParaRPr lang="en-GB" noProof="0" dirty="0"/>
          </a:p>
        </p:txBody>
      </p:sp>
      <p:sp>
        <p:nvSpPr>
          <p:cNvPr id="3" name="Foliennummernplatzhalter 2">
            <a:extLst>
              <a:ext uri="{FF2B5EF4-FFF2-40B4-BE49-F238E27FC236}">
                <a16:creationId xmlns:a16="http://schemas.microsoft.com/office/drawing/2014/main" id="{81C61E71-754B-E79D-FAEF-B7D9E0483FDF}"/>
              </a:ext>
            </a:extLst>
          </p:cNvPr>
          <p:cNvSpPr>
            <a:spLocks noGrp="1"/>
          </p:cNvSpPr>
          <p:nvPr>
            <p:ph type="sldNum" sz="quarter" idx="4"/>
          </p:nvPr>
        </p:nvSpPr>
        <p:spPr/>
        <p:txBody>
          <a:bodyPr/>
          <a:lstStyle/>
          <a:p>
            <a:fld id="{DF7F771E-9578-4C04-B869-01AF4C35C90C}" type="slidenum">
              <a:rPr lang="en-GB" noProof="0" smtClean="0"/>
              <a:t>16</a:t>
            </a:fld>
            <a:endParaRPr lang="en-GB" noProof="0"/>
          </a:p>
        </p:txBody>
      </p:sp>
      <p:sp>
        <p:nvSpPr>
          <p:cNvPr id="5" name="Untertitel 5">
            <a:extLst>
              <a:ext uri="{FF2B5EF4-FFF2-40B4-BE49-F238E27FC236}">
                <a16:creationId xmlns:a16="http://schemas.microsoft.com/office/drawing/2014/main" id="{3A4927C7-6F99-6A99-A6D9-2ABF34AB5092}"/>
              </a:ext>
            </a:extLst>
          </p:cNvPr>
          <p:cNvSpPr txBox="1">
            <a:spLocks/>
          </p:cNvSpPr>
          <p:nvPr/>
        </p:nvSpPr>
        <p:spPr>
          <a:xfrm>
            <a:off x="1188319" y="205026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6" name="Ellipse 5">
            <a:extLst>
              <a:ext uri="{FF2B5EF4-FFF2-40B4-BE49-F238E27FC236}">
                <a16:creationId xmlns:a16="http://schemas.microsoft.com/office/drawing/2014/main" id="{941436FD-BCC1-69E9-3B63-65CED40F0E05}"/>
              </a:ext>
            </a:extLst>
          </p:cNvPr>
          <p:cNvSpPr>
            <a:spLocks noChangeAspect="1"/>
          </p:cNvSpPr>
          <p:nvPr/>
        </p:nvSpPr>
        <p:spPr>
          <a:xfrm>
            <a:off x="769678" y="204432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7" name="Grafik 6" descr="Skizze mit einfarbiger Füllung">
            <a:extLst>
              <a:ext uri="{FF2B5EF4-FFF2-40B4-BE49-F238E27FC236}">
                <a16:creationId xmlns:a16="http://schemas.microsoft.com/office/drawing/2014/main" id="{053319C3-33F1-5EED-9B62-C7544179C8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4154" y="2108060"/>
            <a:ext cx="379044" cy="379044"/>
          </a:xfrm>
          <a:prstGeom prst="rect">
            <a:avLst/>
          </a:prstGeom>
        </p:spPr>
      </p:pic>
      <p:sp>
        <p:nvSpPr>
          <p:cNvPr id="8" name="Untertitel 5">
            <a:extLst>
              <a:ext uri="{FF2B5EF4-FFF2-40B4-BE49-F238E27FC236}">
                <a16:creationId xmlns:a16="http://schemas.microsoft.com/office/drawing/2014/main" id="{9E7759B4-AB88-1B15-8D80-4AE81F5B3F53}"/>
              </a:ext>
            </a:extLst>
          </p:cNvPr>
          <p:cNvSpPr txBox="1">
            <a:spLocks/>
          </p:cNvSpPr>
          <p:nvPr/>
        </p:nvSpPr>
        <p:spPr>
          <a:xfrm>
            <a:off x="758287" y="263921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11" name="Untertitel 3">
            <a:extLst>
              <a:ext uri="{FF2B5EF4-FFF2-40B4-BE49-F238E27FC236}">
                <a16:creationId xmlns:a16="http://schemas.microsoft.com/office/drawing/2014/main" id="{C5107335-C559-E6D1-CF82-CCF7C8E26BC5}"/>
              </a:ext>
            </a:extLst>
          </p:cNvPr>
          <p:cNvSpPr txBox="1">
            <a:spLocks/>
          </p:cNvSpPr>
          <p:nvPr/>
        </p:nvSpPr>
        <p:spPr>
          <a:xfrm>
            <a:off x="760782" y="3059966"/>
            <a:ext cx="6023346" cy="29261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42900" indent="-228600">
              <a:lnSpc>
                <a:spcPct val="114999"/>
              </a:lnSpc>
              <a:buFont typeface="Sofia Sans"/>
              <a:buAutoNum type="arabicParenR"/>
            </a:pPr>
            <a:r>
              <a:rPr lang="en-GB" sz="1150" noProof="0" dirty="0"/>
              <a:t> </a:t>
            </a:r>
            <a:r>
              <a:rPr lang="en-GB" sz="1200" dirty="0"/>
              <a:t>Split the class into groups of 4–5 students.</a:t>
            </a:r>
          </a:p>
          <a:p>
            <a:pPr marL="342900" indent="-228600">
              <a:lnSpc>
                <a:spcPct val="114999"/>
              </a:lnSpc>
              <a:buFont typeface="Sofia Sans"/>
              <a:buAutoNum type="arabicParenR"/>
            </a:pPr>
            <a:r>
              <a:rPr lang="en-GB" sz="1200" dirty="0"/>
              <a:t> Now visit the website down below (you can use the QR-Code).</a:t>
            </a:r>
          </a:p>
          <a:p>
            <a:pPr marL="342900" indent="-228600">
              <a:lnSpc>
                <a:spcPct val="114999"/>
              </a:lnSpc>
              <a:buFont typeface="Sofia Sans"/>
              <a:buAutoNum type="arabicParenR"/>
            </a:pPr>
            <a:r>
              <a:rPr lang="en-GB" sz="1200" dirty="0"/>
              <a:t> Select "Countries And Regions" on the left-hand side and compare Ghana and       Germany. </a:t>
            </a:r>
          </a:p>
          <a:p>
            <a:pPr marL="342900" indent="-228600">
              <a:lnSpc>
                <a:spcPct val="114999"/>
              </a:lnSpc>
              <a:buFont typeface="Sofia Sans"/>
              <a:buAutoNum type="arabicParenR"/>
            </a:pPr>
            <a:r>
              <a:rPr lang="en-GB" sz="1200" dirty="0"/>
              <a:t>Check on the right-hand side that height is set to 100m.</a:t>
            </a:r>
          </a:p>
          <a:p>
            <a:pPr marL="342900" indent="-228600">
              <a:lnSpc>
                <a:spcPct val="114999"/>
              </a:lnSpc>
              <a:buFont typeface="Sofia Sans"/>
              <a:buAutoNum type="arabicParenR"/>
            </a:pPr>
            <a:r>
              <a:rPr lang="en-GB" sz="1200" dirty="0"/>
              <a:t>Now compare the two countries regarding their average power density (W/m</a:t>
            </a:r>
            <a:r>
              <a:rPr lang="de-DE" sz="1200" dirty="0"/>
              <a:t>²) </a:t>
            </a:r>
            <a:r>
              <a:rPr lang="en-GB" sz="1200" dirty="0"/>
              <a:t>and the speed of wind (m/s). What does that mean for the production of wind energy?</a:t>
            </a:r>
          </a:p>
          <a:p>
            <a:pPr marL="368300" indent="-228600">
              <a:lnSpc>
                <a:spcPct val="114999"/>
              </a:lnSpc>
              <a:buAutoNum type="arabicParenR"/>
            </a:pPr>
            <a:endParaRPr lang="en-GB" sz="1150" noProof="0" dirty="0"/>
          </a:p>
          <a:p>
            <a:pPr marL="139700" indent="0">
              <a:lnSpc>
                <a:spcPct val="114999"/>
              </a:lnSpc>
            </a:pPr>
            <a:r>
              <a:rPr lang="en-GB" sz="1150" b="1" noProof="0" dirty="0"/>
              <a:t>  </a:t>
            </a:r>
            <a:endParaRPr lang="en-GB" sz="1150" noProof="0" dirty="0"/>
          </a:p>
          <a:p>
            <a:pPr>
              <a:lnSpc>
                <a:spcPct val="114999"/>
              </a:lnSpc>
            </a:pPr>
            <a:r>
              <a:rPr lang="en-GB" sz="1150" b="1" noProof="0" dirty="0"/>
              <a:t>                     </a:t>
            </a:r>
          </a:p>
          <a:p>
            <a:pPr>
              <a:lnSpc>
                <a:spcPct val="114999"/>
              </a:lnSpc>
            </a:pPr>
            <a:r>
              <a:rPr lang="en-GB" sz="1150" noProof="0" dirty="0">
                <a:hlinkClick r:id="rId7"/>
              </a:rPr>
              <a:t>https://globalwindatlas.info/en/</a:t>
            </a:r>
            <a:endParaRPr lang="en-GB" noProof="0" dirty="0"/>
          </a:p>
        </p:txBody>
      </p:sp>
      <p:pic>
        <p:nvPicPr>
          <p:cNvPr id="14" name="Picture 13">
            <a:extLst>
              <a:ext uri="{FF2B5EF4-FFF2-40B4-BE49-F238E27FC236}">
                <a16:creationId xmlns:a16="http://schemas.microsoft.com/office/drawing/2014/main" id="{FD7D6C19-F63D-3343-9780-FDDDAA55622A}"/>
              </a:ext>
            </a:extLst>
          </p:cNvPr>
          <p:cNvPicPr>
            <a:picLocks noChangeAspect="1"/>
          </p:cNvPicPr>
          <p:nvPr/>
        </p:nvPicPr>
        <p:blipFill>
          <a:blip r:embed="rId8"/>
          <a:stretch>
            <a:fillRect/>
          </a:stretch>
        </p:blipFill>
        <p:spPr>
          <a:xfrm>
            <a:off x="3442912" y="4764328"/>
            <a:ext cx="1024585" cy="1023783"/>
          </a:xfrm>
          <a:prstGeom prst="rect">
            <a:avLst/>
          </a:prstGeom>
        </p:spPr>
      </p:pic>
      <p:sp>
        <p:nvSpPr>
          <p:cNvPr id="23" name="Untertitel 3">
            <a:extLst>
              <a:ext uri="{FF2B5EF4-FFF2-40B4-BE49-F238E27FC236}">
                <a16:creationId xmlns:a16="http://schemas.microsoft.com/office/drawing/2014/main" id="{398755E3-11DE-4DE7-84A9-771248D82E97}"/>
              </a:ext>
            </a:extLst>
          </p:cNvPr>
          <p:cNvSpPr txBox="1">
            <a:spLocks/>
          </p:cNvSpPr>
          <p:nvPr/>
        </p:nvSpPr>
        <p:spPr>
          <a:xfrm>
            <a:off x="801215" y="8212746"/>
            <a:ext cx="5938125" cy="1559181"/>
          </a:xfrm>
          <a:prstGeom prst="rect">
            <a:avLst/>
          </a:prstGeom>
          <a:noFill/>
          <a:ln>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
              <a:buChar char="•"/>
            </a:pPr>
            <a:r>
              <a:rPr lang="en-GB" sz="1150" b="1" noProof="0">
                <a:solidFill>
                  <a:srgbClr val="FF0000"/>
                </a:solidFill>
              </a:rPr>
              <a:t>Germany has higher power density</a:t>
            </a:r>
            <a:r>
              <a:rPr lang="en-GB" sz="1150" noProof="0">
                <a:solidFill>
                  <a:srgbClr val="FF0000"/>
                </a:solidFill>
              </a:rPr>
              <a:t> than Ghana, meaning it can generate more wind energy.</a:t>
            </a:r>
          </a:p>
          <a:p>
            <a:pPr>
              <a:buFont typeface=""/>
              <a:buChar char="•"/>
            </a:pPr>
            <a:r>
              <a:rPr lang="en-GB" sz="1150" b="1" noProof="0">
                <a:solidFill>
                  <a:srgbClr val="FF0000"/>
                </a:solidFill>
              </a:rPr>
              <a:t>Germany also has faster wind speeds</a:t>
            </a:r>
            <a:r>
              <a:rPr lang="en-GB" sz="1150" noProof="0">
                <a:solidFill>
                  <a:srgbClr val="FF0000"/>
                </a:solidFill>
              </a:rPr>
              <a:t>, which increases energy output.</a:t>
            </a:r>
          </a:p>
          <a:p>
            <a:pPr>
              <a:lnSpc>
                <a:spcPct val="114999"/>
              </a:lnSpc>
              <a:buFont typeface=""/>
              <a:buChar char="•"/>
            </a:pPr>
            <a:r>
              <a:rPr lang="en-GB" sz="1150" b="1" noProof="0">
                <a:solidFill>
                  <a:srgbClr val="FF0000"/>
                </a:solidFill>
              </a:rPr>
              <a:t>Conclusion:</a:t>
            </a:r>
            <a:r>
              <a:rPr lang="en-GB" sz="1150" noProof="0">
                <a:solidFill>
                  <a:srgbClr val="FF0000"/>
                </a:solidFill>
              </a:rPr>
              <a:t> Germany is better suited for </a:t>
            </a:r>
            <a:r>
              <a:rPr lang="en-GB" sz="1150" b="1" noProof="0">
                <a:solidFill>
                  <a:srgbClr val="FF0000"/>
                </a:solidFill>
              </a:rPr>
              <a:t>wind energy production</a:t>
            </a:r>
            <a:r>
              <a:rPr lang="en-GB" sz="1150" noProof="0">
                <a:solidFill>
                  <a:srgbClr val="FF0000"/>
                </a:solidFill>
              </a:rPr>
              <a:t> due to these </a:t>
            </a:r>
            <a:r>
              <a:rPr lang="en-GB" sz="1150" noProof="0" dirty="0">
                <a:solidFill>
                  <a:srgbClr val="FF0000"/>
                </a:solidFill>
              </a:rPr>
              <a:t>favourable</a:t>
            </a:r>
            <a:r>
              <a:rPr lang="en-GB" sz="1150" noProof="0">
                <a:solidFill>
                  <a:srgbClr val="FF0000"/>
                </a:solidFill>
              </a:rPr>
              <a:t> conditions.</a:t>
            </a:r>
          </a:p>
          <a:p>
            <a:pPr>
              <a:lnSpc>
                <a:spcPct val="114999"/>
              </a:lnSpc>
              <a:buFont typeface=""/>
              <a:buChar char="•"/>
            </a:pPr>
            <a:r>
              <a:rPr lang="en-GB" sz="1150" noProof="0">
                <a:solidFill>
                  <a:srgbClr val="FF0000"/>
                </a:solidFill>
              </a:rPr>
              <a:t>BUT: This is just a comparison; </a:t>
            </a:r>
            <a:r>
              <a:rPr lang="en-GB" sz="1150" b="1" noProof="0">
                <a:solidFill>
                  <a:srgbClr val="FF0000"/>
                </a:solidFill>
              </a:rPr>
              <a:t>Ghana still has great potential to generate wind energy!</a:t>
            </a:r>
            <a:endParaRPr lang="en-GB" sz="1150" noProof="0">
              <a:solidFill>
                <a:srgbClr val="FF0000"/>
              </a:solidFill>
            </a:endParaRPr>
          </a:p>
        </p:txBody>
      </p:sp>
      <p:sp>
        <p:nvSpPr>
          <p:cNvPr id="24" name="TextBox 23">
            <a:extLst>
              <a:ext uri="{FF2B5EF4-FFF2-40B4-BE49-F238E27FC236}">
                <a16:creationId xmlns:a16="http://schemas.microsoft.com/office/drawing/2014/main" id="{9EE61C21-2AA6-419B-A73E-1A606DEA4621}"/>
              </a:ext>
            </a:extLst>
          </p:cNvPr>
          <p:cNvSpPr txBox="1"/>
          <p:nvPr/>
        </p:nvSpPr>
        <p:spPr>
          <a:xfrm>
            <a:off x="719138" y="7660209"/>
            <a:ext cx="612796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b="1" noProof="0" dirty="0">
                <a:solidFill>
                  <a:schemeClr val="dk1"/>
                </a:solidFill>
                <a:latin typeface="Sofia Sans"/>
                <a:sym typeface="Sofia Sans"/>
              </a:rPr>
              <a:t>What is your outcome? What does it mean for the quality of the country to generate wind energy?</a:t>
            </a:r>
          </a:p>
        </p:txBody>
      </p:sp>
    </p:spTree>
    <p:extLst>
      <p:ext uri="{BB962C8B-B14F-4D97-AF65-F5344CB8AC3E}">
        <p14:creationId xmlns:p14="http://schemas.microsoft.com/office/powerpoint/2010/main" val="374364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22D3D-38D5-1D78-7ACF-55EE3A3F08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think-cell data - do not delete" hidden="1">
                        <a:extLst>
                          <a:ext uri="{FF2B5EF4-FFF2-40B4-BE49-F238E27FC236}">
                            <a16:creationId xmlns:a16="http://schemas.microsoft.com/office/drawing/2014/main" id="{28322D3D-38D5-1D78-7ACF-55EE3A3F0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81C61E71-754B-E79D-FAEF-B7D9E0483FDF}"/>
              </a:ext>
            </a:extLst>
          </p:cNvPr>
          <p:cNvSpPr>
            <a:spLocks noGrp="1"/>
          </p:cNvSpPr>
          <p:nvPr>
            <p:ph type="sldNum" sz="quarter" idx="4"/>
          </p:nvPr>
        </p:nvSpPr>
        <p:spPr/>
        <p:txBody>
          <a:bodyPr/>
          <a:lstStyle/>
          <a:p>
            <a:fld id="{DF7F771E-9578-4C04-B869-01AF4C35C90C}" type="slidenum">
              <a:rPr lang="en-GB" noProof="0" smtClean="0"/>
              <a:t>17</a:t>
            </a:fld>
            <a:endParaRPr lang="en-GB" noProof="0"/>
          </a:p>
        </p:txBody>
      </p:sp>
      <p:sp>
        <p:nvSpPr>
          <p:cNvPr id="10" name="Rechteck 9">
            <a:extLst>
              <a:ext uri="{FF2B5EF4-FFF2-40B4-BE49-F238E27FC236}">
                <a16:creationId xmlns:a16="http://schemas.microsoft.com/office/drawing/2014/main" id="{9550A66F-F2E4-1942-A8B1-E2E67986ED34}"/>
              </a:ext>
            </a:extLst>
          </p:cNvPr>
          <p:cNvSpPr/>
          <p:nvPr/>
        </p:nvSpPr>
        <p:spPr>
          <a:xfrm>
            <a:off x="1451587" y="9041359"/>
            <a:ext cx="5436129" cy="470352"/>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noProof="0" dirty="0">
                <a:solidFill>
                  <a:srgbClr val="333333"/>
                </a:solidFill>
                <a:latin typeface="Sofia Sans"/>
              </a:rPr>
              <a:t>The</a:t>
            </a:r>
            <a:r>
              <a:rPr lang="en-GB" sz="1200" baseline="0" noProof="0" dirty="0">
                <a:solidFill>
                  <a:srgbClr val="333333"/>
                </a:solidFill>
                <a:latin typeface="Sofia Sans"/>
              </a:rPr>
              <a:t> goal is to discuss the benefits and challenges of wind energy </a:t>
            </a:r>
            <a:r>
              <a:rPr lang="en-GB" sz="1200" noProof="0" dirty="0">
                <a:solidFill>
                  <a:srgbClr val="333333"/>
                </a:solidFill>
                <a:latin typeface="Sofia Sans"/>
              </a:rPr>
              <a:t>while considering</a:t>
            </a:r>
            <a:r>
              <a:rPr lang="en-GB" sz="1200" baseline="0" noProof="0" dirty="0">
                <a:solidFill>
                  <a:srgbClr val="333333"/>
                </a:solidFill>
                <a:latin typeface="Sofia Sans"/>
              </a:rPr>
              <a:t> all perspectives</a:t>
            </a:r>
            <a:r>
              <a:rPr lang="en-GB" sz="1200" noProof="0" dirty="0">
                <a:solidFill>
                  <a:srgbClr val="333333"/>
                </a:solidFill>
                <a:latin typeface="Sofia Sans"/>
              </a:rPr>
              <a:t>!</a:t>
            </a:r>
            <a:endParaRPr lang="en-GB" sz="1200" noProof="0" dirty="0"/>
          </a:p>
        </p:txBody>
      </p:sp>
      <p:pic>
        <p:nvPicPr>
          <p:cNvPr id="13" name="Grafik 12" descr="Rennflagge mit einfarbiger Füllung">
            <a:extLst>
              <a:ext uri="{FF2B5EF4-FFF2-40B4-BE49-F238E27FC236}">
                <a16:creationId xmlns:a16="http://schemas.microsoft.com/office/drawing/2014/main" id="{E24A9847-0A6B-F8AF-0BEC-3459179253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4154" y="9041359"/>
            <a:ext cx="508503" cy="521850"/>
          </a:xfrm>
          <a:prstGeom prst="rect">
            <a:avLst/>
          </a:prstGeom>
        </p:spPr>
      </p:pic>
      <p:pic>
        <p:nvPicPr>
          <p:cNvPr id="16" name="Grafik 15" descr="Gruppenbrainstorming Silhouette">
            <a:extLst>
              <a:ext uri="{FF2B5EF4-FFF2-40B4-BE49-F238E27FC236}">
                <a16:creationId xmlns:a16="http://schemas.microsoft.com/office/drawing/2014/main" id="{BE3F39E9-572F-5E57-1A62-4279A14519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76634" y="7833233"/>
            <a:ext cx="914452" cy="914400"/>
          </a:xfrm>
          <a:prstGeom prst="rect">
            <a:avLst/>
          </a:prstGeom>
        </p:spPr>
      </p:pic>
      <p:pic>
        <p:nvPicPr>
          <p:cNvPr id="17" name="Grafik 16" descr="Zielgruppe Silhouette">
            <a:extLst>
              <a:ext uri="{FF2B5EF4-FFF2-40B4-BE49-F238E27FC236}">
                <a16:creationId xmlns:a16="http://schemas.microsoft.com/office/drawing/2014/main" id="{558120E0-FAED-CBDE-9732-1C43C48067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38976" y="7832431"/>
            <a:ext cx="914452" cy="914400"/>
          </a:xfrm>
          <a:prstGeom prst="rect">
            <a:avLst/>
          </a:prstGeom>
        </p:spPr>
      </p:pic>
      <p:pic>
        <p:nvPicPr>
          <p:cNvPr id="18" name="Grafik 17" descr="Sitzungssaal Silhouette">
            <a:extLst>
              <a:ext uri="{FF2B5EF4-FFF2-40B4-BE49-F238E27FC236}">
                <a16:creationId xmlns:a16="http://schemas.microsoft.com/office/drawing/2014/main" id="{D7501EDF-1D35-24AF-8E94-2E87A5FCBD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15435" y="7831629"/>
            <a:ext cx="914452" cy="914400"/>
          </a:xfrm>
          <a:prstGeom prst="rect">
            <a:avLst/>
          </a:prstGeom>
        </p:spPr>
      </p:pic>
      <p:pic>
        <p:nvPicPr>
          <p:cNvPr id="19" name="Grafik 18" descr="Dozent Silhouette">
            <a:extLst>
              <a:ext uri="{FF2B5EF4-FFF2-40B4-BE49-F238E27FC236}">
                <a16:creationId xmlns:a16="http://schemas.microsoft.com/office/drawing/2014/main" id="{2433D8EE-85E0-0BFC-D575-8B439E22672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07802" y="7832602"/>
            <a:ext cx="914452" cy="914400"/>
          </a:xfrm>
          <a:prstGeom prst="rect">
            <a:avLst/>
          </a:prstGeom>
        </p:spPr>
      </p:pic>
      <p:sp>
        <p:nvSpPr>
          <p:cNvPr id="11" name="Titel 1">
            <a:extLst>
              <a:ext uri="{FF2B5EF4-FFF2-40B4-BE49-F238E27FC236}">
                <a16:creationId xmlns:a16="http://schemas.microsoft.com/office/drawing/2014/main" id="{1550BF28-5685-65C0-E56F-456CBF7EF8A5}"/>
              </a:ext>
            </a:extLst>
          </p:cNvPr>
          <p:cNvSpPr>
            <a:spLocks noGrp="1"/>
          </p:cNvSpPr>
          <p:nvPr>
            <p:ph type="title"/>
          </p:nvPr>
        </p:nvSpPr>
        <p:spPr>
          <a:xfrm>
            <a:off x="719138" y="1282073"/>
            <a:ext cx="6380336" cy="1190474"/>
          </a:xfrm>
        </p:spPr>
        <p:txBody>
          <a:bodyPr/>
          <a:lstStyle/>
          <a:p>
            <a:r>
              <a:rPr lang="en-GB" dirty="0"/>
              <a:t>4</a:t>
            </a:r>
            <a:r>
              <a:rPr lang="en-GB" noProof="0" dirty="0"/>
              <a:t>. </a:t>
            </a:r>
            <a:r>
              <a:rPr lang="en-GB" dirty="0"/>
              <a:t>Stakeholders in wind energy</a:t>
            </a:r>
            <a:endParaRPr lang="en-GB" noProof="0" dirty="0"/>
          </a:p>
        </p:txBody>
      </p:sp>
      <p:sp>
        <p:nvSpPr>
          <p:cNvPr id="21" name="Untertitel 3">
            <a:extLst>
              <a:ext uri="{FF2B5EF4-FFF2-40B4-BE49-F238E27FC236}">
                <a16:creationId xmlns:a16="http://schemas.microsoft.com/office/drawing/2014/main" id="{947682F6-087A-D022-9662-9405CB44E2AF}"/>
              </a:ext>
            </a:extLst>
          </p:cNvPr>
          <p:cNvSpPr txBox="1">
            <a:spLocks/>
          </p:cNvSpPr>
          <p:nvPr/>
        </p:nvSpPr>
        <p:spPr>
          <a:xfrm>
            <a:off x="719138" y="3147051"/>
            <a:ext cx="6064990" cy="459486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nSpc>
                <a:spcPct val="114999"/>
              </a:lnSpc>
              <a:buClr>
                <a:srgbClr val="A15315"/>
              </a:buClr>
            </a:pPr>
            <a:r>
              <a:rPr lang="en-GB" sz="1200" b="1" noProof="0" dirty="0"/>
              <a:t>Wind energy role play:</a:t>
            </a:r>
          </a:p>
          <a:p>
            <a:pPr marL="139700" indent="0">
              <a:lnSpc>
                <a:spcPct val="114999"/>
              </a:lnSpc>
              <a:buClr>
                <a:srgbClr val="A15315"/>
              </a:buClr>
            </a:pPr>
            <a:r>
              <a:rPr lang="en-GB" sz="1200" noProof="0" dirty="0"/>
              <a:t> </a:t>
            </a:r>
          </a:p>
          <a:p>
            <a:pPr marL="139700" indent="0">
              <a:lnSpc>
                <a:spcPct val="114999"/>
              </a:lnSpc>
              <a:buClr>
                <a:schemeClr val="accent2"/>
              </a:buClr>
            </a:pPr>
            <a:r>
              <a:rPr lang="en-GB" sz="1200" noProof="0" dirty="0">
                <a:solidFill>
                  <a:schemeClr val="accent2"/>
                </a:solidFill>
              </a:rPr>
              <a:t>1)     </a:t>
            </a:r>
            <a:r>
              <a:rPr lang="en-GB" sz="1200" noProof="0" dirty="0"/>
              <a:t>Split the class into groups of 4–5 students.</a:t>
            </a:r>
          </a:p>
          <a:p>
            <a:pPr marL="403225" indent="-263525">
              <a:lnSpc>
                <a:spcPct val="114999"/>
              </a:lnSpc>
            </a:pPr>
            <a:r>
              <a:rPr lang="en-GB" sz="1200" noProof="0" dirty="0">
                <a:solidFill>
                  <a:schemeClr val="accent2"/>
                </a:solidFill>
              </a:rPr>
              <a:t>2)     </a:t>
            </a:r>
            <a:r>
              <a:rPr lang="en-GB" sz="1200" noProof="0" dirty="0"/>
              <a:t>Each team represents a different stakeholder, who is affected by a wind energy project in </a:t>
            </a:r>
            <a:r>
              <a:rPr lang="en-GB" sz="1200" b="1" noProof="0" dirty="0"/>
              <a:t>Ghana</a:t>
            </a:r>
            <a:r>
              <a:rPr lang="en-GB" sz="1200" noProof="0" dirty="0"/>
              <a:t>.</a:t>
            </a:r>
            <a:endParaRPr lang="en-GB" sz="1200" dirty="0"/>
          </a:p>
          <a:p>
            <a:pPr marL="139700" indent="0">
              <a:lnSpc>
                <a:spcPct val="114999"/>
              </a:lnSpc>
            </a:pPr>
            <a:r>
              <a:rPr lang="en-GB" sz="1200" noProof="0" dirty="0">
                <a:solidFill>
                  <a:schemeClr val="accent2"/>
                </a:solidFill>
              </a:rPr>
              <a:t>3)     </a:t>
            </a:r>
            <a:r>
              <a:rPr lang="en-GB" sz="1200" noProof="0" dirty="0"/>
              <a:t>Assign </a:t>
            </a:r>
            <a:r>
              <a:rPr lang="en-GB" sz="1200" b="1" noProof="0" dirty="0"/>
              <a:t>roles</a:t>
            </a:r>
            <a:r>
              <a:rPr lang="en-GB" sz="1200" noProof="0" dirty="0"/>
              <a:t> to each team member:</a:t>
            </a:r>
          </a:p>
          <a:p>
            <a:pPr marL="139700" indent="0">
              <a:lnSpc>
                <a:spcPct val="114999"/>
              </a:lnSpc>
            </a:pPr>
            <a:r>
              <a:rPr lang="en-GB" sz="1200" b="1" noProof="0" dirty="0"/>
              <a:t>   -Local farmer</a:t>
            </a:r>
            <a:r>
              <a:rPr lang="en-GB" sz="1200" noProof="0" dirty="0"/>
              <a:t>: Concerned about losing land and the noise from turbines.</a:t>
            </a:r>
          </a:p>
          <a:p>
            <a:pPr marL="534988" indent="-400050">
              <a:lnSpc>
                <a:spcPct val="114999"/>
              </a:lnSpc>
            </a:pPr>
            <a:r>
              <a:rPr lang="en-GB" sz="1200" b="1" noProof="0" dirty="0"/>
              <a:t>   -Government official</a:t>
            </a:r>
            <a:r>
              <a:rPr lang="en-GB" sz="1200" noProof="0" dirty="0"/>
              <a:t>: Focused on promoting renewable energy to support Ghana’s future. </a:t>
            </a:r>
          </a:p>
          <a:p>
            <a:pPr marL="139700" indent="0">
              <a:lnSpc>
                <a:spcPct val="114999"/>
              </a:lnSpc>
            </a:pPr>
            <a:r>
              <a:rPr lang="en-GB" sz="1200" b="1" noProof="0" dirty="0"/>
              <a:t>   -Engineer</a:t>
            </a:r>
            <a:r>
              <a:rPr lang="en-GB" sz="1200" noProof="0" dirty="0"/>
              <a:t>: Explains how wind turbines work and discusses technical challenges.</a:t>
            </a:r>
          </a:p>
          <a:p>
            <a:pPr marL="539750" indent="-400050">
              <a:lnSpc>
                <a:spcPct val="114999"/>
              </a:lnSpc>
            </a:pPr>
            <a:r>
              <a:rPr lang="en-GB" sz="1200" b="1" noProof="0" dirty="0"/>
              <a:t>   -Student</a:t>
            </a:r>
            <a:r>
              <a:rPr lang="en-GB" sz="1200" noProof="0" dirty="0"/>
              <a:t>: Curious about how wind energy will affect jobs, the environment, and future opportunities.</a:t>
            </a:r>
          </a:p>
          <a:p>
            <a:pPr marL="139700" indent="0">
              <a:lnSpc>
                <a:spcPct val="114999"/>
              </a:lnSpc>
            </a:pPr>
            <a:r>
              <a:rPr lang="en-GB" sz="1200" b="1" noProof="0" dirty="0"/>
              <a:t>  - Environmentalist (optional)</a:t>
            </a:r>
            <a:r>
              <a:rPr lang="en-GB" sz="1200" noProof="0" dirty="0"/>
              <a:t>: Advocates for clean energy to combat climate change.</a:t>
            </a:r>
          </a:p>
          <a:p>
            <a:pPr marL="446088" indent="-304800">
              <a:lnSpc>
                <a:spcPct val="114999"/>
              </a:lnSpc>
            </a:pPr>
            <a:r>
              <a:rPr lang="en-GB" sz="1200" noProof="0" dirty="0">
                <a:solidFill>
                  <a:schemeClr val="accent2"/>
                </a:solidFill>
              </a:rPr>
              <a:t>4) </a:t>
            </a:r>
            <a:r>
              <a:rPr lang="en-GB" sz="1200" noProof="0" dirty="0"/>
              <a:t> </a:t>
            </a:r>
            <a:r>
              <a:rPr lang="en-GB" sz="1200" b="1" noProof="0" dirty="0"/>
              <a:t>Scenario setup: </a:t>
            </a:r>
            <a:r>
              <a:rPr lang="en-GB" sz="1200" i="1" noProof="0" dirty="0"/>
              <a:t>"A new wind farm is planned near a coastal village in Ghana. It will   produce electricity for nearby towns but may also affect the local community and   environment."</a:t>
            </a:r>
          </a:p>
          <a:p>
            <a:pPr marL="406400" indent="-266700">
              <a:lnSpc>
                <a:spcPct val="114999"/>
              </a:lnSpc>
            </a:pPr>
            <a:r>
              <a:rPr lang="en-GB" sz="1200" noProof="0" dirty="0">
                <a:solidFill>
                  <a:schemeClr val="accent2"/>
                </a:solidFill>
              </a:rPr>
              <a:t>5)</a:t>
            </a:r>
            <a:r>
              <a:rPr lang="en-GB" sz="1200" i="1" noProof="0" dirty="0"/>
              <a:t> </a:t>
            </a:r>
            <a:r>
              <a:rPr lang="en-GB" sz="1200" noProof="0" dirty="0"/>
              <a:t>Now, look at the scenario and you assigned role and try to find arguments for your   position. Write it down on the next slide!</a:t>
            </a:r>
          </a:p>
          <a:p>
            <a:pPr marL="406400" indent="-273050">
              <a:lnSpc>
                <a:spcPct val="114999"/>
              </a:lnSpc>
            </a:pPr>
            <a:r>
              <a:rPr lang="en-GB" sz="1200" noProof="0" dirty="0">
                <a:solidFill>
                  <a:schemeClr val="accent2"/>
                </a:solidFill>
              </a:rPr>
              <a:t>6) </a:t>
            </a:r>
            <a:r>
              <a:rPr lang="en-GB" sz="1200" dirty="0">
                <a:solidFill>
                  <a:schemeClr val="accent2"/>
                </a:solidFill>
              </a:rPr>
              <a:t>    </a:t>
            </a:r>
            <a:r>
              <a:rPr lang="en-GB" sz="1200" noProof="0" dirty="0"/>
              <a:t>Discussion: When everyone is ready, discuss your arguments and perspectives and   present it to the class! Don`t be afraid, there is no right or wrong!</a:t>
            </a:r>
          </a:p>
        </p:txBody>
      </p:sp>
      <p:sp>
        <p:nvSpPr>
          <p:cNvPr id="2" name="Untertitel 5">
            <a:extLst>
              <a:ext uri="{FF2B5EF4-FFF2-40B4-BE49-F238E27FC236}">
                <a16:creationId xmlns:a16="http://schemas.microsoft.com/office/drawing/2014/main" id="{F410C21B-1EB7-A3A0-DCD5-077D308A69A8}"/>
              </a:ext>
            </a:extLst>
          </p:cNvPr>
          <p:cNvSpPr txBox="1">
            <a:spLocks/>
          </p:cNvSpPr>
          <p:nvPr/>
        </p:nvSpPr>
        <p:spPr>
          <a:xfrm>
            <a:off x="1188319" y="205026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5" name="Ellipse 4">
            <a:extLst>
              <a:ext uri="{FF2B5EF4-FFF2-40B4-BE49-F238E27FC236}">
                <a16:creationId xmlns:a16="http://schemas.microsoft.com/office/drawing/2014/main" id="{3C07CA45-88AB-8415-C23C-B57330927634}"/>
              </a:ext>
            </a:extLst>
          </p:cNvPr>
          <p:cNvSpPr>
            <a:spLocks noChangeAspect="1"/>
          </p:cNvSpPr>
          <p:nvPr/>
        </p:nvSpPr>
        <p:spPr>
          <a:xfrm>
            <a:off x="769678" y="204432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 name="Grafik 5" descr="Skizze mit einfarbiger Füllung">
            <a:extLst>
              <a:ext uri="{FF2B5EF4-FFF2-40B4-BE49-F238E27FC236}">
                <a16:creationId xmlns:a16="http://schemas.microsoft.com/office/drawing/2014/main" id="{88A3BF7B-397C-15D5-30F6-ED796359DB0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4154" y="2108060"/>
            <a:ext cx="379044" cy="379044"/>
          </a:xfrm>
          <a:prstGeom prst="rect">
            <a:avLst/>
          </a:prstGeom>
        </p:spPr>
      </p:pic>
      <p:sp>
        <p:nvSpPr>
          <p:cNvPr id="7" name="Untertitel 5">
            <a:extLst>
              <a:ext uri="{FF2B5EF4-FFF2-40B4-BE49-F238E27FC236}">
                <a16:creationId xmlns:a16="http://schemas.microsoft.com/office/drawing/2014/main" id="{2F4BCFAE-0CBC-B0D0-132A-EB569AAAFA9D}"/>
              </a:ext>
            </a:extLst>
          </p:cNvPr>
          <p:cNvSpPr txBox="1">
            <a:spLocks/>
          </p:cNvSpPr>
          <p:nvPr/>
        </p:nvSpPr>
        <p:spPr>
          <a:xfrm>
            <a:off x="758287" y="263921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Tree>
    <p:extLst>
      <p:ext uri="{BB962C8B-B14F-4D97-AF65-F5344CB8AC3E}">
        <p14:creationId xmlns:p14="http://schemas.microsoft.com/office/powerpoint/2010/main" val="2283035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22D3D-38D5-1D78-7ACF-55EE3A3F08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think-cell data - do not delete" hidden="1">
                        <a:extLst>
                          <a:ext uri="{FF2B5EF4-FFF2-40B4-BE49-F238E27FC236}">
                            <a16:creationId xmlns:a16="http://schemas.microsoft.com/office/drawing/2014/main" id="{28322D3D-38D5-1D78-7ACF-55EE3A3F0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81C61E71-754B-E79D-FAEF-B7D9E0483FDF}"/>
              </a:ext>
            </a:extLst>
          </p:cNvPr>
          <p:cNvSpPr>
            <a:spLocks noGrp="1"/>
          </p:cNvSpPr>
          <p:nvPr>
            <p:ph type="sldNum" sz="quarter" idx="16"/>
          </p:nvPr>
        </p:nvSpPr>
        <p:spPr/>
        <p:txBody>
          <a:bodyPr/>
          <a:lstStyle/>
          <a:p>
            <a:fld id="{DF7F771E-9578-4C04-B869-01AF4C35C90C}" type="slidenum">
              <a:rPr lang="en-GB" noProof="0" smtClean="0"/>
              <a:t>18</a:t>
            </a:fld>
            <a:endParaRPr lang="en-GB" noProof="0"/>
          </a:p>
        </p:txBody>
      </p:sp>
      <p:sp>
        <p:nvSpPr>
          <p:cNvPr id="11" name="Untertitel 3">
            <a:extLst>
              <a:ext uri="{FF2B5EF4-FFF2-40B4-BE49-F238E27FC236}">
                <a16:creationId xmlns:a16="http://schemas.microsoft.com/office/drawing/2014/main" id="{C5107335-C559-E6D1-CF82-CCF7C8E26BC5}"/>
              </a:ext>
            </a:extLst>
          </p:cNvPr>
          <p:cNvSpPr txBox="1">
            <a:spLocks/>
          </p:cNvSpPr>
          <p:nvPr/>
        </p:nvSpPr>
        <p:spPr>
          <a:xfrm>
            <a:off x="791774" y="1277938"/>
            <a:ext cx="5944510" cy="8417363"/>
          </a:xfrm>
          <a:prstGeom prst="rect">
            <a:avLst/>
          </a:prstGeom>
          <a:noFill/>
          <a:ln>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150" b="1" noProof="0"/>
              <a:t>Solution: </a:t>
            </a:r>
            <a:endParaRPr lang="en-GB" noProof="0"/>
          </a:p>
          <a:p>
            <a:pPr>
              <a:lnSpc>
                <a:spcPct val="114999"/>
              </a:lnSpc>
            </a:pPr>
            <a:r>
              <a:rPr lang="en-GB" sz="1150" b="1" noProof="0"/>
              <a:t>Write down – everyone </a:t>
            </a:r>
            <a:r>
              <a:rPr lang="en-GB" sz="1150" b="1" noProof="0" dirty="0"/>
              <a:t>on </a:t>
            </a:r>
            <a:r>
              <a:rPr lang="en-GB" sz="1150" b="1" noProof="0"/>
              <a:t>your own – what are the arguments for your position?</a:t>
            </a:r>
          </a:p>
          <a:p>
            <a:pPr>
              <a:lnSpc>
                <a:spcPct val="114999"/>
              </a:lnSpc>
              <a:buClr>
                <a:srgbClr val="A15315"/>
              </a:buClr>
            </a:pPr>
            <a:endParaRPr lang="en-GB" sz="1150" noProof="0"/>
          </a:p>
          <a:p>
            <a:pPr>
              <a:lnSpc>
                <a:spcPct val="114999"/>
              </a:lnSpc>
            </a:pPr>
            <a:r>
              <a:rPr lang="en-GB" sz="1150" b="1" noProof="0">
                <a:solidFill>
                  <a:srgbClr val="FF0000"/>
                </a:solidFill>
              </a:rPr>
              <a:t>Local farmer: Concerned about losing land and the noise from turbines:</a:t>
            </a:r>
            <a:endParaRPr lang="en-GB" noProof="0"/>
          </a:p>
          <a:p>
            <a:pPr marL="285750" indent="-285750">
              <a:lnSpc>
                <a:spcPct val="114999"/>
              </a:lnSpc>
              <a:buFont typeface="Arial"/>
              <a:buChar char="•"/>
            </a:pPr>
            <a:r>
              <a:rPr lang="en-GB" sz="1150" b="1" noProof="0">
                <a:solidFill>
                  <a:srgbClr val="FF0000"/>
                </a:solidFill>
              </a:rPr>
              <a:t>Land loss</a:t>
            </a:r>
            <a:r>
              <a:rPr lang="en-GB" sz="1150" noProof="0">
                <a:solidFill>
                  <a:srgbClr val="FF0000"/>
                </a:solidFill>
              </a:rPr>
              <a:t>: "If wind turbines are built on my land, I may lose valuable farmland that I depend on for growing crops and supporting my family."</a:t>
            </a:r>
            <a:endParaRPr lang="en-GB" noProof="0"/>
          </a:p>
          <a:p>
            <a:pPr marL="285750" indent="-285750">
              <a:lnSpc>
                <a:spcPct val="114999"/>
              </a:lnSpc>
              <a:buFont typeface="Arial"/>
              <a:buChar char="•"/>
            </a:pPr>
            <a:r>
              <a:rPr lang="en-GB" sz="1150" b="1" noProof="0">
                <a:solidFill>
                  <a:srgbClr val="FF0000"/>
                </a:solidFill>
              </a:rPr>
              <a:t>Noise pollution</a:t>
            </a:r>
            <a:r>
              <a:rPr lang="en-GB" sz="1150" noProof="0">
                <a:solidFill>
                  <a:srgbClr val="FF0000"/>
                </a:solidFill>
              </a:rPr>
              <a:t>: "The noise from the turbines could disturb my daily life, my animals, and even make it harder to sleep or concentrate."</a:t>
            </a:r>
            <a:endParaRPr lang="en-GB" noProof="0"/>
          </a:p>
          <a:p>
            <a:pPr marL="285750" indent="-285750">
              <a:lnSpc>
                <a:spcPct val="114999"/>
              </a:lnSpc>
              <a:buFont typeface="Arial"/>
              <a:buChar char="•"/>
            </a:pPr>
            <a:r>
              <a:rPr lang="en-GB" sz="1150" b="1" noProof="0">
                <a:solidFill>
                  <a:srgbClr val="FF0000"/>
                </a:solidFill>
              </a:rPr>
              <a:t>Impact on livestock</a:t>
            </a:r>
            <a:r>
              <a:rPr lang="en-GB" sz="1150" noProof="0">
                <a:solidFill>
                  <a:srgbClr val="FF0000"/>
                </a:solidFill>
              </a:rPr>
              <a:t>: "The noise and movement from the turbines may cause stress for my livestock, affecting their health and production."</a:t>
            </a:r>
            <a:endParaRPr lang="en-GB" noProof="0"/>
          </a:p>
          <a:p>
            <a:pPr marL="285750" indent="-285750">
              <a:lnSpc>
                <a:spcPct val="114999"/>
              </a:lnSpc>
              <a:buFont typeface="Arial"/>
              <a:buChar char="•"/>
            </a:pPr>
            <a:r>
              <a:rPr lang="en-GB" sz="1150" b="1" noProof="0">
                <a:solidFill>
                  <a:srgbClr val="FF0000"/>
                </a:solidFill>
              </a:rPr>
              <a:t>Changes to the landscape</a:t>
            </a:r>
            <a:r>
              <a:rPr lang="en-GB" sz="1150" noProof="0">
                <a:solidFill>
                  <a:srgbClr val="FF0000"/>
                </a:solidFill>
              </a:rPr>
              <a:t>: "Large turbines can change the look of the land, which could affect tourism and the beauty of our environment."</a:t>
            </a:r>
            <a:endParaRPr lang="en-GB" noProof="0"/>
          </a:p>
          <a:p>
            <a:pPr marL="285750" indent="-285750">
              <a:lnSpc>
                <a:spcPct val="114999"/>
              </a:lnSpc>
              <a:buFont typeface="Arial"/>
              <a:buChar char="•"/>
            </a:pPr>
            <a:endParaRPr lang="en-GB" sz="1150" noProof="0">
              <a:solidFill>
                <a:srgbClr val="FF0000"/>
              </a:solidFill>
            </a:endParaRPr>
          </a:p>
          <a:p>
            <a:pPr>
              <a:lnSpc>
                <a:spcPct val="114999"/>
              </a:lnSpc>
            </a:pPr>
            <a:r>
              <a:rPr lang="en-GB" sz="1150" b="1" noProof="0">
                <a:solidFill>
                  <a:srgbClr val="FF0000"/>
                </a:solidFill>
              </a:rPr>
              <a:t>Government official: Focused on promoting renewable energy to support Ghana’s future</a:t>
            </a:r>
          </a:p>
          <a:p>
            <a:pPr marL="285750" indent="-285750">
              <a:lnSpc>
                <a:spcPct val="114999"/>
              </a:lnSpc>
              <a:buFont typeface="Arial"/>
              <a:buChar char="•"/>
            </a:pPr>
            <a:r>
              <a:rPr lang="en-GB" sz="1150" b="1" noProof="0">
                <a:solidFill>
                  <a:srgbClr val="FF0000"/>
                </a:solidFill>
              </a:rPr>
              <a:t>Renewable energy</a:t>
            </a:r>
            <a:r>
              <a:rPr lang="en-GB" sz="1150" noProof="0">
                <a:solidFill>
                  <a:srgbClr val="FF0000"/>
                </a:solidFill>
              </a:rPr>
              <a:t>: "Wind energy is a clean, renewable source of power, helping us reduce dependence on fossil fuels like oil and gas, which are harmful to the environment."</a:t>
            </a:r>
            <a:endParaRPr lang="en-GB" noProof="0"/>
          </a:p>
          <a:p>
            <a:pPr marL="285750" indent="-285750">
              <a:lnSpc>
                <a:spcPct val="114999"/>
              </a:lnSpc>
              <a:buFont typeface="Arial"/>
              <a:buChar char="•"/>
            </a:pPr>
            <a:r>
              <a:rPr lang="en-GB" sz="1150" b="1" noProof="0">
                <a:solidFill>
                  <a:srgbClr val="FF0000"/>
                </a:solidFill>
              </a:rPr>
              <a:t>Economic growth</a:t>
            </a:r>
            <a:r>
              <a:rPr lang="en-GB" sz="1150" noProof="0">
                <a:solidFill>
                  <a:srgbClr val="FF0000"/>
                </a:solidFill>
              </a:rPr>
              <a:t>: "Investing in wind energy can create jobs in the renewable energy sector, stimulating local economies and helping Ghana transition to a green economy."</a:t>
            </a:r>
            <a:endParaRPr lang="en-GB" noProof="0"/>
          </a:p>
          <a:p>
            <a:pPr marL="285750" indent="-285750">
              <a:lnSpc>
                <a:spcPct val="114999"/>
              </a:lnSpc>
              <a:buFont typeface="Arial"/>
              <a:buChar char="•"/>
            </a:pPr>
            <a:r>
              <a:rPr lang="en-GB" sz="1150" b="1" noProof="0">
                <a:solidFill>
                  <a:srgbClr val="FF0000"/>
                </a:solidFill>
              </a:rPr>
              <a:t>Energy Independence</a:t>
            </a:r>
            <a:r>
              <a:rPr lang="en-GB" sz="1150" noProof="0">
                <a:solidFill>
                  <a:srgbClr val="FF0000"/>
                </a:solidFill>
              </a:rPr>
              <a:t>: "Wind energy can help Ghana become less reliant on imported fuels, making us more energy-independent and securing our energy future."</a:t>
            </a:r>
            <a:endParaRPr lang="en-GB" noProof="0"/>
          </a:p>
          <a:p>
            <a:pPr marL="285750" indent="-285750">
              <a:lnSpc>
                <a:spcPct val="114999"/>
              </a:lnSpc>
              <a:buFont typeface="Arial"/>
              <a:buChar char="•"/>
            </a:pPr>
            <a:r>
              <a:rPr lang="en-GB" sz="1150" b="1" noProof="0">
                <a:solidFill>
                  <a:srgbClr val="FF0000"/>
                </a:solidFill>
              </a:rPr>
              <a:t>Environmental benefits</a:t>
            </a:r>
            <a:r>
              <a:rPr lang="en-GB" sz="1150" noProof="0">
                <a:solidFill>
                  <a:srgbClr val="FF0000"/>
                </a:solidFill>
              </a:rPr>
              <a:t>: "Wind energy doesn’t produce harmful emissions, which is crucial for fighting climate change and improving air quality in Ghana."</a:t>
            </a:r>
            <a:endParaRPr lang="en-GB" noProof="0"/>
          </a:p>
          <a:p>
            <a:pPr marL="285750" indent="-285750">
              <a:lnSpc>
                <a:spcPct val="114999"/>
              </a:lnSpc>
              <a:buFont typeface="Arial"/>
              <a:buChar char="•"/>
            </a:pPr>
            <a:endParaRPr lang="en-GB" sz="1150" noProof="0">
              <a:solidFill>
                <a:srgbClr val="FF0000"/>
              </a:solidFill>
            </a:endParaRPr>
          </a:p>
          <a:p>
            <a:pPr>
              <a:lnSpc>
                <a:spcPct val="114999"/>
              </a:lnSpc>
            </a:pPr>
            <a:r>
              <a:rPr lang="en-GB" sz="1150" b="1" noProof="0">
                <a:solidFill>
                  <a:srgbClr val="FF0000"/>
                </a:solidFill>
              </a:rPr>
              <a:t>Engineer: Explains how wind turbines work and discusses technical challenges</a:t>
            </a:r>
          </a:p>
          <a:p>
            <a:pPr marL="285750" indent="-285750">
              <a:lnSpc>
                <a:spcPct val="114999"/>
              </a:lnSpc>
              <a:buFont typeface="Arial"/>
              <a:buChar char="•"/>
            </a:pPr>
            <a:r>
              <a:rPr lang="en-GB" sz="1150" b="1" noProof="0">
                <a:solidFill>
                  <a:srgbClr val="FF0000"/>
                </a:solidFill>
              </a:rPr>
              <a:t>How wind turbines work</a:t>
            </a:r>
            <a:r>
              <a:rPr lang="en-GB" sz="1150" noProof="0">
                <a:solidFill>
                  <a:srgbClr val="FF0000"/>
                </a:solidFill>
              </a:rPr>
              <a:t>: "Wind turbines convert the kinetic energy of the wind into electrical energy using blades that spin when the wind blows. This movement turns a generator to produce electricity."</a:t>
            </a:r>
            <a:endParaRPr lang="en-GB" noProof="0"/>
          </a:p>
          <a:p>
            <a:pPr marL="285750" indent="-285750">
              <a:lnSpc>
                <a:spcPct val="114999"/>
              </a:lnSpc>
              <a:buFont typeface="Arial"/>
              <a:buChar char="•"/>
            </a:pPr>
            <a:r>
              <a:rPr lang="en-GB" sz="1150" b="1" noProof="0">
                <a:solidFill>
                  <a:srgbClr val="FF0000"/>
                </a:solidFill>
              </a:rPr>
              <a:t>Efficiency</a:t>
            </a:r>
            <a:r>
              <a:rPr lang="en-GB" sz="1150" noProof="0">
                <a:solidFill>
                  <a:srgbClr val="FF0000"/>
                </a:solidFill>
              </a:rPr>
              <a:t>: "Modern wind turbines are designed to be very efficient, with technologies that allow them to capture wind energy at different speeds and weather conditions."</a:t>
            </a:r>
            <a:endParaRPr lang="en-GB" noProof="0"/>
          </a:p>
          <a:p>
            <a:pPr marL="285750" indent="-285750">
              <a:lnSpc>
                <a:spcPct val="114999"/>
              </a:lnSpc>
              <a:buFont typeface="Arial"/>
              <a:buChar char="•"/>
            </a:pPr>
            <a:r>
              <a:rPr lang="en-GB" sz="1150" b="1" noProof="0">
                <a:solidFill>
                  <a:srgbClr val="FF0000"/>
                </a:solidFill>
              </a:rPr>
              <a:t>Challenges</a:t>
            </a:r>
            <a:r>
              <a:rPr lang="en-GB" sz="1150" noProof="0">
                <a:solidFill>
                  <a:srgbClr val="FF0000"/>
                </a:solidFill>
              </a:rPr>
              <a:t>: "While wind turbines are effective, they depend on consistent wind, so there may be times when there isn't enough wind to generate power. Additionally, they can be expensive to install and maintain."</a:t>
            </a:r>
            <a:endParaRPr lang="en-GB" noProof="0"/>
          </a:p>
          <a:p>
            <a:pPr marL="285750" indent="-285750">
              <a:lnSpc>
                <a:spcPct val="114999"/>
              </a:lnSpc>
              <a:buFont typeface="Arial"/>
              <a:buChar char="•"/>
            </a:pPr>
            <a:r>
              <a:rPr lang="en-GB" sz="1150" b="1" noProof="0">
                <a:solidFill>
                  <a:srgbClr val="FF0000"/>
                </a:solidFill>
              </a:rPr>
              <a:t>Environmental considerations</a:t>
            </a:r>
            <a:r>
              <a:rPr lang="en-GB" sz="1150" noProof="0">
                <a:solidFill>
                  <a:srgbClr val="FF0000"/>
                </a:solidFill>
              </a:rPr>
              <a:t>: "Turbines need to be placed in areas with good wind resources, and we must be careful not to disrupt local ecosystems or wildlife."</a:t>
            </a:r>
            <a:endParaRPr lang="en-GB" noProof="0"/>
          </a:p>
          <a:p>
            <a:pPr marL="0" indent="0">
              <a:lnSpc>
                <a:spcPct val="114999"/>
              </a:lnSpc>
            </a:pPr>
            <a:endParaRPr lang="en-GB" sz="1150" noProof="0">
              <a:solidFill>
                <a:srgbClr val="FF0000"/>
              </a:solidFill>
            </a:endParaRPr>
          </a:p>
          <a:p>
            <a:pPr marL="0" indent="0">
              <a:lnSpc>
                <a:spcPct val="114999"/>
              </a:lnSpc>
            </a:pPr>
            <a:endParaRPr lang="en-GB" sz="1150" noProof="0">
              <a:solidFill>
                <a:srgbClr val="FF0000"/>
              </a:solidFill>
            </a:endParaRPr>
          </a:p>
          <a:p>
            <a:pPr>
              <a:lnSpc>
                <a:spcPct val="114999"/>
              </a:lnSpc>
            </a:pPr>
            <a:endParaRPr lang="en-GB" sz="1150" b="1" noProof="0">
              <a:solidFill>
                <a:srgbClr val="FF0000"/>
              </a:solidFill>
            </a:endParaRPr>
          </a:p>
          <a:p>
            <a:pPr>
              <a:lnSpc>
                <a:spcPct val="114999"/>
              </a:lnSpc>
            </a:pPr>
            <a:endParaRPr lang="en-GB" sz="1150" b="1" noProof="0">
              <a:solidFill>
                <a:srgbClr val="333333"/>
              </a:solidFill>
            </a:endParaRPr>
          </a:p>
        </p:txBody>
      </p:sp>
    </p:spTree>
    <p:extLst>
      <p:ext uri="{BB962C8B-B14F-4D97-AF65-F5344CB8AC3E}">
        <p14:creationId xmlns:p14="http://schemas.microsoft.com/office/powerpoint/2010/main" val="3390966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22D3D-38D5-1D78-7ACF-55EE3A3F08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think-cell data - do not delete" hidden="1">
                        <a:extLst>
                          <a:ext uri="{FF2B5EF4-FFF2-40B4-BE49-F238E27FC236}">
                            <a16:creationId xmlns:a16="http://schemas.microsoft.com/office/drawing/2014/main" id="{28322D3D-38D5-1D78-7ACF-55EE3A3F0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81C61E71-754B-E79D-FAEF-B7D9E0483FDF}"/>
              </a:ext>
            </a:extLst>
          </p:cNvPr>
          <p:cNvSpPr>
            <a:spLocks noGrp="1"/>
          </p:cNvSpPr>
          <p:nvPr>
            <p:ph type="sldNum" sz="quarter" idx="4"/>
          </p:nvPr>
        </p:nvSpPr>
        <p:spPr/>
        <p:txBody>
          <a:bodyPr/>
          <a:lstStyle/>
          <a:p>
            <a:fld id="{DF7F771E-9578-4C04-B869-01AF4C35C90C}" type="slidenum">
              <a:rPr lang="en-GB" noProof="0" smtClean="0"/>
              <a:t>19</a:t>
            </a:fld>
            <a:endParaRPr lang="en-GB" noProof="0"/>
          </a:p>
        </p:txBody>
      </p:sp>
      <p:sp>
        <p:nvSpPr>
          <p:cNvPr id="11" name="Untertitel 3">
            <a:extLst>
              <a:ext uri="{FF2B5EF4-FFF2-40B4-BE49-F238E27FC236}">
                <a16:creationId xmlns:a16="http://schemas.microsoft.com/office/drawing/2014/main" id="{C5107335-C559-E6D1-CF82-CCF7C8E26BC5}"/>
              </a:ext>
            </a:extLst>
          </p:cNvPr>
          <p:cNvSpPr txBox="1">
            <a:spLocks/>
          </p:cNvSpPr>
          <p:nvPr/>
        </p:nvSpPr>
        <p:spPr>
          <a:xfrm>
            <a:off x="791774" y="1277938"/>
            <a:ext cx="5944510" cy="8008061"/>
          </a:xfrm>
          <a:prstGeom prst="rect">
            <a:avLst/>
          </a:prstGeom>
          <a:noFill/>
          <a:ln>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150" b="1" noProof="0"/>
              <a:t>Solution: </a:t>
            </a:r>
            <a:endParaRPr lang="en-GB" noProof="0"/>
          </a:p>
          <a:p>
            <a:pPr>
              <a:lnSpc>
                <a:spcPct val="114999"/>
              </a:lnSpc>
            </a:pPr>
            <a:r>
              <a:rPr lang="en-GB" sz="1150" b="1" noProof="0"/>
              <a:t>Write down – everyone your own – what are the arguments for your position?</a:t>
            </a:r>
          </a:p>
          <a:p>
            <a:pPr>
              <a:lnSpc>
                <a:spcPct val="114999"/>
              </a:lnSpc>
              <a:buClr>
                <a:srgbClr val="A15315"/>
              </a:buClr>
            </a:pPr>
            <a:endParaRPr lang="en-GB" sz="1150" noProof="0"/>
          </a:p>
          <a:p>
            <a:pPr>
              <a:lnSpc>
                <a:spcPct val="114999"/>
              </a:lnSpc>
            </a:pPr>
            <a:r>
              <a:rPr lang="en-GB" sz="1150" b="1" noProof="0">
                <a:solidFill>
                  <a:srgbClr val="FF0000"/>
                </a:solidFill>
              </a:rPr>
              <a:t>Student: Curious about how wind energy will affect jobs, the environment, and future opportunities</a:t>
            </a:r>
            <a:endParaRPr lang="en-GB" sz="1150" noProof="0">
              <a:solidFill>
                <a:srgbClr val="FF0000"/>
              </a:solidFill>
            </a:endParaRPr>
          </a:p>
          <a:p>
            <a:pPr marL="285750" indent="-285750">
              <a:lnSpc>
                <a:spcPct val="114999"/>
              </a:lnSpc>
              <a:buFont typeface="Arial"/>
              <a:buChar char="•"/>
            </a:pPr>
            <a:r>
              <a:rPr lang="en-GB" sz="1150" b="1" noProof="0">
                <a:solidFill>
                  <a:srgbClr val="FF0000"/>
                </a:solidFill>
              </a:rPr>
              <a:t>Job creation</a:t>
            </a:r>
            <a:r>
              <a:rPr lang="en-GB" sz="1150" noProof="0">
                <a:solidFill>
                  <a:srgbClr val="FF0000"/>
                </a:solidFill>
              </a:rPr>
              <a:t>: "Wind energy projects can create many new jobs, such as in the construction of wind turbines, maintenance, and energy production. This could help young people find stable work."</a:t>
            </a:r>
            <a:endParaRPr lang="en-GB" noProof="0"/>
          </a:p>
          <a:p>
            <a:pPr marL="285750" indent="-285750">
              <a:lnSpc>
                <a:spcPct val="114999"/>
              </a:lnSpc>
              <a:buFont typeface="Arial"/>
              <a:buChar char="•"/>
            </a:pPr>
            <a:r>
              <a:rPr lang="en-GB" sz="1150" b="1" noProof="0">
                <a:solidFill>
                  <a:srgbClr val="FF0000"/>
                </a:solidFill>
              </a:rPr>
              <a:t>Future opportunities</a:t>
            </a:r>
            <a:r>
              <a:rPr lang="en-GB" sz="1150" noProof="0">
                <a:solidFill>
                  <a:srgbClr val="FF0000"/>
                </a:solidFill>
              </a:rPr>
              <a:t>: "By developing wind energy, Ghana could become a leader in renewable energy in Africa, opening up opportunities for innovation and technological growth."</a:t>
            </a:r>
            <a:endParaRPr lang="en-GB" noProof="0"/>
          </a:p>
          <a:p>
            <a:pPr marL="285750" indent="-285750">
              <a:lnSpc>
                <a:spcPct val="114999"/>
              </a:lnSpc>
              <a:buFont typeface="Arial"/>
              <a:buChar char="•"/>
            </a:pPr>
            <a:r>
              <a:rPr lang="en-GB" sz="1150" b="1" noProof="0">
                <a:solidFill>
                  <a:srgbClr val="FF0000"/>
                </a:solidFill>
              </a:rPr>
              <a:t>Environmental impact</a:t>
            </a:r>
            <a:r>
              <a:rPr lang="en-GB" sz="1150" noProof="0">
                <a:solidFill>
                  <a:srgbClr val="FF0000"/>
                </a:solidFill>
              </a:rPr>
              <a:t>: "Wind energy is clean and doesn’t pollute the air, which is great for the environment, especially since we need to reduce emissions to combat climate change."</a:t>
            </a:r>
            <a:endParaRPr lang="en-GB" noProof="0"/>
          </a:p>
          <a:p>
            <a:pPr marL="285750" indent="-285750">
              <a:lnSpc>
                <a:spcPct val="114999"/>
              </a:lnSpc>
              <a:buFont typeface="Arial"/>
              <a:buChar char="•"/>
            </a:pPr>
            <a:r>
              <a:rPr lang="en-GB" sz="1150" b="1" noProof="0">
                <a:solidFill>
                  <a:srgbClr val="FF0000"/>
                </a:solidFill>
              </a:rPr>
              <a:t>Sustainable growth</a:t>
            </a:r>
            <a:r>
              <a:rPr lang="en-GB" sz="1150" noProof="0">
                <a:solidFill>
                  <a:srgbClr val="FF0000"/>
                </a:solidFill>
              </a:rPr>
              <a:t>: "Wind energy can provide a long-term, sustainable solution to Ghana's energy needs, helping future generations live in a cleaner, greener country."</a:t>
            </a:r>
            <a:endParaRPr lang="en-GB" noProof="0"/>
          </a:p>
          <a:p>
            <a:pPr>
              <a:lnSpc>
                <a:spcPct val="114999"/>
              </a:lnSpc>
            </a:pPr>
            <a:endParaRPr lang="en-GB" sz="1150" b="1" noProof="0">
              <a:solidFill>
                <a:srgbClr val="FF0000"/>
              </a:solidFill>
            </a:endParaRPr>
          </a:p>
          <a:p>
            <a:pPr>
              <a:lnSpc>
                <a:spcPct val="114999"/>
              </a:lnSpc>
            </a:pPr>
            <a:r>
              <a:rPr lang="en-GB" sz="1150" b="1" noProof="0">
                <a:solidFill>
                  <a:srgbClr val="FF0000"/>
                </a:solidFill>
              </a:rPr>
              <a:t>Environmentalist: Advocates for clean energy to combat climate change</a:t>
            </a:r>
          </a:p>
          <a:p>
            <a:pPr marL="285750" indent="-285750">
              <a:lnSpc>
                <a:spcPct val="114999"/>
              </a:lnSpc>
              <a:buFont typeface="Arial"/>
              <a:buChar char="•"/>
            </a:pPr>
            <a:r>
              <a:rPr lang="en-GB" sz="1150" b="1" noProof="0">
                <a:solidFill>
                  <a:srgbClr val="FF0000"/>
                </a:solidFill>
              </a:rPr>
              <a:t>Reduction of carbon emissions</a:t>
            </a:r>
            <a:r>
              <a:rPr lang="en-GB" sz="1150" noProof="0">
                <a:solidFill>
                  <a:srgbClr val="FF0000"/>
                </a:solidFill>
              </a:rPr>
              <a:t>: "Wind energy is a clean source of power that doesn’t release harmful carbon dioxide or other pollutants, making it essential for fighting climate change and reducing Ghana's carbon footprint."</a:t>
            </a:r>
            <a:endParaRPr lang="en-GB" noProof="0"/>
          </a:p>
          <a:p>
            <a:pPr marL="285750" indent="-285750">
              <a:lnSpc>
                <a:spcPct val="114999"/>
              </a:lnSpc>
              <a:buFont typeface="Arial"/>
              <a:buChar char="•"/>
            </a:pPr>
            <a:r>
              <a:rPr lang="en-GB" sz="1150" b="1" noProof="0">
                <a:solidFill>
                  <a:srgbClr val="FF0000"/>
                </a:solidFill>
              </a:rPr>
              <a:t>Sustainable energy source</a:t>
            </a:r>
            <a:r>
              <a:rPr lang="en-GB" sz="1150" noProof="0">
                <a:solidFill>
                  <a:srgbClr val="FF0000"/>
                </a:solidFill>
              </a:rPr>
              <a:t>: "Unlike fossil fuels, wind is a renewable resource that will never run out, ensuring a stable and sustainable energy future for Ghana and the planet."</a:t>
            </a:r>
            <a:endParaRPr lang="en-GB" noProof="0"/>
          </a:p>
          <a:p>
            <a:pPr marL="285750" indent="-285750">
              <a:lnSpc>
                <a:spcPct val="114999"/>
              </a:lnSpc>
              <a:buFont typeface="Arial"/>
              <a:buChar char="•"/>
            </a:pPr>
            <a:r>
              <a:rPr lang="en-GB" sz="1150" b="1" noProof="0">
                <a:solidFill>
                  <a:srgbClr val="FF0000"/>
                </a:solidFill>
              </a:rPr>
              <a:t>Biodiversity protection</a:t>
            </a:r>
            <a:r>
              <a:rPr lang="en-GB" sz="1150" noProof="0">
                <a:solidFill>
                  <a:srgbClr val="FF0000"/>
                </a:solidFill>
              </a:rPr>
              <a:t>: "Using wind energy helps protect ecosystems from the damage caused by mining or drilling for oil and gas, preserving local wildlife and habitats."</a:t>
            </a:r>
            <a:endParaRPr lang="en-GB" noProof="0"/>
          </a:p>
          <a:p>
            <a:pPr marL="285750" indent="-285750">
              <a:lnSpc>
                <a:spcPct val="114999"/>
              </a:lnSpc>
              <a:buFont typeface="Arial"/>
              <a:buChar char="•"/>
            </a:pPr>
            <a:r>
              <a:rPr lang="en-GB" sz="1150" b="1" noProof="0">
                <a:solidFill>
                  <a:srgbClr val="FF0000"/>
                </a:solidFill>
              </a:rPr>
              <a:t>Global leadership in climate action</a:t>
            </a:r>
            <a:r>
              <a:rPr lang="en-GB" sz="1150" noProof="0">
                <a:solidFill>
                  <a:srgbClr val="FF0000"/>
                </a:solidFill>
              </a:rPr>
              <a:t>: "By embracing wind energy, Ghana can set an example for other countries in Africa and the world, showing that developing nations can lead in the fight against climate change with renewable energy."</a:t>
            </a:r>
            <a:endParaRPr lang="en-GB" noProof="0"/>
          </a:p>
          <a:p>
            <a:pPr marL="0" indent="0">
              <a:lnSpc>
                <a:spcPct val="114999"/>
              </a:lnSpc>
              <a:buFont typeface="Arial"/>
            </a:pPr>
            <a:endParaRPr lang="en-GB" sz="1150" noProof="0">
              <a:solidFill>
                <a:srgbClr val="FF0000"/>
              </a:solidFill>
            </a:endParaRPr>
          </a:p>
          <a:p>
            <a:pPr marL="0" indent="0">
              <a:lnSpc>
                <a:spcPct val="114999"/>
              </a:lnSpc>
            </a:pPr>
            <a:endParaRPr lang="en-GB" sz="1150" noProof="0">
              <a:solidFill>
                <a:srgbClr val="FF0000"/>
              </a:solidFill>
            </a:endParaRPr>
          </a:p>
          <a:p>
            <a:pPr>
              <a:lnSpc>
                <a:spcPct val="114999"/>
              </a:lnSpc>
            </a:pPr>
            <a:endParaRPr lang="en-GB" sz="1150" b="1" noProof="0">
              <a:solidFill>
                <a:srgbClr val="FF0000"/>
              </a:solidFill>
            </a:endParaRPr>
          </a:p>
          <a:p>
            <a:pPr>
              <a:lnSpc>
                <a:spcPct val="114999"/>
              </a:lnSpc>
            </a:pPr>
            <a:endParaRPr lang="en-GB" sz="1150" b="1" noProof="0">
              <a:solidFill>
                <a:srgbClr val="333333"/>
              </a:solidFill>
            </a:endParaRPr>
          </a:p>
        </p:txBody>
      </p:sp>
    </p:spTree>
    <p:extLst>
      <p:ext uri="{BB962C8B-B14F-4D97-AF65-F5344CB8AC3E}">
        <p14:creationId xmlns:p14="http://schemas.microsoft.com/office/powerpoint/2010/main" val="4042999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83C659-69AB-762B-636C-EF30E13F66DE}"/>
              </a:ext>
            </a:extLst>
          </p:cNvPr>
          <p:cNvGraphicFramePr>
            <a:graphicFrameLocks noChangeAspect="1"/>
          </p:cNvGraphicFramePr>
          <p:nvPr>
            <p:custDataLst>
              <p:tags r:id="rId1"/>
            </p:custDataLst>
            <p:extLst>
              <p:ext uri="{D42A27DB-BD31-4B8C-83A1-F6EECF244321}">
                <p14:modId xmlns:p14="http://schemas.microsoft.com/office/powerpoint/2010/main" val="16913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7B83C659-69AB-762B-636C-EF30E13F6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en-GB" noProof="0" smtClean="0"/>
              <a:t>2</a:t>
            </a:fld>
            <a:endParaRPr lang="en-GB" noProof="0"/>
          </a:p>
        </p:txBody>
      </p:sp>
      <p:sp>
        <p:nvSpPr>
          <p:cNvPr id="6" name="Titel 1">
            <a:extLst>
              <a:ext uri="{FF2B5EF4-FFF2-40B4-BE49-F238E27FC236}">
                <a16:creationId xmlns:a16="http://schemas.microsoft.com/office/drawing/2014/main" id="{F7697B48-98C7-2D4D-028F-20A8A01892B8}"/>
              </a:ext>
            </a:extLst>
          </p:cNvPr>
          <p:cNvSpPr>
            <a:spLocks noGrp="1"/>
          </p:cNvSpPr>
          <p:nvPr>
            <p:ph type="title"/>
          </p:nvPr>
        </p:nvSpPr>
        <p:spPr>
          <a:xfrm>
            <a:off x="719137" y="1277937"/>
            <a:ext cx="6245288" cy="363231"/>
          </a:xfrm>
        </p:spPr>
        <p:txBody>
          <a:bodyPr vert="horz"/>
          <a:lstStyle/>
          <a:p>
            <a:r>
              <a:rPr lang="en-GB" noProof="0" dirty="0"/>
              <a:t>Introduction </a:t>
            </a:r>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19138" y="2326497"/>
            <a:ext cx="6194280" cy="688677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buSzPts val="1800"/>
            </a:pPr>
            <a:r>
              <a:rPr lang="en-GB" sz="1200" b="1" noProof="0" dirty="0">
                <a:solidFill>
                  <a:schemeClr val="accent2"/>
                </a:solidFill>
                <a:latin typeface="Epilogue"/>
                <a:sym typeface="Epilogue"/>
              </a:rPr>
              <a:t>Welcome to the world of wind!</a:t>
            </a:r>
            <a:endParaRPr lang="en-GB" sz="1200" noProof="0" dirty="0">
              <a:solidFill>
                <a:schemeClr val="accent2"/>
              </a:solidFill>
            </a:endParaRPr>
          </a:p>
          <a:p>
            <a:pPr marL="144000" indent="0">
              <a:lnSpc>
                <a:spcPct val="114999"/>
              </a:lnSpc>
              <a:buSzPts val="1800"/>
            </a:pPr>
            <a:r>
              <a:rPr lang="en-GB" sz="1200" noProof="0" dirty="0"/>
              <a:t>Imagine capturing the power of the wind to generate electricity. This is exactly what wind energy does. Wind energy is a clean, renewable source of power that uses wind turbines to convert the movement of air into electricity. In this workbook, you’ll explore the fascinating world of wind energy, learning how it works, its benefits, and its potential to transform our energy future.</a:t>
            </a:r>
          </a:p>
          <a:p>
            <a:pPr marL="144000" indent="0">
              <a:lnSpc>
                <a:spcPct val="114999"/>
              </a:lnSpc>
              <a:buSzPts val="1800"/>
            </a:pPr>
            <a:endParaRPr lang="en-GB" sz="1200" noProof="0" dirty="0"/>
          </a:p>
          <a:p>
            <a:pPr marL="144000" indent="0">
              <a:buSzPts val="1800"/>
            </a:pPr>
            <a:endParaRPr lang="en-GB" sz="1200" b="1" noProof="0" dirty="0">
              <a:latin typeface="Epilogue"/>
            </a:endParaRPr>
          </a:p>
          <a:p>
            <a:pPr marL="144000" indent="0">
              <a:buSzPts val="1800"/>
            </a:pPr>
            <a:r>
              <a:rPr lang="en-GB" sz="1200" b="1" noProof="0" dirty="0">
                <a:solidFill>
                  <a:schemeClr val="accent2"/>
                </a:solidFill>
                <a:latin typeface="Epilogue"/>
              </a:rPr>
              <a:t>Why study wind energy?</a:t>
            </a:r>
          </a:p>
          <a:p>
            <a:pPr marL="144000" indent="0">
              <a:lnSpc>
                <a:spcPct val="114999"/>
              </a:lnSpc>
            </a:pPr>
            <a:r>
              <a:rPr lang="en-GB" sz="1200" noProof="0" dirty="0"/>
              <a:t>As our world faces the challenges of climate change and limited fossil fuel resources, renewable energy sources like wind energy are becoming increasingly important. Studying wind energy helps us understand how we can reduce our carbon footprint and support a more sustainable way of living. By learning about wind energy, you’ll gain knowledge and skills essential for the future of our planet.</a:t>
            </a:r>
          </a:p>
          <a:p>
            <a:endParaRPr lang="en-GB" sz="1200" noProof="0" dirty="0"/>
          </a:p>
          <a:p>
            <a:pPr marL="144000" indent="0">
              <a:buSzPts val="1800"/>
            </a:pPr>
            <a:r>
              <a:rPr lang="en-GB" sz="1200" b="1" dirty="0">
                <a:solidFill>
                  <a:schemeClr val="accent2"/>
                </a:solidFill>
                <a:latin typeface="Epilogue"/>
              </a:rPr>
              <a:t>What will you learn?</a:t>
            </a:r>
          </a:p>
          <a:p>
            <a:pPr marL="144000" indent="0">
              <a:lnSpc>
                <a:spcPct val="114999"/>
              </a:lnSpc>
              <a:buSzPts val="1800"/>
            </a:pPr>
            <a:r>
              <a:rPr lang="en-GB" sz="1200" dirty="0"/>
              <a:t>In this workbook, you'll embark on an exciting journey through the science and technology of PV energy. Here are some of the key topics we'll cover:</a:t>
            </a:r>
          </a:p>
          <a:p>
            <a:pPr>
              <a:buFont typeface="Arial" panose="020B0604020202020204" pitchFamily="34" charset="0"/>
              <a:buChar char="•"/>
            </a:pPr>
            <a:r>
              <a:rPr lang="en-GB" sz="1200" noProof="0" dirty="0"/>
              <a:t>The basics of wind energy: Find out how locations differ in terms of wind speed and how you can find out about them. </a:t>
            </a:r>
          </a:p>
          <a:p>
            <a:pPr>
              <a:buFont typeface="Arial" panose="020B0604020202020204" pitchFamily="34" charset="0"/>
              <a:buChar char="•"/>
            </a:pPr>
            <a:r>
              <a:rPr lang="en-GB" sz="1200" noProof="0" dirty="0"/>
              <a:t>Get to know the numbers: Measuring and working with wind</a:t>
            </a:r>
          </a:p>
          <a:p>
            <a:pPr>
              <a:lnSpc>
                <a:spcPct val="114999"/>
              </a:lnSpc>
              <a:buFont typeface="Arial" panose="020B0604020202020204" pitchFamily="34" charset="0"/>
              <a:buChar char="•"/>
            </a:pPr>
            <a:r>
              <a:rPr lang="en-GB" sz="1200" noProof="0" dirty="0"/>
              <a:t>Get your hands dirty: Build </a:t>
            </a:r>
            <a:r>
              <a:rPr lang="en-GB" sz="1200" dirty="0"/>
              <a:t>a</a:t>
            </a:r>
            <a:r>
              <a:rPr lang="en-GB" sz="1200" noProof="0" dirty="0" err="1"/>
              <a:t>irfoils</a:t>
            </a:r>
            <a:r>
              <a:rPr lang="en-GB" sz="1200" noProof="0" dirty="0"/>
              <a:t> by your own and learn what factors influence the output power of wind.</a:t>
            </a:r>
          </a:p>
          <a:p>
            <a:pPr>
              <a:buFont typeface="Arial" panose="020B0604020202020204" pitchFamily="34" charset="0"/>
              <a:buChar char="•"/>
            </a:pPr>
            <a:r>
              <a:rPr lang="en-GB" sz="1200" noProof="0" dirty="0"/>
              <a:t>Ending with a big bang! Build together your own wind turbine and make measurements, calculations, experiments and much more!</a:t>
            </a:r>
          </a:p>
          <a:p>
            <a:pPr>
              <a:lnSpc>
                <a:spcPct val="114999"/>
              </a:lnSpc>
              <a:buFont typeface="Arial" panose="020B0604020202020204" pitchFamily="34" charset="0"/>
              <a:buChar char="•"/>
            </a:pPr>
            <a:endParaRPr lang="en-GB" sz="1200" noProof="0" dirty="0"/>
          </a:p>
          <a:p>
            <a:pPr marL="144000" indent="0">
              <a:buSzPts val="1800"/>
            </a:pPr>
            <a:r>
              <a:rPr lang="en-GB" sz="1200" b="1" dirty="0">
                <a:solidFill>
                  <a:schemeClr val="accent2"/>
                </a:solidFill>
                <a:latin typeface="Epilogue"/>
              </a:rPr>
              <a:t>How to use this workbook</a:t>
            </a:r>
          </a:p>
          <a:p>
            <a:pPr marL="144000" indent="0">
              <a:lnSpc>
                <a:spcPct val="114999"/>
              </a:lnSpc>
            </a:pPr>
            <a:r>
              <a:rPr lang="en-GB" sz="1200" dirty="0"/>
              <a:t>This workbook is designed to be interactive and engaging. Each section includes experiments, explanations and exercises to help you understand and apply the concepts of wind energy.</a:t>
            </a:r>
          </a:p>
        </p:txBody>
      </p:sp>
      <p:pic>
        <p:nvPicPr>
          <p:cNvPr id="4" name="Grafik 3" descr="Ein Bild, das Karte, Text, Kreis, Logo enthält.&#10;&#10;KI-generierte Inhalte können fehlerhaft sein.">
            <a:extLst>
              <a:ext uri="{FF2B5EF4-FFF2-40B4-BE49-F238E27FC236}">
                <a16:creationId xmlns:a16="http://schemas.microsoft.com/office/drawing/2014/main" id="{5CEB3422-6D8F-5731-67AB-25BB06600B2D}"/>
              </a:ext>
            </a:extLst>
          </p:cNvPr>
          <p:cNvPicPr>
            <a:picLocks noChangeAspect="1"/>
          </p:cNvPicPr>
          <p:nvPr/>
        </p:nvPicPr>
        <p:blipFill>
          <a:blip r:embed="rId5"/>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1608053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1CA8DD-7221-E584-326A-CB927924201E}"/>
              </a:ext>
            </a:extLst>
          </p:cNvPr>
          <p:cNvGraphicFramePr>
            <a:graphicFrameLocks noChangeAspect="1"/>
          </p:cNvGraphicFramePr>
          <p:nvPr>
            <p:custDataLst>
              <p:tags r:id="rId1"/>
            </p:custDataLst>
            <p:extLst>
              <p:ext uri="{D42A27DB-BD31-4B8C-83A1-F6EECF244321}">
                <p14:modId xmlns:p14="http://schemas.microsoft.com/office/powerpoint/2010/main" val="316508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think-cell data - do not delete" hidden="1">
                        <a:extLst>
                          <a:ext uri="{FF2B5EF4-FFF2-40B4-BE49-F238E27FC236}">
                            <a16:creationId xmlns:a16="http://schemas.microsoft.com/office/drawing/2014/main" id="{4A1CA8DD-7221-E584-326A-CB92792420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 name="Grafik 1" descr="Ein Bild, das Text, Grafiken, Logo, Screenshot enthält.&#10;&#10;Automatisch generierte Beschreibung">
            <a:extLst>
              <a:ext uri="{FF2B5EF4-FFF2-40B4-BE49-F238E27FC236}">
                <a16:creationId xmlns:a16="http://schemas.microsoft.com/office/drawing/2014/main" id="{623C9272-E5F8-EECD-5A93-C8E532BFE0E2}"/>
              </a:ext>
            </a:extLst>
          </p:cNvPr>
          <p:cNvPicPr>
            <a:picLocks noChangeAspect="1"/>
          </p:cNvPicPr>
          <p:nvPr/>
        </p:nvPicPr>
        <p:blipFill rotWithShape="1">
          <a:blip r:embed="rId6"/>
          <a:srcRect l="4330" t="5503" r="74884" b="75526"/>
          <a:stretch/>
        </p:blipFill>
        <p:spPr>
          <a:xfrm>
            <a:off x="736073" y="4714047"/>
            <a:ext cx="1696255" cy="1696255"/>
          </a:xfrm>
          <a:prstGeom prst="ellipse">
            <a:avLst/>
          </a:prstGeom>
        </p:spPr>
      </p:pic>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lang="en-GB" sz="1488" noProof="0"/>
          </a:p>
        </p:txBody>
      </p:sp>
      <p:sp>
        <p:nvSpPr>
          <p:cNvPr id="326" name="Google Shape;326;p24"/>
          <p:cNvSpPr txBox="1">
            <a:spLocks noGrp="1"/>
          </p:cNvSpPr>
          <p:nvPr>
            <p:ph type="ctrTitle"/>
          </p:nvPr>
        </p:nvSpPr>
        <p:spPr>
          <a:xfrm>
            <a:off x="2753754" y="4027559"/>
            <a:ext cx="4216106" cy="1870573"/>
          </a:xfrm>
          <a:prstGeom prst="rect">
            <a:avLst/>
          </a:prstGeom>
        </p:spPr>
        <p:txBody>
          <a:bodyPr spcFirstLastPara="1" wrap="square" lIns="75584" tIns="75584" rIns="75584" bIns="75584" anchor="b" anchorCtr="0">
            <a:noAutofit/>
          </a:bodyPr>
          <a:lstStyle/>
          <a:p>
            <a:r>
              <a:rPr lang="en-GB" sz="3450" noProof="0"/>
              <a:t>Wind Energy  Education HUB</a:t>
            </a:r>
          </a:p>
          <a:p>
            <a:r>
              <a:rPr lang="en-GB" sz="3450" b="0" noProof="0"/>
              <a:t>Chapter 2</a:t>
            </a:r>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Google Shape;327;p24">
            <a:extLst>
              <a:ext uri="{FF2B5EF4-FFF2-40B4-BE49-F238E27FC236}">
                <a16:creationId xmlns:a16="http://schemas.microsoft.com/office/drawing/2014/main" id="{AF8A9881-9AFE-21B0-C166-37DE4B084308}"/>
              </a:ext>
            </a:extLst>
          </p:cNvPr>
          <p:cNvSpPr txBox="1">
            <a:spLocks noGrp="1"/>
          </p:cNvSpPr>
          <p:nvPr>
            <p:ph type="subTitle" idx="1"/>
          </p:nvPr>
        </p:nvSpPr>
        <p:spPr>
          <a:xfrm>
            <a:off x="2753754" y="5858139"/>
            <a:ext cx="4216106" cy="878220"/>
          </a:xfrm>
          <a:prstGeom prst="rect">
            <a:avLst/>
          </a:prstGeom>
          <a:solidFill>
            <a:schemeClr val="tx2">
              <a:lumMod val="60000"/>
              <a:lumOff val="40000"/>
            </a:schemeClr>
          </a:solidFill>
          <a:ln>
            <a:noFill/>
          </a:ln>
        </p:spPr>
        <p:txBody>
          <a:bodyPr spcFirstLastPara="1" wrap="square" lIns="75584" tIns="75584" rIns="75584" bIns="75584" anchor="ctr" anchorCtr="0">
            <a:noAutofit/>
          </a:bodyPr>
          <a:lstStyle/>
          <a:p>
            <a:pPr marL="0" indent="0"/>
            <a:r>
              <a:rPr lang="en-GB" sz="2800" b="1" noProof="0"/>
              <a:t>Measuring and working with wind</a:t>
            </a:r>
          </a:p>
        </p:txBody>
      </p:sp>
    </p:spTree>
    <p:extLst>
      <p:ext uri="{BB962C8B-B14F-4D97-AF65-F5344CB8AC3E}">
        <p14:creationId xmlns:p14="http://schemas.microsoft.com/office/powerpoint/2010/main" val="1558425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en-GB" noProof="0" smtClean="0"/>
              <a:t>21</a:t>
            </a:fld>
            <a:endParaRPr lang="en-GB" noProof="0"/>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719138" y="1277938"/>
            <a:ext cx="6703908" cy="519708"/>
          </a:xfrm>
        </p:spPr>
        <p:txBody>
          <a:bodyPr/>
          <a:lstStyle/>
          <a:p>
            <a:r>
              <a:rPr lang="en-GB" noProof="0" dirty="0"/>
              <a:t>Measuring and working with wind</a:t>
            </a:r>
          </a:p>
        </p:txBody>
      </p:sp>
      <p:sp>
        <p:nvSpPr>
          <p:cNvPr id="13" name="Untertitel 3">
            <a:extLst>
              <a:ext uri="{FF2B5EF4-FFF2-40B4-BE49-F238E27FC236}">
                <a16:creationId xmlns:a16="http://schemas.microsoft.com/office/drawing/2014/main" id="{37B1975D-5314-EF92-0D9E-E2A606B471A6}"/>
              </a:ext>
            </a:extLst>
          </p:cNvPr>
          <p:cNvSpPr txBox="1">
            <a:spLocks/>
          </p:cNvSpPr>
          <p:nvPr/>
        </p:nvSpPr>
        <p:spPr>
          <a:xfrm>
            <a:off x="713442" y="2048761"/>
            <a:ext cx="5470221" cy="147818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noProof="0" dirty="0"/>
              <a:t>In this chapter, you will learn about:</a:t>
            </a:r>
          </a:p>
          <a:p>
            <a:pPr algn="just">
              <a:buFont typeface="Arial" panose="020B0604020202020204" pitchFamily="34" charset="0"/>
              <a:buChar char="•"/>
            </a:pPr>
            <a:r>
              <a:rPr lang="en-GB" sz="1200" noProof="0" dirty="0"/>
              <a:t>How wind speed is measured</a:t>
            </a:r>
          </a:p>
          <a:p>
            <a:pPr algn="just">
              <a:lnSpc>
                <a:spcPct val="114999"/>
              </a:lnSpc>
              <a:buFont typeface="Arial" panose="020B0604020202020204" pitchFamily="34" charset="0"/>
              <a:buChar char="•"/>
            </a:pPr>
            <a:r>
              <a:rPr lang="en-GB" sz="1200" noProof="0" dirty="0"/>
              <a:t>How wind does work</a:t>
            </a:r>
          </a:p>
          <a:p>
            <a:pPr algn="just">
              <a:lnSpc>
                <a:spcPct val="114999"/>
              </a:lnSpc>
              <a:buFont typeface="Arial" panose="020B0604020202020204" pitchFamily="34" charset="0"/>
              <a:buChar char="•"/>
            </a:pPr>
            <a:r>
              <a:rPr lang="en-GB" sz="1200" noProof="0" dirty="0"/>
              <a:t>Concepts of wind turbines</a:t>
            </a:r>
          </a:p>
          <a:p>
            <a:pPr algn="just">
              <a:lnSpc>
                <a:spcPct val="114999"/>
              </a:lnSpc>
              <a:buFont typeface="Arial" panose="020B0604020202020204" pitchFamily="34" charset="0"/>
              <a:buChar char="•"/>
            </a:pPr>
            <a:r>
              <a:rPr lang="en-GB" sz="1200" noProof="0" dirty="0"/>
              <a:t>Effects of wind conditions on energy generation</a:t>
            </a:r>
          </a:p>
        </p:txBody>
      </p:sp>
      <p:sp>
        <p:nvSpPr>
          <p:cNvPr id="14" name="Untertitel 3">
            <a:extLst>
              <a:ext uri="{FF2B5EF4-FFF2-40B4-BE49-F238E27FC236}">
                <a16:creationId xmlns:a16="http://schemas.microsoft.com/office/drawing/2014/main" id="{70D8283B-838F-7304-E20E-E3F94B3F6925}"/>
              </a:ext>
            </a:extLst>
          </p:cNvPr>
          <p:cNvSpPr txBox="1">
            <a:spLocks/>
          </p:cNvSpPr>
          <p:nvPr/>
        </p:nvSpPr>
        <p:spPr>
          <a:xfrm>
            <a:off x="748280" y="4039701"/>
            <a:ext cx="5892148" cy="175266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noProof="0" dirty="0"/>
              <a:t>At the end of this chapter, you will:</a:t>
            </a:r>
          </a:p>
          <a:p>
            <a:pPr algn="just">
              <a:buFont typeface="+mj-lt"/>
              <a:buAutoNum type="arabicPeriod"/>
            </a:pPr>
            <a:r>
              <a:rPr lang="en-GB" sz="1200" noProof="0" dirty="0"/>
              <a:t>Understand the importance of measuring wind speed and how it impacts energy generation.</a:t>
            </a:r>
          </a:p>
          <a:p>
            <a:pPr algn="just">
              <a:lnSpc>
                <a:spcPct val="114999"/>
              </a:lnSpc>
              <a:buAutoNum type="arabicPeriod"/>
            </a:pPr>
            <a:r>
              <a:rPr lang="en-GB" sz="1200" noProof="0" dirty="0"/>
              <a:t>Build and use a basic anemometer to measure wind speed in various locations.</a:t>
            </a:r>
          </a:p>
          <a:p>
            <a:pPr algn="just">
              <a:lnSpc>
                <a:spcPct val="114999"/>
              </a:lnSpc>
              <a:buAutoNum type="arabicPeriod"/>
            </a:pPr>
            <a:r>
              <a:rPr lang="en-GB" sz="1200" noProof="0" dirty="0"/>
              <a:t>Explore the concept of wind doing work through practical experiments.</a:t>
            </a:r>
          </a:p>
          <a:p>
            <a:pPr algn="just">
              <a:lnSpc>
                <a:spcPct val="114999"/>
              </a:lnSpc>
              <a:buAutoNum type="arabicPeriod"/>
            </a:pPr>
            <a:r>
              <a:rPr lang="en-GB" sz="1200" noProof="0" dirty="0" err="1"/>
              <a:t>Analyze</a:t>
            </a:r>
            <a:r>
              <a:rPr lang="en-GB" sz="1200" noProof="0" dirty="0"/>
              <a:t> the effects of turbulence and storm conditions on wind energy generation.</a:t>
            </a:r>
          </a:p>
          <a:p>
            <a:pPr algn="just">
              <a:lnSpc>
                <a:spcPct val="114999"/>
              </a:lnSpc>
              <a:buAutoNum type="arabicPeriod"/>
            </a:pPr>
            <a:r>
              <a:rPr lang="en-GB" sz="1200" noProof="0" dirty="0"/>
              <a:t>Gain insights into the role of gearboxes and how turbines convert wind into usable electricity.</a:t>
            </a:r>
          </a:p>
          <a:p>
            <a:pPr algn="just">
              <a:lnSpc>
                <a:spcPct val="114999"/>
              </a:lnSpc>
              <a:buAutoNum type="arabicPeriod"/>
            </a:pPr>
            <a:endParaRPr lang="en-GB" sz="1200" noProof="0" dirty="0"/>
          </a:p>
        </p:txBody>
      </p:sp>
      <p:sp>
        <p:nvSpPr>
          <p:cNvPr id="15" name="Untertitel 5">
            <a:extLst>
              <a:ext uri="{FF2B5EF4-FFF2-40B4-BE49-F238E27FC236}">
                <a16:creationId xmlns:a16="http://schemas.microsoft.com/office/drawing/2014/main" id="{D11F5D38-E76B-2625-D4C9-29A036A7C2F9}"/>
              </a:ext>
            </a:extLst>
          </p:cNvPr>
          <p:cNvSpPr txBox="1">
            <a:spLocks/>
          </p:cNvSpPr>
          <p:nvPr/>
        </p:nvSpPr>
        <p:spPr>
          <a:xfrm>
            <a:off x="748280" y="352694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rgbClr val="315544"/>
                </a:solidFill>
              </a:rPr>
              <a:t>Learning objectives</a:t>
            </a:r>
          </a:p>
        </p:txBody>
      </p:sp>
    </p:spTree>
    <p:extLst>
      <p:ext uri="{BB962C8B-B14F-4D97-AF65-F5344CB8AC3E}">
        <p14:creationId xmlns:p14="http://schemas.microsoft.com/office/powerpoint/2010/main" val="11268505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22</a:t>
            </a:fld>
            <a:endParaRPr lang="en-GB" noProof="0"/>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720305" y="1285239"/>
            <a:ext cx="6380336" cy="672245"/>
          </a:xfrm>
        </p:spPr>
        <p:txBody>
          <a:bodyPr/>
          <a:lstStyle/>
          <a:p>
            <a:r>
              <a:rPr lang="en-GB" noProof="0"/>
              <a:t>1. Making a paper </a:t>
            </a:r>
            <a:r>
              <a:rPr lang="en-GB" noProof="0" err="1"/>
              <a:t>windrose</a:t>
            </a:r>
            <a:endParaRPr lang="en-GB" noProof="0"/>
          </a:p>
        </p:txBody>
      </p:sp>
      <p:sp>
        <p:nvSpPr>
          <p:cNvPr id="5" name="Untertitel 5">
            <a:extLst>
              <a:ext uri="{FF2B5EF4-FFF2-40B4-BE49-F238E27FC236}">
                <a16:creationId xmlns:a16="http://schemas.microsoft.com/office/drawing/2014/main" id="{E6634E1F-ED4E-EBC3-8C25-332130472F39}"/>
              </a:ext>
            </a:extLst>
          </p:cNvPr>
          <p:cNvSpPr txBox="1">
            <a:spLocks/>
          </p:cNvSpPr>
          <p:nvPr/>
        </p:nvSpPr>
        <p:spPr>
          <a:xfrm>
            <a:off x="1128025" y="219370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Activity</a:t>
            </a:r>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660085" y="4429795"/>
            <a:ext cx="6097902" cy="25469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make your own wind rose:</a:t>
            </a:r>
          </a:p>
          <a:p>
            <a:pPr algn="just"/>
            <a:endParaRPr lang="en-GB" sz="1200" b="1" noProof="0" dirty="0"/>
          </a:p>
          <a:p>
            <a:pPr algn="just">
              <a:buFont typeface="+mj-lt"/>
              <a:buAutoNum type="arabicPeriod"/>
            </a:pPr>
            <a:r>
              <a:rPr lang="en-GB" sz="1200" noProof="0" dirty="0"/>
              <a:t>Cut out the square shown on the next page.</a:t>
            </a:r>
          </a:p>
          <a:p>
            <a:pPr algn="just">
              <a:buFont typeface="+mj-lt"/>
              <a:buAutoNum type="arabicPeriod"/>
            </a:pPr>
            <a:r>
              <a:rPr lang="en-GB" sz="1200" noProof="0" dirty="0"/>
              <a:t>Cut diagonally along the dotted lines until you reach the circle and then stop. Do not cut out the circle; leave it as it is.</a:t>
            </a:r>
          </a:p>
          <a:p>
            <a:pPr algn="just">
              <a:buFont typeface="+mj-lt"/>
              <a:buAutoNum type="arabicPeriod"/>
            </a:pPr>
            <a:r>
              <a:rPr lang="en-GB" sz="1200" noProof="0" dirty="0"/>
              <a:t>Place the corners in the </a:t>
            </a:r>
            <a:r>
              <a:rPr lang="en-GB" sz="1200" noProof="0" dirty="0" err="1"/>
              <a:t>center</a:t>
            </a:r>
            <a:r>
              <a:rPr lang="en-GB" sz="1200" noProof="0" dirty="0"/>
              <a:t>, one by one, as shown in the first and second picture.</a:t>
            </a:r>
          </a:p>
          <a:p>
            <a:pPr algn="just">
              <a:buFont typeface="+mj-lt"/>
              <a:buAutoNum type="arabicPeriod"/>
            </a:pPr>
            <a:r>
              <a:rPr lang="en-GB" sz="1200" noProof="0" dirty="0"/>
              <a:t>Take a straw and push it through the </a:t>
            </a:r>
            <a:r>
              <a:rPr lang="en-GB" sz="1200" noProof="0" dirty="0" err="1"/>
              <a:t>center</a:t>
            </a:r>
            <a:r>
              <a:rPr lang="en-GB" sz="1200" noProof="0" dirty="0"/>
              <a:t> of the compass rose, as shown in the third picture.</a:t>
            </a:r>
          </a:p>
          <a:p>
            <a:pPr algn="just">
              <a:buFont typeface="+mj-lt"/>
              <a:buAutoNum type="arabicPeriod"/>
            </a:pPr>
            <a:r>
              <a:rPr lang="en-GB" sz="1200" noProof="0" dirty="0"/>
              <a:t>Turn the paper cup upside down and attach the stick to the top of the cup using the adhesive tape, as shown in the fourth illustration. </a:t>
            </a:r>
          </a:p>
        </p:txBody>
      </p:sp>
      <p:sp>
        <p:nvSpPr>
          <p:cNvPr id="8" name="Ellipse 7">
            <a:extLst>
              <a:ext uri="{FF2B5EF4-FFF2-40B4-BE49-F238E27FC236}">
                <a16:creationId xmlns:a16="http://schemas.microsoft.com/office/drawing/2014/main" id="{F309E364-4510-6EA0-B942-89FF1547896D}"/>
              </a:ext>
            </a:extLst>
          </p:cNvPr>
          <p:cNvSpPr>
            <a:spLocks noChangeAspect="1"/>
          </p:cNvSpPr>
          <p:nvPr/>
        </p:nvSpPr>
        <p:spPr>
          <a:xfrm>
            <a:off x="697798" y="2113367"/>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1" name="Grafik 30" descr="Lupe mit einfarbiger Füllung">
            <a:extLst>
              <a:ext uri="{FF2B5EF4-FFF2-40B4-BE49-F238E27FC236}">
                <a16:creationId xmlns:a16="http://schemas.microsoft.com/office/drawing/2014/main" id="{26E19198-3DC9-0B46-7676-34A8E0CE74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639" y="2195999"/>
            <a:ext cx="333865" cy="333865"/>
          </a:xfrm>
          <a:prstGeom prst="rect">
            <a:avLst/>
          </a:prstGeom>
        </p:spPr>
      </p:pic>
      <p:sp>
        <p:nvSpPr>
          <p:cNvPr id="9" name="Rechteck 8">
            <a:extLst>
              <a:ext uri="{FF2B5EF4-FFF2-40B4-BE49-F238E27FC236}">
                <a16:creationId xmlns:a16="http://schemas.microsoft.com/office/drawing/2014/main" id="{4D387D8D-F8F0-B2EA-4880-22E503CFD85E}"/>
              </a:ext>
            </a:extLst>
          </p:cNvPr>
          <p:cNvSpPr/>
          <p:nvPr/>
        </p:nvSpPr>
        <p:spPr>
          <a:xfrm>
            <a:off x="729094" y="3024260"/>
            <a:ext cx="6028893" cy="1080708"/>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Untertitel 2">
            <a:extLst>
              <a:ext uri="{FF2B5EF4-FFF2-40B4-BE49-F238E27FC236}">
                <a16:creationId xmlns:a16="http://schemas.microsoft.com/office/drawing/2014/main" id="{7DBB0F79-1DB5-6396-A5C4-0BBE18530FCE}"/>
              </a:ext>
            </a:extLst>
          </p:cNvPr>
          <p:cNvSpPr txBox="1">
            <a:spLocks/>
          </p:cNvSpPr>
          <p:nvPr/>
        </p:nvSpPr>
        <p:spPr>
          <a:xfrm>
            <a:off x="1075653" y="3391889"/>
            <a:ext cx="2667887"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a:t>Scissors</a:t>
            </a:r>
          </a:p>
          <a:p>
            <a:pPr marL="285750" indent="-285750">
              <a:lnSpc>
                <a:spcPct val="114999"/>
              </a:lnSpc>
              <a:buClr>
                <a:schemeClr val="accent2"/>
              </a:buClr>
              <a:buFont typeface="Arial,Sans-Serif"/>
              <a:buChar char="•"/>
            </a:pPr>
            <a:r>
              <a:rPr lang="en-GB" sz="1200" noProof="0"/>
              <a:t>Paper cup</a:t>
            </a:r>
          </a:p>
        </p:txBody>
      </p:sp>
      <p:sp>
        <p:nvSpPr>
          <p:cNvPr id="12" name="Untertitel 5">
            <a:extLst>
              <a:ext uri="{FF2B5EF4-FFF2-40B4-BE49-F238E27FC236}">
                <a16:creationId xmlns:a16="http://schemas.microsoft.com/office/drawing/2014/main" id="{84E00281-1DB3-8406-67D3-458AB6C1B5BB}"/>
              </a:ext>
            </a:extLst>
          </p:cNvPr>
          <p:cNvSpPr txBox="1">
            <a:spLocks/>
          </p:cNvSpPr>
          <p:nvPr/>
        </p:nvSpPr>
        <p:spPr>
          <a:xfrm>
            <a:off x="896027" y="305291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ctivity</a:t>
            </a:r>
            <a:endParaRPr lang="en-GB" noProof="0"/>
          </a:p>
        </p:txBody>
      </p:sp>
      <p:grpSp>
        <p:nvGrpSpPr>
          <p:cNvPr id="13" name="Gruppieren 12">
            <a:extLst>
              <a:ext uri="{FF2B5EF4-FFF2-40B4-BE49-F238E27FC236}">
                <a16:creationId xmlns:a16="http://schemas.microsoft.com/office/drawing/2014/main" id="{7C32F558-D4D0-0AA6-34AE-3BB25B83D758}"/>
              </a:ext>
            </a:extLst>
          </p:cNvPr>
          <p:cNvGrpSpPr/>
          <p:nvPr/>
        </p:nvGrpSpPr>
        <p:grpSpPr>
          <a:xfrm>
            <a:off x="6445483" y="2741538"/>
            <a:ext cx="402475" cy="419630"/>
            <a:chOff x="6140368" y="3097011"/>
            <a:chExt cx="660145" cy="660145"/>
          </a:xfrm>
        </p:grpSpPr>
        <p:sp>
          <p:nvSpPr>
            <p:cNvPr id="14" name="Ellipse 13">
              <a:extLst>
                <a:ext uri="{FF2B5EF4-FFF2-40B4-BE49-F238E27FC236}">
                  <a16:creationId xmlns:a16="http://schemas.microsoft.com/office/drawing/2014/main" id="{9AE67AD9-2475-54E7-E445-930727BA3A9A}"/>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15" name="Grafik 14" descr="Inventar mit einfarbiger Füllung">
              <a:extLst>
                <a:ext uri="{FF2B5EF4-FFF2-40B4-BE49-F238E27FC236}">
                  <a16:creationId xmlns:a16="http://schemas.microsoft.com/office/drawing/2014/main" id="{118A3117-FB1C-93EB-F629-2020DD46AB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
        <p:nvSpPr>
          <p:cNvPr id="2" name="Untertitel 2">
            <a:extLst>
              <a:ext uri="{FF2B5EF4-FFF2-40B4-BE49-F238E27FC236}">
                <a16:creationId xmlns:a16="http://schemas.microsoft.com/office/drawing/2014/main" id="{F0B2C064-86E3-B316-5126-29978F8DC037}"/>
              </a:ext>
            </a:extLst>
          </p:cNvPr>
          <p:cNvSpPr txBox="1">
            <a:spLocks/>
          </p:cNvSpPr>
          <p:nvPr/>
        </p:nvSpPr>
        <p:spPr>
          <a:xfrm>
            <a:off x="3910473" y="3423725"/>
            <a:ext cx="1992211" cy="5321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a:t>Tape</a:t>
            </a:r>
          </a:p>
          <a:p>
            <a:pPr marL="285750" indent="-285750">
              <a:lnSpc>
                <a:spcPct val="114999"/>
              </a:lnSpc>
              <a:buClr>
                <a:schemeClr val="accent2"/>
              </a:buClr>
              <a:buFont typeface="Arial,Sans-Serif"/>
              <a:buChar char="•"/>
            </a:pPr>
            <a:r>
              <a:rPr lang="en-GB" sz="1200" noProof="0"/>
              <a:t>Straw</a:t>
            </a:r>
          </a:p>
        </p:txBody>
      </p:sp>
      <p:pic>
        <p:nvPicPr>
          <p:cNvPr id="23" name="Picture 22">
            <a:extLst>
              <a:ext uri="{FF2B5EF4-FFF2-40B4-BE49-F238E27FC236}">
                <a16:creationId xmlns:a16="http://schemas.microsoft.com/office/drawing/2014/main" id="{3117D22C-717C-D581-6F65-C4D015D8C450}"/>
              </a:ext>
            </a:extLst>
          </p:cNvPr>
          <p:cNvPicPr>
            <a:picLocks noChangeAspect="1"/>
          </p:cNvPicPr>
          <p:nvPr/>
        </p:nvPicPr>
        <p:blipFill>
          <a:blip r:embed="rId7"/>
          <a:stretch>
            <a:fillRect/>
          </a:stretch>
        </p:blipFill>
        <p:spPr>
          <a:xfrm>
            <a:off x="703468" y="7231448"/>
            <a:ext cx="1451097" cy="1673989"/>
          </a:xfrm>
          <a:prstGeom prst="rect">
            <a:avLst/>
          </a:prstGeom>
        </p:spPr>
      </p:pic>
      <p:pic>
        <p:nvPicPr>
          <p:cNvPr id="16" name="Picture 15" descr="A white paper windmill on a wooden surface&#10;&#10;Description automatically generated">
            <a:extLst>
              <a:ext uri="{FF2B5EF4-FFF2-40B4-BE49-F238E27FC236}">
                <a16:creationId xmlns:a16="http://schemas.microsoft.com/office/drawing/2014/main" id="{09425A0D-C9DC-AFB6-F17E-FC04F885DDB5}"/>
              </a:ext>
            </a:extLst>
          </p:cNvPr>
          <p:cNvPicPr>
            <a:picLocks noChangeAspect="1"/>
          </p:cNvPicPr>
          <p:nvPr/>
        </p:nvPicPr>
        <p:blipFill>
          <a:blip r:embed="rId8"/>
          <a:srcRect l="12050" t="22299" b="16690"/>
          <a:stretch/>
        </p:blipFill>
        <p:spPr>
          <a:xfrm>
            <a:off x="2256205" y="7221720"/>
            <a:ext cx="1810435" cy="1674517"/>
          </a:xfrm>
          <a:prstGeom prst="rect">
            <a:avLst/>
          </a:prstGeom>
        </p:spPr>
      </p:pic>
      <p:pic>
        <p:nvPicPr>
          <p:cNvPr id="19" name="Picture 18" descr="A person holding a pinwheel&#10;&#10;Description automatically generated">
            <a:extLst>
              <a:ext uri="{FF2B5EF4-FFF2-40B4-BE49-F238E27FC236}">
                <a16:creationId xmlns:a16="http://schemas.microsoft.com/office/drawing/2014/main" id="{C1528234-127B-F4D8-BB1E-530F5388DAEE}"/>
              </a:ext>
            </a:extLst>
          </p:cNvPr>
          <p:cNvPicPr>
            <a:picLocks noChangeAspect="1"/>
          </p:cNvPicPr>
          <p:nvPr/>
        </p:nvPicPr>
        <p:blipFill>
          <a:blip r:embed="rId9"/>
          <a:srcRect l="19282" t="7215" r="13576" b="38727"/>
          <a:stretch/>
        </p:blipFill>
        <p:spPr>
          <a:xfrm>
            <a:off x="4168280" y="7231448"/>
            <a:ext cx="1137374" cy="1674518"/>
          </a:xfrm>
          <a:prstGeom prst="rect">
            <a:avLst/>
          </a:prstGeom>
        </p:spPr>
      </p:pic>
      <p:pic>
        <p:nvPicPr>
          <p:cNvPr id="22" name="Picture 21" descr="A paper windmill on a stick&#10;&#10;Description automatically generated">
            <a:extLst>
              <a:ext uri="{FF2B5EF4-FFF2-40B4-BE49-F238E27FC236}">
                <a16:creationId xmlns:a16="http://schemas.microsoft.com/office/drawing/2014/main" id="{E2F01378-5FDC-1566-259E-1C27FB39FCFF}"/>
              </a:ext>
            </a:extLst>
          </p:cNvPr>
          <p:cNvPicPr>
            <a:picLocks noChangeAspect="1"/>
          </p:cNvPicPr>
          <p:nvPr/>
        </p:nvPicPr>
        <p:blipFill>
          <a:blip r:embed="rId10"/>
          <a:srcRect b="16171"/>
          <a:stretch/>
        </p:blipFill>
        <p:spPr>
          <a:xfrm>
            <a:off x="5407293" y="7221718"/>
            <a:ext cx="1564739" cy="1674519"/>
          </a:xfrm>
          <a:prstGeom prst="rect">
            <a:avLst/>
          </a:prstGeom>
        </p:spPr>
      </p:pic>
    </p:spTree>
    <p:extLst>
      <p:ext uri="{BB962C8B-B14F-4D97-AF65-F5344CB8AC3E}">
        <p14:creationId xmlns:p14="http://schemas.microsoft.com/office/powerpoint/2010/main" val="3735503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375EB-3198-84D3-C8E0-181298B61DD0}"/>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CC3D3C-BC53-0C08-8F14-CFA7F5DF7739}"/>
              </a:ext>
            </a:extLst>
          </p:cNvPr>
          <p:cNvSpPr>
            <a:spLocks noGrp="1"/>
          </p:cNvSpPr>
          <p:nvPr>
            <p:ph type="sldNum" sz="quarter" idx="4"/>
          </p:nvPr>
        </p:nvSpPr>
        <p:spPr/>
        <p:txBody>
          <a:bodyPr/>
          <a:lstStyle/>
          <a:p>
            <a:fld id="{DF7F771E-9578-4C04-B869-01AF4C35C90C}" type="slidenum">
              <a:rPr lang="en-GB" noProof="0" smtClean="0"/>
              <a:t>23</a:t>
            </a:fld>
            <a:endParaRPr lang="en-GB" noProof="0"/>
          </a:p>
        </p:txBody>
      </p:sp>
      <p:pic>
        <p:nvPicPr>
          <p:cNvPr id="31" name="Grafik 30" descr="Lupe mit einfarbiger Füllung">
            <a:extLst>
              <a:ext uri="{FF2B5EF4-FFF2-40B4-BE49-F238E27FC236}">
                <a16:creationId xmlns:a16="http://schemas.microsoft.com/office/drawing/2014/main" id="{3E4B6161-E72A-4E0F-0594-9235832028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094" y="2910101"/>
            <a:ext cx="333865" cy="333865"/>
          </a:xfrm>
          <a:prstGeom prst="rect">
            <a:avLst/>
          </a:prstGeom>
        </p:spPr>
      </p:pic>
      <p:sp>
        <p:nvSpPr>
          <p:cNvPr id="18" name="Rectangle 17">
            <a:extLst>
              <a:ext uri="{FF2B5EF4-FFF2-40B4-BE49-F238E27FC236}">
                <a16:creationId xmlns:a16="http://schemas.microsoft.com/office/drawing/2014/main" id="{4D44563A-F965-8518-89BF-D6DA12495C05}"/>
              </a:ext>
            </a:extLst>
          </p:cNvPr>
          <p:cNvSpPr/>
          <p:nvPr/>
        </p:nvSpPr>
        <p:spPr>
          <a:xfrm>
            <a:off x="6244225" y="81420"/>
            <a:ext cx="1315450" cy="5004148"/>
          </a:xfrm>
          <a:prstGeom prst="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Rectangle 19">
            <a:extLst>
              <a:ext uri="{FF2B5EF4-FFF2-40B4-BE49-F238E27FC236}">
                <a16:creationId xmlns:a16="http://schemas.microsoft.com/office/drawing/2014/main" id="{F1A5091A-065D-278F-004A-35097A89DD1F}"/>
              </a:ext>
            </a:extLst>
          </p:cNvPr>
          <p:cNvSpPr/>
          <p:nvPr/>
        </p:nvSpPr>
        <p:spPr>
          <a:xfrm>
            <a:off x="0" y="4160729"/>
            <a:ext cx="1315450" cy="5004148"/>
          </a:xfrm>
          <a:prstGeom prst="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Rectangle 20">
            <a:extLst>
              <a:ext uri="{FF2B5EF4-FFF2-40B4-BE49-F238E27FC236}">
                <a16:creationId xmlns:a16="http://schemas.microsoft.com/office/drawing/2014/main" id="{8F56997B-D80D-BE47-35EE-6E5BE331EAAB}"/>
              </a:ext>
            </a:extLst>
          </p:cNvPr>
          <p:cNvSpPr/>
          <p:nvPr/>
        </p:nvSpPr>
        <p:spPr>
          <a:xfrm rot="5400000">
            <a:off x="4399876" y="6509359"/>
            <a:ext cx="1315450" cy="5004148"/>
          </a:xfrm>
          <a:prstGeom prst="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Rectangle 23">
            <a:extLst>
              <a:ext uri="{FF2B5EF4-FFF2-40B4-BE49-F238E27FC236}">
                <a16:creationId xmlns:a16="http://schemas.microsoft.com/office/drawing/2014/main" id="{94504D70-C42B-5B48-1738-14D2483BE290}"/>
              </a:ext>
            </a:extLst>
          </p:cNvPr>
          <p:cNvSpPr/>
          <p:nvPr/>
        </p:nvSpPr>
        <p:spPr>
          <a:xfrm rot="5400000">
            <a:off x="2673372" y="7532014"/>
            <a:ext cx="1315450" cy="5004148"/>
          </a:xfrm>
          <a:prstGeom prst="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26" name="Picture 2">
            <a:extLst>
              <a:ext uri="{FF2B5EF4-FFF2-40B4-BE49-F238E27FC236}">
                <a16:creationId xmlns:a16="http://schemas.microsoft.com/office/drawing/2014/main" id="{42DA63A3-6DBD-597B-DCBF-9B2F09B0BD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9" t="1053" r="1"/>
          <a:stretch/>
        </p:blipFill>
        <p:spPr bwMode="auto">
          <a:xfrm>
            <a:off x="0" y="0"/>
            <a:ext cx="7632935" cy="7648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9819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68AF-DFC4-87F3-D4F3-113595ABE75D}"/>
            </a:ext>
          </a:extLst>
        </p:cNvPr>
        <p:cNvGrpSpPr/>
        <p:nvPr/>
      </p:nvGrpSpPr>
      <p:grpSpPr>
        <a:xfrm>
          <a:off x="0" y="0"/>
          <a:ext cx="0" cy="0"/>
          <a:chOff x="0" y="0"/>
          <a:chExt cx="0" cy="0"/>
        </a:xfrm>
      </p:grpSpPr>
      <p:sp>
        <p:nvSpPr>
          <p:cNvPr id="4" name="Titel 1">
            <a:extLst>
              <a:ext uri="{FF2B5EF4-FFF2-40B4-BE49-F238E27FC236}">
                <a16:creationId xmlns:a16="http://schemas.microsoft.com/office/drawing/2014/main" id="{69B63D2F-BFD4-A1F4-6400-2D37EFA79895}"/>
              </a:ext>
            </a:extLst>
          </p:cNvPr>
          <p:cNvSpPr>
            <a:spLocks noGrp="1"/>
          </p:cNvSpPr>
          <p:nvPr>
            <p:ph type="title"/>
          </p:nvPr>
        </p:nvSpPr>
        <p:spPr>
          <a:xfrm>
            <a:off x="719138" y="1289682"/>
            <a:ext cx="6380336" cy="1190474"/>
          </a:xfrm>
        </p:spPr>
        <p:txBody>
          <a:bodyPr/>
          <a:lstStyle/>
          <a:p>
            <a:r>
              <a:rPr lang="en-GB" noProof="0" dirty="0"/>
              <a:t>2. Measuring wind speed</a:t>
            </a:r>
          </a:p>
        </p:txBody>
      </p:sp>
      <p:sp>
        <p:nvSpPr>
          <p:cNvPr id="3" name="Foliennummernplatzhalter 2">
            <a:extLst>
              <a:ext uri="{FF2B5EF4-FFF2-40B4-BE49-F238E27FC236}">
                <a16:creationId xmlns:a16="http://schemas.microsoft.com/office/drawing/2014/main" id="{2E720F74-6C21-BE3B-855D-75E2441BE21D}"/>
              </a:ext>
            </a:extLst>
          </p:cNvPr>
          <p:cNvSpPr>
            <a:spLocks noGrp="1"/>
          </p:cNvSpPr>
          <p:nvPr>
            <p:ph type="sldNum" sz="quarter" idx="4"/>
          </p:nvPr>
        </p:nvSpPr>
        <p:spPr/>
        <p:txBody>
          <a:bodyPr/>
          <a:lstStyle/>
          <a:p>
            <a:fld id="{DF7F771E-9578-4C04-B869-01AF4C35C90C}" type="slidenum">
              <a:rPr lang="en-GB" noProof="0" smtClean="0"/>
              <a:t>24</a:t>
            </a:fld>
            <a:endParaRPr lang="en-GB" noProof="0"/>
          </a:p>
        </p:txBody>
      </p:sp>
      <p:sp>
        <p:nvSpPr>
          <p:cNvPr id="7" name="Untertitel 3">
            <a:extLst>
              <a:ext uri="{FF2B5EF4-FFF2-40B4-BE49-F238E27FC236}">
                <a16:creationId xmlns:a16="http://schemas.microsoft.com/office/drawing/2014/main" id="{07040397-228E-6D70-AECA-AD5770BA7339}"/>
              </a:ext>
            </a:extLst>
          </p:cNvPr>
          <p:cNvSpPr txBox="1">
            <a:spLocks/>
          </p:cNvSpPr>
          <p:nvPr/>
        </p:nvSpPr>
        <p:spPr>
          <a:xfrm>
            <a:off x="729094" y="4278553"/>
            <a:ext cx="5724712" cy="22284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measure wind speed using the wind rose:</a:t>
            </a:r>
          </a:p>
          <a:p>
            <a:pPr algn="just"/>
            <a:endParaRPr lang="en-GB" sz="1200" b="1" noProof="0" dirty="0"/>
          </a:p>
          <a:p>
            <a:pPr algn="just">
              <a:buFont typeface="+mj-lt"/>
              <a:buAutoNum type="arabicPeriod"/>
            </a:pPr>
            <a:r>
              <a:rPr lang="en-GB" sz="1200" noProof="0" dirty="0"/>
              <a:t>Take your </a:t>
            </a:r>
            <a:r>
              <a:rPr lang="en-GB" sz="1200" noProof="0" dirty="0" err="1"/>
              <a:t>windrose</a:t>
            </a:r>
            <a:r>
              <a:rPr lang="en-GB" sz="1200" noProof="0" dirty="0"/>
              <a:t> and </a:t>
            </a:r>
            <a:r>
              <a:rPr lang="en-GB" sz="1200" noProof="0" dirty="0" err="1"/>
              <a:t>color</a:t>
            </a:r>
            <a:r>
              <a:rPr lang="en-GB" sz="1200" noProof="0" dirty="0"/>
              <a:t> each fan with a different </a:t>
            </a:r>
            <a:r>
              <a:rPr lang="en-GB" sz="1200" noProof="0" dirty="0" err="1"/>
              <a:t>colored</a:t>
            </a:r>
            <a:r>
              <a:rPr lang="en-GB" sz="1200" noProof="0" dirty="0"/>
              <a:t> marker.</a:t>
            </a:r>
          </a:p>
          <a:p>
            <a:pPr algn="just">
              <a:buFont typeface="+mj-lt"/>
              <a:buAutoNum type="arabicPeriod"/>
            </a:pPr>
            <a:r>
              <a:rPr lang="en-GB" sz="1200" noProof="0" dirty="0"/>
              <a:t>Place the paper </a:t>
            </a:r>
            <a:r>
              <a:rPr lang="en-GB" sz="1200" noProof="0" dirty="0" err="1"/>
              <a:t>windrose</a:t>
            </a:r>
            <a:r>
              <a:rPr lang="en-GB" sz="1200" noProof="0" dirty="0"/>
              <a:t> on a flat, stable surface where it can spin freely. You can do so by holding the </a:t>
            </a:r>
            <a:r>
              <a:rPr lang="en-GB" sz="1200" noProof="0" dirty="0" err="1"/>
              <a:t>windrose</a:t>
            </a:r>
            <a:r>
              <a:rPr lang="en-GB" sz="1200" noProof="0" dirty="0"/>
              <a:t> in your hand or by placing it on a stable support. </a:t>
            </a:r>
          </a:p>
          <a:p>
            <a:pPr>
              <a:lnSpc>
                <a:spcPct val="114999"/>
              </a:lnSpc>
              <a:buAutoNum type="arabicPeriod"/>
            </a:pPr>
            <a:r>
              <a:rPr lang="en-GB" sz="1200" noProof="0" dirty="0"/>
              <a:t>Blow to move the </a:t>
            </a:r>
            <a:r>
              <a:rPr lang="en-GB" sz="1200" noProof="0" dirty="0" err="1"/>
              <a:t>windrose</a:t>
            </a:r>
            <a:r>
              <a:rPr lang="en-GB" sz="1200" noProof="0" dirty="0"/>
              <a:t>.</a:t>
            </a:r>
          </a:p>
          <a:p>
            <a:pPr algn="just">
              <a:lnSpc>
                <a:spcPct val="114999"/>
              </a:lnSpc>
              <a:buAutoNum type="arabicPeriod"/>
            </a:pPr>
            <a:r>
              <a:rPr lang="en-GB" sz="1200" noProof="0" dirty="0"/>
              <a:t>Blow in low speed and count how many full rotations one cup completes in 1 minute. Use the stopwatch to measure time. Record this in the observation table.</a:t>
            </a:r>
          </a:p>
          <a:p>
            <a:pPr algn="just">
              <a:lnSpc>
                <a:spcPct val="114999"/>
              </a:lnSpc>
              <a:buAutoNum type="arabicPeriod"/>
            </a:pPr>
            <a:r>
              <a:rPr lang="en-GB" sz="1200" noProof="0" dirty="0"/>
              <a:t>Repeat step 4  with different variation in wind speed while blowing and record it in the observation table.</a:t>
            </a:r>
          </a:p>
          <a:p>
            <a:pPr algn="just">
              <a:lnSpc>
                <a:spcPct val="114999"/>
              </a:lnSpc>
              <a:buAutoNum type="arabicPeriod"/>
            </a:pPr>
            <a:endParaRPr lang="en-GB" sz="1200" noProof="0" dirty="0"/>
          </a:p>
        </p:txBody>
      </p:sp>
      <p:graphicFrame>
        <p:nvGraphicFramePr>
          <p:cNvPr id="24" name="Google Shape;630;p38">
            <a:extLst>
              <a:ext uri="{FF2B5EF4-FFF2-40B4-BE49-F238E27FC236}">
                <a16:creationId xmlns:a16="http://schemas.microsoft.com/office/drawing/2014/main" id="{A64D5381-0B55-4FBC-0604-5FBB8EFE34EE}"/>
              </a:ext>
            </a:extLst>
          </p:cNvPr>
          <p:cNvGraphicFramePr/>
          <p:nvPr>
            <p:extLst>
              <p:ext uri="{D42A27DB-BD31-4B8C-83A1-F6EECF244321}">
                <p14:modId xmlns:p14="http://schemas.microsoft.com/office/powerpoint/2010/main" val="2679579087"/>
              </p:ext>
            </p:extLst>
          </p:nvPr>
        </p:nvGraphicFramePr>
        <p:xfrm>
          <a:off x="896027" y="7331907"/>
          <a:ext cx="5919009" cy="136105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Wind strength</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i="0" u="none" strike="noStrike" noProof="0">
                          <a:solidFill>
                            <a:srgbClr val="000000"/>
                          </a:solidFill>
                          <a:latin typeface="Sofia Sans" panose="020B0604020202020204" charset="0"/>
                        </a:rPr>
                        <a:t>Rotations per minute</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noProof="0">
                          <a:latin typeface="Sofia Sans" panose="020B0604020202020204" charset="0"/>
                        </a:rPr>
                        <a:t>Observation</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Low</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Medium </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000" b="1" i="0" u="none" strike="noStrike" cap="none">
                          <a:solidFill>
                            <a:schemeClr val="dk1"/>
                          </a:solidFill>
                          <a:latin typeface="Sofia Sans"/>
                          <a:ea typeface="Sofia Sans"/>
                          <a:cs typeface="Arial"/>
                          <a:sym typeface="Arial"/>
                        </a:rPr>
                        <a:t>High</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dirty="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2982118"/>
                  </a:ext>
                </a:extLst>
              </a:tr>
            </a:tbl>
          </a:graphicData>
        </a:graphic>
      </p:graphicFrame>
      <p:sp>
        <p:nvSpPr>
          <p:cNvPr id="36" name="Untertitel 5">
            <a:extLst>
              <a:ext uri="{FF2B5EF4-FFF2-40B4-BE49-F238E27FC236}">
                <a16:creationId xmlns:a16="http://schemas.microsoft.com/office/drawing/2014/main" id="{1B56DA0A-8DC8-4E5B-B8B8-BA81B06A5006}"/>
              </a:ext>
            </a:extLst>
          </p:cNvPr>
          <p:cNvSpPr txBox="1">
            <a:spLocks/>
          </p:cNvSpPr>
          <p:nvPr/>
        </p:nvSpPr>
        <p:spPr>
          <a:xfrm>
            <a:off x="1128025" y="216758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37" name="Ellipse 36">
            <a:extLst>
              <a:ext uri="{FF2B5EF4-FFF2-40B4-BE49-F238E27FC236}">
                <a16:creationId xmlns:a16="http://schemas.microsoft.com/office/drawing/2014/main" id="{2B663831-CA58-431E-8CA0-AF47141BC716}"/>
              </a:ext>
            </a:extLst>
          </p:cNvPr>
          <p:cNvSpPr>
            <a:spLocks noChangeAspect="1"/>
          </p:cNvSpPr>
          <p:nvPr/>
        </p:nvSpPr>
        <p:spPr>
          <a:xfrm>
            <a:off x="697798" y="208724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8" name="Grafik 37" descr="Lupe mit einfarbiger Füllung">
            <a:extLst>
              <a:ext uri="{FF2B5EF4-FFF2-40B4-BE49-F238E27FC236}">
                <a16:creationId xmlns:a16="http://schemas.microsoft.com/office/drawing/2014/main" id="{3E27CE3D-00A3-26DE-6855-D5685C2B95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2639" y="2169875"/>
            <a:ext cx="333865" cy="333865"/>
          </a:xfrm>
          <a:prstGeom prst="rect">
            <a:avLst/>
          </a:prstGeom>
        </p:spPr>
      </p:pic>
      <p:sp>
        <p:nvSpPr>
          <p:cNvPr id="39" name="Rechteck 38">
            <a:extLst>
              <a:ext uri="{FF2B5EF4-FFF2-40B4-BE49-F238E27FC236}">
                <a16:creationId xmlns:a16="http://schemas.microsoft.com/office/drawing/2014/main" id="{2A52BB96-EE15-A5C8-1965-3DEAD68C3932}"/>
              </a:ext>
            </a:extLst>
          </p:cNvPr>
          <p:cNvSpPr/>
          <p:nvPr/>
        </p:nvSpPr>
        <p:spPr>
          <a:xfrm>
            <a:off x="729094" y="2998136"/>
            <a:ext cx="6028893" cy="1080708"/>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0" name="Untertitel 2">
            <a:extLst>
              <a:ext uri="{FF2B5EF4-FFF2-40B4-BE49-F238E27FC236}">
                <a16:creationId xmlns:a16="http://schemas.microsoft.com/office/drawing/2014/main" id="{77BA5F43-F74D-346C-6678-CC06F06FF1BA}"/>
              </a:ext>
            </a:extLst>
          </p:cNvPr>
          <p:cNvSpPr txBox="1">
            <a:spLocks/>
          </p:cNvSpPr>
          <p:nvPr/>
        </p:nvSpPr>
        <p:spPr>
          <a:xfrm>
            <a:off x="1075653" y="3365765"/>
            <a:ext cx="2667887"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a:t>Paper wind rose</a:t>
            </a:r>
          </a:p>
          <a:p>
            <a:pPr marL="285750" indent="-285750">
              <a:lnSpc>
                <a:spcPct val="114999"/>
              </a:lnSpc>
              <a:buClr>
                <a:schemeClr val="accent2"/>
              </a:buClr>
              <a:buFont typeface="Arial,Sans-Serif"/>
              <a:buChar char="•"/>
            </a:pPr>
            <a:r>
              <a:rPr lang="en-GB" sz="1200"/>
              <a:t>Stopwatch</a:t>
            </a:r>
            <a:endParaRPr lang="en-GB" sz="1200" noProof="0"/>
          </a:p>
        </p:txBody>
      </p:sp>
      <p:sp>
        <p:nvSpPr>
          <p:cNvPr id="41" name="Untertitel 5">
            <a:extLst>
              <a:ext uri="{FF2B5EF4-FFF2-40B4-BE49-F238E27FC236}">
                <a16:creationId xmlns:a16="http://schemas.microsoft.com/office/drawing/2014/main" id="{C8856F70-8E42-97E7-DBF9-C54906FD2E2A}"/>
              </a:ext>
            </a:extLst>
          </p:cNvPr>
          <p:cNvSpPr txBox="1">
            <a:spLocks/>
          </p:cNvSpPr>
          <p:nvPr/>
        </p:nvSpPr>
        <p:spPr>
          <a:xfrm>
            <a:off x="896027" y="302679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experiment</a:t>
            </a:r>
            <a:endParaRPr lang="en-GB" noProof="0"/>
          </a:p>
        </p:txBody>
      </p:sp>
      <p:grpSp>
        <p:nvGrpSpPr>
          <p:cNvPr id="42" name="Gruppieren 41">
            <a:extLst>
              <a:ext uri="{FF2B5EF4-FFF2-40B4-BE49-F238E27FC236}">
                <a16:creationId xmlns:a16="http://schemas.microsoft.com/office/drawing/2014/main" id="{EBFE4383-EEA4-8B3A-633F-715FB3A36DE1}"/>
              </a:ext>
            </a:extLst>
          </p:cNvPr>
          <p:cNvGrpSpPr/>
          <p:nvPr/>
        </p:nvGrpSpPr>
        <p:grpSpPr>
          <a:xfrm>
            <a:off x="6445483" y="2715414"/>
            <a:ext cx="402475" cy="419630"/>
            <a:chOff x="6140368" y="3097011"/>
            <a:chExt cx="660145" cy="660145"/>
          </a:xfrm>
        </p:grpSpPr>
        <p:sp>
          <p:nvSpPr>
            <p:cNvPr id="43" name="Ellipse 42">
              <a:extLst>
                <a:ext uri="{FF2B5EF4-FFF2-40B4-BE49-F238E27FC236}">
                  <a16:creationId xmlns:a16="http://schemas.microsoft.com/office/drawing/2014/main" id="{393BDA72-96F9-60FE-6734-CE1010771BF5}"/>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44" name="Grafik 43" descr="Inventar mit einfarbiger Füllung">
              <a:extLst>
                <a:ext uri="{FF2B5EF4-FFF2-40B4-BE49-F238E27FC236}">
                  <a16:creationId xmlns:a16="http://schemas.microsoft.com/office/drawing/2014/main" id="{AB27DE1D-6FB4-1E89-7B7D-74861A93EA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
        <p:nvSpPr>
          <p:cNvPr id="45" name="Untertitel 2">
            <a:extLst>
              <a:ext uri="{FF2B5EF4-FFF2-40B4-BE49-F238E27FC236}">
                <a16:creationId xmlns:a16="http://schemas.microsoft.com/office/drawing/2014/main" id="{69797BFC-036B-2843-CD72-D59C41514EC4}"/>
              </a:ext>
            </a:extLst>
          </p:cNvPr>
          <p:cNvSpPr txBox="1">
            <a:spLocks/>
          </p:cNvSpPr>
          <p:nvPr/>
        </p:nvSpPr>
        <p:spPr>
          <a:xfrm>
            <a:off x="3937789" y="3397601"/>
            <a:ext cx="1992211" cy="5321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err="1"/>
              <a:t>Colorful</a:t>
            </a:r>
            <a:r>
              <a:rPr lang="en-GB" sz="1200" noProof="0"/>
              <a:t> marker</a:t>
            </a:r>
          </a:p>
        </p:txBody>
      </p:sp>
    </p:spTree>
    <p:extLst>
      <p:ext uri="{BB962C8B-B14F-4D97-AF65-F5344CB8AC3E}">
        <p14:creationId xmlns:p14="http://schemas.microsoft.com/office/powerpoint/2010/main" val="3703175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558FF3A-D0CA-2618-B118-4510201FB3D0}"/>
              </a:ext>
            </a:extLst>
          </p:cNvPr>
          <p:cNvSpPr>
            <a:spLocks noGrp="1"/>
          </p:cNvSpPr>
          <p:nvPr>
            <p:ph type="sldNum" sz="quarter" idx="16"/>
          </p:nvPr>
        </p:nvSpPr>
        <p:spPr/>
        <p:txBody>
          <a:bodyPr/>
          <a:lstStyle/>
          <a:p>
            <a:fld id="{DF7F771E-9578-4C04-B869-01AF4C35C90C}" type="slidenum">
              <a:rPr lang="en-GB" noProof="0" smtClean="0"/>
              <a:t>25</a:t>
            </a:fld>
            <a:endParaRPr lang="en-GB" noProof="0"/>
          </a:p>
        </p:txBody>
      </p:sp>
      <p:sp>
        <p:nvSpPr>
          <p:cNvPr id="13" name="Untertitel 3">
            <a:extLst>
              <a:ext uri="{FF2B5EF4-FFF2-40B4-BE49-F238E27FC236}">
                <a16:creationId xmlns:a16="http://schemas.microsoft.com/office/drawing/2014/main" id="{817FCBA3-EFE9-7AA6-9D84-3B990635EB2E}"/>
              </a:ext>
            </a:extLst>
          </p:cNvPr>
          <p:cNvSpPr txBox="1">
            <a:spLocks/>
          </p:cNvSpPr>
          <p:nvPr/>
        </p:nvSpPr>
        <p:spPr>
          <a:xfrm>
            <a:off x="802806" y="3846295"/>
            <a:ext cx="5963715" cy="5408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r>
              <a:rPr lang="en-GB" sz="1200" noProof="0" dirty="0"/>
              <a:t>At what </a:t>
            </a:r>
            <a:r>
              <a:rPr lang="en-GB" sz="1200" noProof="0"/>
              <a:t>speed did the </a:t>
            </a:r>
            <a:r>
              <a:rPr lang="en-GB" sz="1200" noProof="0" dirty="0"/>
              <a:t>compass rose rotate </a:t>
            </a:r>
            <a:r>
              <a:rPr lang="en-GB" sz="1200" noProof="0"/>
              <a:t>the fastest and why is that?</a:t>
            </a:r>
            <a:endParaRPr lang="en-GB" sz="1200" noProof="0" dirty="0"/>
          </a:p>
          <a:p>
            <a:pPr marL="139700" indent="0">
              <a:lnSpc>
                <a:spcPct val="114999"/>
              </a:lnSpc>
            </a:pPr>
            <a:endParaRPr lang="en-GB" sz="1200" noProof="0"/>
          </a:p>
        </p:txBody>
      </p:sp>
      <p:sp>
        <p:nvSpPr>
          <p:cNvPr id="14" name="Untertitel 5">
            <a:extLst>
              <a:ext uri="{FF2B5EF4-FFF2-40B4-BE49-F238E27FC236}">
                <a16:creationId xmlns:a16="http://schemas.microsoft.com/office/drawing/2014/main" id="{2F6012F6-E8F4-A191-BC75-1398C7B93EBE}"/>
              </a:ext>
            </a:extLst>
          </p:cNvPr>
          <p:cNvSpPr txBox="1">
            <a:spLocks/>
          </p:cNvSpPr>
          <p:nvPr/>
        </p:nvSpPr>
        <p:spPr>
          <a:xfrm>
            <a:off x="1162734" y="128387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6" name="Ellipse 15">
            <a:extLst>
              <a:ext uri="{FF2B5EF4-FFF2-40B4-BE49-F238E27FC236}">
                <a16:creationId xmlns:a16="http://schemas.microsoft.com/office/drawing/2014/main" id="{1D6159E8-557D-FDCD-FC65-C528B4B1091C}"/>
              </a:ext>
            </a:extLst>
          </p:cNvPr>
          <p:cNvSpPr>
            <a:spLocks noChangeAspect="1"/>
          </p:cNvSpPr>
          <p:nvPr/>
        </p:nvSpPr>
        <p:spPr>
          <a:xfrm>
            <a:off x="744093" y="127793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7" name="Grafik 16" descr="Skizze mit einfarbiger Füllung">
            <a:extLst>
              <a:ext uri="{FF2B5EF4-FFF2-40B4-BE49-F238E27FC236}">
                <a16:creationId xmlns:a16="http://schemas.microsoft.com/office/drawing/2014/main" id="{36920F57-8051-A4F2-51C9-3D7506450F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1341670"/>
            <a:ext cx="379044" cy="379044"/>
          </a:xfrm>
          <a:prstGeom prst="rect">
            <a:avLst/>
          </a:prstGeom>
        </p:spPr>
      </p:pic>
      <p:sp>
        <p:nvSpPr>
          <p:cNvPr id="18" name="Untertitel 5">
            <a:extLst>
              <a:ext uri="{FF2B5EF4-FFF2-40B4-BE49-F238E27FC236}">
                <a16:creationId xmlns:a16="http://schemas.microsoft.com/office/drawing/2014/main" id="{A6C3DFE2-1650-D046-8C5B-F8C5382E8E92}"/>
              </a:ext>
            </a:extLst>
          </p:cNvPr>
          <p:cNvSpPr txBox="1">
            <a:spLocks/>
          </p:cNvSpPr>
          <p:nvPr/>
        </p:nvSpPr>
        <p:spPr>
          <a:xfrm>
            <a:off x="719138" y="184572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20" name="Rechteck 19">
            <a:extLst>
              <a:ext uri="{FF2B5EF4-FFF2-40B4-BE49-F238E27FC236}">
                <a16:creationId xmlns:a16="http://schemas.microsoft.com/office/drawing/2014/main" id="{1939F5DF-79A6-B561-B96A-2F9BE047DEAD}"/>
              </a:ext>
            </a:extLst>
          </p:cNvPr>
          <p:cNvSpPr/>
          <p:nvPr/>
        </p:nvSpPr>
        <p:spPr>
          <a:xfrm>
            <a:off x="719138" y="5666919"/>
            <a:ext cx="5740172" cy="2765361"/>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Ellipse 20">
            <a:extLst>
              <a:ext uri="{FF2B5EF4-FFF2-40B4-BE49-F238E27FC236}">
                <a16:creationId xmlns:a16="http://schemas.microsoft.com/office/drawing/2014/main" id="{B5F76BDE-C093-9107-606B-75F57D0DBD4E}"/>
              </a:ext>
            </a:extLst>
          </p:cNvPr>
          <p:cNvSpPr>
            <a:spLocks noChangeAspect="1"/>
          </p:cNvSpPr>
          <p:nvPr/>
        </p:nvSpPr>
        <p:spPr>
          <a:xfrm>
            <a:off x="6083415" y="5387401"/>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2" name="Grafik 21" descr="Lesezeichen mit einfarbiger Füllung">
            <a:extLst>
              <a:ext uri="{FF2B5EF4-FFF2-40B4-BE49-F238E27FC236}">
                <a16:creationId xmlns:a16="http://schemas.microsoft.com/office/drawing/2014/main" id="{53F49540-45AB-E6E9-8588-AC066B314A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1262" y="5527757"/>
            <a:ext cx="404450" cy="404450"/>
          </a:xfrm>
          <a:prstGeom prst="rect">
            <a:avLst/>
          </a:prstGeom>
        </p:spPr>
      </p:pic>
      <p:sp>
        <p:nvSpPr>
          <p:cNvPr id="23" name="Untertitel 5">
            <a:extLst>
              <a:ext uri="{FF2B5EF4-FFF2-40B4-BE49-F238E27FC236}">
                <a16:creationId xmlns:a16="http://schemas.microsoft.com/office/drawing/2014/main" id="{F08161A4-A064-B798-FE66-AEA513B546C9}"/>
              </a:ext>
            </a:extLst>
          </p:cNvPr>
          <p:cNvSpPr txBox="1">
            <a:spLocks/>
          </p:cNvSpPr>
          <p:nvPr/>
        </p:nvSpPr>
        <p:spPr>
          <a:xfrm>
            <a:off x="907575" y="580061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7" name="Textfeld 11">
            <a:extLst>
              <a:ext uri="{FF2B5EF4-FFF2-40B4-BE49-F238E27FC236}">
                <a16:creationId xmlns:a16="http://schemas.microsoft.com/office/drawing/2014/main" id="{A9471AC6-B495-C03E-5B97-9380D56DED5B}"/>
              </a:ext>
            </a:extLst>
          </p:cNvPr>
          <p:cNvSpPr txBox="1"/>
          <p:nvPr/>
        </p:nvSpPr>
        <p:spPr>
          <a:xfrm>
            <a:off x="876816" y="4315288"/>
            <a:ext cx="5682897" cy="74749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windrose spun the fastest when the wind speed was on its highest. This is because higher wind speeds provides  (kinetic) energy to the windrose, allowing it to rotate faster.</a:t>
            </a:r>
            <a:endParaRPr lang="en-GB" noProof="0"/>
          </a:p>
          <a:p>
            <a:endParaRPr lang="en-GB" sz="1100" noProof="0">
              <a:solidFill>
                <a:srgbClr val="FF0000"/>
              </a:solidFill>
              <a:effectLst/>
              <a:latin typeface="Sofia Sans" panose="020B0604020202020204" charset="0"/>
              <a:ea typeface="Times New Roman" panose="02020603050405020304" pitchFamily="18" charset="0"/>
            </a:endParaRPr>
          </a:p>
        </p:txBody>
      </p:sp>
      <p:sp>
        <p:nvSpPr>
          <p:cNvPr id="8" name="Untertitel 3">
            <a:extLst>
              <a:ext uri="{FF2B5EF4-FFF2-40B4-BE49-F238E27FC236}">
                <a16:creationId xmlns:a16="http://schemas.microsoft.com/office/drawing/2014/main" id="{CE749D75-BB64-EA3F-4A37-8B6B98B5B366}"/>
              </a:ext>
            </a:extLst>
          </p:cNvPr>
          <p:cNvSpPr txBox="1">
            <a:spLocks/>
          </p:cNvSpPr>
          <p:nvPr/>
        </p:nvSpPr>
        <p:spPr>
          <a:xfrm>
            <a:off x="790862" y="2259533"/>
            <a:ext cx="5977951"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200" noProof="0" dirty="0"/>
              <a:t>How does the speed of the wind relate to the number of rotations?</a:t>
            </a:r>
          </a:p>
          <a:p>
            <a:pPr marL="285750" indent="-285750">
              <a:lnSpc>
                <a:spcPct val="114999"/>
              </a:lnSpc>
              <a:buFont typeface="Arial"/>
              <a:buChar char="•"/>
            </a:pPr>
            <a:endParaRPr lang="en-GB" sz="1200" noProof="0" dirty="0"/>
          </a:p>
          <a:p>
            <a:pPr marL="139700" indent="0">
              <a:lnSpc>
                <a:spcPct val="114999"/>
              </a:lnSpc>
            </a:pPr>
            <a:endParaRPr lang="en-GB" sz="1200" noProof="0" dirty="0"/>
          </a:p>
        </p:txBody>
      </p:sp>
      <p:sp>
        <p:nvSpPr>
          <p:cNvPr id="9" name="Textfeld 11">
            <a:extLst>
              <a:ext uri="{FF2B5EF4-FFF2-40B4-BE49-F238E27FC236}">
                <a16:creationId xmlns:a16="http://schemas.microsoft.com/office/drawing/2014/main" id="{BC21C8CF-539D-E464-29F1-01ECBED7D0F4}"/>
              </a:ext>
            </a:extLst>
          </p:cNvPr>
          <p:cNvSpPr txBox="1"/>
          <p:nvPr/>
        </p:nvSpPr>
        <p:spPr>
          <a:xfrm>
            <a:off x="876817" y="2675688"/>
            <a:ext cx="5617315" cy="102468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panose="020B0604020202020204" charset="0"/>
              </a:rPr>
              <a:t>The speed of the wind is directly proportional to the number of rotations.</a:t>
            </a:r>
            <a:endParaRPr lang="en-GB" noProof="0"/>
          </a:p>
          <a:p>
            <a:r>
              <a:rPr lang="en-GB" sz="1100" noProof="0">
                <a:solidFill>
                  <a:srgbClr val="FF0000"/>
                </a:solidFill>
                <a:latin typeface="Sofia Sans" panose="020B0604020202020204" charset="0"/>
              </a:rPr>
              <a:t>Faster wind causes the windmill to spin more quickly, resulting in a higher number of rotations per minute (RPM).</a:t>
            </a:r>
            <a:endParaRPr lang="en-GB" noProof="0"/>
          </a:p>
          <a:p>
            <a:endParaRPr lang="en-GB" sz="1100" noProof="0">
              <a:solidFill>
                <a:srgbClr val="FF0000"/>
              </a:solidFill>
              <a:effectLst/>
              <a:latin typeface="Sofia Sans" panose="020B0604020202020204" charset="0"/>
              <a:ea typeface="Times New Roman" panose="02020603050405020304" pitchFamily="18" charset="0"/>
            </a:endParaRPr>
          </a:p>
        </p:txBody>
      </p:sp>
      <p:sp>
        <p:nvSpPr>
          <p:cNvPr id="3" name="Untertitel 2">
            <a:extLst>
              <a:ext uri="{FF2B5EF4-FFF2-40B4-BE49-F238E27FC236}">
                <a16:creationId xmlns:a16="http://schemas.microsoft.com/office/drawing/2014/main" id="{0E01984D-6347-EADA-B0C5-F29F9010D71C}"/>
              </a:ext>
            </a:extLst>
          </p:cNvPr>
          <p:cNvSpPr txBox="1">
            <a:spLocks/>
          </p:cNvSpPr>
          <p:nvPr/>
        </p:nvSpPr>
        <p:spPr>
          <a:xfrm>
            <a:off x="675102" y="6748280"/>
            <a:ext cx="5152842" cy="2625804"/>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endParaRPr lang="en-GB" sz="1150" noProof="0">
              <a:latin typeface="Sofia Sans" panose="020B0604020202020204" charset="0"/>
            </a:endParaRPr>
          </a:p>
        </p:txBody>
      </p:sp>
      <p:sp>
        <p:nvSpPr>
          <p:cNvPr id="5" name="Untertitel 2">
            <a:extLst>
              <a:ext uri="{FF2B5EF4-FFF2-40B4-BE49-F238E27FC236}">
                <a16:creationId xmlns:a16="http://schemas.microsoft.com/office/drawing/2014/main" id="{1BDD5603-4A46-972A-AEFC-37AC9071558D}"/>
              </a:ext>
            </a:extLst>
          </p:cNvPr>
          <p:cNvSpPr txBox="1">
            <a:spLocks/>
          </p:cNvSpPr>
          <p:nvPr/>
        </p:nvSpPr>
        <p:spPr>
          <a:xfrm>
            <a:off x="683443" y="6241018"/>
            <a:ext cx="5740172" cy="2395305"/>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Anemometers are tools used to measure wind speed by counting rotations. Building an anemometer helps us understand how engineers measure wind to decide the best locations for wind turbines and other applications.</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Wind speed is directly proportional to the number of rotations—the faster the wind, the more the </a:t>
            </a:r>
            <a:r>
              <a:rPr lang="en-GB" sz="1200" noProof="0" dirty="0" err="1">
                <a:latin typeface="Sofia Sans"/>
              </a:rPr>
              <a:t>windrose</a:t>
            </a:r>
            <a:r>
              <a:rPr lang="en-GB" sz="1200" noProof="0" dirty="0">
                <a:latin typeface="Sofia Sans"/>
              </a:rPr>
              <a:t> spins.</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Wind speed varies across different locations and heights due to obstacles, turbulence, and environmental conditions.</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Faster winds mean more energy potential, which is why open areas or high altitudes are ideal for wind energy projects.</a:t>
            </a:r>
          </a:p>
          <a:p>
            <a:pPr marL="457200" indent="-317500">
              <a:lnSpc>
                <a:spcPct val="114999"/>
              </a:lnSpc>
              <a:buClr>
                <a:schemeClr val="lt1"/>
              </a:buClr>
              <a:buSzPts val="1400"/>
              <a:buFont typeface="Arial" panose="020B0604020202020204" pitchFamily="34" charset="0"/>
              <a:buChar char="•"/>
            </a:pPr>
            <a:endParaRPr lang="en-GB" sz="1200" noProof="0" dirty="0">
              <a:latin typeface="Sofia Sans"/>
            </a:endParaRPr>
          </a:p>
          <a:p>
            <a:pPr marL="457200" indent="-317500">
              <a:lnSpc>
                <a:spcPct val="114999"/>
              </a:lnSpc>
              <a:buClr>
                <a:schemeClr val="lt1"/>
              </a:buClr>
              <a:buSzPts val="1400"/>
              <a:buFont typeface="Arial" panose="020B0604020202020204" pitchFamily="34" charset="0"/>
              <a:buChar char="•"/>
            </a:pPr>
            <a:endParaRPr lang="en-GB" sz="1200" noProof="0" dirty="0">
              <a:latin typeface="Sofia Sans" panose="020B0604020202020204" charset="0"/>
            </a:endParaRPr>
          </a:p>
        </p:txBody>
      </p:sp>
    </p:spTree>
    <p:extLst>
      <p:ext uri="{BB962C8B-B14F-4D97-AF65-F5344CB8AC3E}">
        <p14:creationId xmlns:p14="http://schemas.microsoft.com/office/powerpoint/2010/main" val="1997358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26</a:t>
            </a:fld>
            <a:endParaRPr lang="en-GB" noProof="0"/>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729094" y="1293948"/>
            <a:ext cx="6380336" cy="672245"/>
          </a:xfrm>
        </p:spPr>
        <p:txBody>
          <a:bodyPr/>
          <a:lstStyle/>
          <a:p>
            <a:r>
              <a:rPr lang="en-GB" noProof="0" dirty="0"/>
              <a:t>3. Wind can do work</a:t>
            </a:r>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719139" y="4798098"/>
            <a:ext cx="3954461" cy="25056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GB" sz="1200" b="1" noProof="0" dirty="0"/>
              <a:t>Steps to conduct the experiment:</a:t>
            </a:r>
          </a:p>
          <a:p>
            <a:pPr>
              <a:lnSpc>
                <a:spcPct val="114999"/>
              </a:lnSpc>
            </a:pPr>
            <a:endParaRPr lang="en-GB" sz="1200" b="1" noProof="0" dirty="0"/>
          </a:p>
          <a:p>
            <a:pPr>
              <a:lnSpc>
                <a:spcPct val="114999"/>
              </a:lnSpc>
              <a:buAutoNum type="arabicPeriod"/>
            </a:pPr>
            <a:r>
              <a:rPr lang="en-GB" sz="1200" noProof="0" dirty="0"/>
              <a:t>Tie one end of the thread to the end of the straw that binds the compass rose. Make a loop at the free end of the thread and attach a paper clip with adhesive tape to serve as a weight.</a:t>
            </a:r>
          </a:p>
          <a:p>
            <a:pPr>
              <a:lnSpc>
                <a:spcPct val="114999"/>
              </a:lnSpc>
              <a:buAutoNum type="arabicPeriod"/>
            </a:pPr>
            <a:r>
              <a:rPr lang="en-GB" sz="1200" noProof="0" dirty="0"/>
              <a:t>Place the paper wind rose on a flat, stable surface on which it can rotate freely, e.g. on a table, as shown in the fourth illustration on page 22.</a:t>
            </a:r>
          </a:p>
          <a:p>
            <a:pPr>
              <a:lnSpc>
                <a:spcPct val="114999"/>
              </a:lnSpc>
              <a:buAutoNum type="arabicPeriod"/>
            </a:pPr>
            <a:r>
              <a:rPr lang="en-GB" sz="1200" noProof="0" dirty="0"/>
              <a:t>Position a fan approximately 1 meter away from the </a:t>
            </a:r>
            <a:r>
              <a:rPr lang="en-GB" sz="1200" noProof="0" dirty="0" err="1"/>
              <a:t>windrose</a:t>
            </a:r>
            <a:r>
              <a:rPr lang="en-GB" sz="1200" noProof="0" dirty="0"/>
              <a:t>.</a:t>
            </a:r>
          </a:p>
          <a:p>
            <a:pPr>
              <a:lnSpc>
                <a:spcPct val="114999"/>
              </a:lnSpc>
              <a:buAutoNum type="arabicPeriod"/>
            </a:pPr>
            <a:r>
              <a:rPr lang="en-GB" sz="1200" noProof="0" dirty="0"/>
              <a:t>Set your fan to a low speed to measure the time it takes to lift the paper clips.</a:t>
            </a:r>
          </a:p>
          <a:p>
            <a:pPr>
              <a:lnSpc>
                <a:spcPct val="114999"/>
              </a:lnSpc>
              <a:buAutoNum type="arabicPeriod"/>
            </a:pPr>
            <a:r>
              <a:rPr lang="en-GB" sz="1200" noProof="0" dirty="0"/>
              <a:t>Repeat step 4 at different speeds of fan and record it in the observation table.</a:t>
            </a:r>
          </a:p>
          <a:p>
            <a:pPr marL="139700" indent="0">
              <a:lnSpc>
                <a:spcPct val="114999"/>
              </a:lnSpc>
            </a:pPr>
            <a:endParaRPr lang="en-GB" sz="1200" noProof="0" dirty="0"/>
          </a:p>
          <a:p>
            <a:pPr marL="139700" indent="0">
              <a:lnSpc>
                <a:spcPct val="114999"/>
              </a:lnSpc>
            </a:pPr>
            <a:endParaRPr lang="en-GB" sz="1200" noProof="0" dirty="0"/>
          </a:p>
          <a:p>
            <a:pPr>
              <a:buAutoNum type="arabicPeriod"/>
            </a:pPr>
            <a:endParaRPr lang="en-GB" sz="1200" b="1" noProof="0" dirty="0"/>
          </a:p>
        </p:txBody>
      </p:sp>
      <p:pic>
        <p:nvPicPr>
          <p:cNvPr id="20" name="Picture 19" descr="A paper windmill on a table&#10;&#10;Description automatically generated">
            <a:extLst>
              <a:ext uri="{FF2B5EF4-FFF2-40B4-BE49-F238E27FC236}">
                <a16:creationId xmlns:a16="http://schemas.microsoft.com/office/drawing/2014/main" id="{AC1E3F63-E417-E63D-7034-83E6DC91C65B}"/>
              </a:ext>
            </a:extLst>
          </p:cNvPr>
          <p:cNvPicPr>
            <a:picLocks noChangeAspect="1"/>
          </p:cNvPicPr>
          <p:nvPr/>
        </p:nvPicPr>
        <p:blipFill>
          <a:blip r:embed="rId2"/>
          <a:srcRect r="13907" b="16629"/>
          <a:stretch/>
        </p:blipFill>
        <p:spPr>
          <a:xfrm>
            <a:off x="5108028" y="5323692"/>
            <a:ext cx="1864753" cy="2407717"/>
          </a:xfrm>
          <a:prstGeom prst="rect">
            <a:avLst/>
          </a:prstGeom>
        </p:spPr>
      </p:pic>
      <p:graphicFrame>
        <p:nvGraphicFramePr>
          <p:cNvPr id="28" name="Google Shape;630;p38">
            <a:extLst>
              <a:ext uri="{FF2B5EF4-FFF2-40B4-BE49-F238E27FC236}">
                <a16:creationId xmlns:a16="http://schemas.microsoft.com/office/drawing/2014/main" id="{1D987554-8411-E656-D0DC-86692281E6FB}"/>
              </a:ext>
            </a:extLst>
          </p:cNvPr>
          <p:cNvGraphicFramePr/>
          <p:nvPr>
            <p:extLst>
              <p:ext uri="{D42A27DB-BD31-4B8C-83A1-F6EECF244321}">
                <p14:modId xmlns:p14="http://schemas.microsoft.com/office/powerpoint/2010/main" val="410294632"/>
              </p:ext>
            </p:extLst>
          </p:nvPr>
        </p:nvGraphicFramePr>
        <p:xfrm>
          <a:off x="937861" y="8340916"/>
          <a:ext cx="5919009" cy="136105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Fan speed</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i="0" u="none" strike="noStrike" noProof="0">
                          <a:solidFill>
                            <a:srgbClr val="000000"/>
                          </a:solidFill>
                          <a:latin typeface="Sofia Sans" panose="020B0604020202020204" charset="0"/>
                        </a:rPr>
                        <a:t>Time taken to lift the rope</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en-GB" sz="1000" b="1" noProof="0">
                          <a:latin typeface="Sofia Sans" panose="020B0604020202020204" charset="0"/>
                        </a:rPr>
                        <a:t>Observation</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Low</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chemeClr val="dk1"/>
                          </a:solidFill>
                          <a:latin typeface="Sofia Sans"/>
                          <a:ea typeface="Sofia Sans"/>
                          <a:cs typeface="Sofia Sans"/>
                          <a:sym typeface="Sofia Sans"/>
                        </a:rPr>
                        <a:t>10s</a:t>
                      </a: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Medium </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a:solidFill>
                            <a:schemeClr val="dk1"/>
                          </a:solidFill>
                          <a:latin typeface="Sofia Sans"/>
                          <a:ea typeface="Sofia Sans"/>
                          <a:cs typeface="Sofia Sans"/>
                          <a:sym typeface="Sofia Sans"/>
                        </a:rPr>
                        <a:t>7s</a:t>
                      </a: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000" b="1" i="0" u="none" strike="noStrike" cap="none">
                          <a:solidFill>
                            <a:schemeClr val="dk1"/>
                          </a:solidFill>
                          <a:latin typeface="Sofia Sans"/>
                          <a:ea typeface="Sofia Sans"/>
                          <a:cs typeface="Arial"/>
                          <a:sym typeface="Arial"/>
                        </a:rPr>
                        <a:t>High</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r>
                        <a:rPr lang="de-DE" sz="1000">
                          <a:solidFill>
                            <a:schemeClr val="dk1"/>
                          </a:solidFill>
                          <a:latin typeface="Sofia Sans"/>
                          <a:ea typeface="Sofia Sans"/>
                          <a:cs typeface="Sofia Sans"/>
                          <a:sym typeface="Sofia Sans"/>
                        </a:rPr>
                        <a:t>5s</a:t>
                      </a: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dirty="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2982118"/>
                  </a:ext>
                </a:extLst>
              </a:tr>
            </a:tbl>
          </a:graphicData>
        </a:graphic>
      </p:graphicFrame>
      <p:sp>
        <p:nvSpPr>
          <p:cNvPr id="32" name="Untertitel 5">
            <a:extLst>
              <a:ext uri="{FF2B5EF4-FFF2-40B4-BE49-F238E27FC236}">
                <a16:creationId xmlns:a16="http://schemas.microsoft.com/office/drawing/2014/main" id="{BDE9B31B-A9D6-E34A-09ED-33E476EEC803}"/>
              </a:ext>
            </a:extLst>
          </p:cNvPr>
          <p:cNvSpPr txBox="1">
            <a:spLocks/>
          </p:cNvSpPr>
          <p:nvPr/>
        </p:nvSpPr>
        <p:spPr>
          <a:xfrm>
            <a:off x="1128025" y="216758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33" name="Ellipse 32">
            <a:extLst>
              <a:ext uri="{FF2B5EF4-FFF2-40B4-BE49-F238E27FC236}">
                <a16:creationId xmlns:a16="http://schemas.microsoft.com/office/drawing/2014/main" id="{357B8962-33E1-6AA3-597F-F5D84D376614}"/>
              </a:ext>
            </a:extLst>
          </p:cNvPr>
          <p:cNvSpPr>
            <a:spLocks noChangeAspect="1"/>
          </p:cNvSpPr>
          <p:nvPr/>
        </p:nvSpPr>
        <p:spPr>
          <a:xfrm>
            <a:off x="697798" y="208724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4" name="Grafik 33" descr="Lupe mit einfarbiger Füllung">
            <a:extLst>
              <a:ext uri="{FF2B5EF4-FFF2-40B4-BE49-F238E27FC236}">
                <a16:creationId xmlns:a16="http://schemas.microsoft.com/office/drawing/2014/main" id="{696C38AB-499F-3054-FD28-569163B6C7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639" y="2169875"/>
            <a:ext cx="333865" cy="333865"/>
          </a:xfrm>
          <a:prstGeom prst="rect">
            <a:avLst/>
          </a:prstGeom>
        </p:spPr>
      </p:pic>
      <p:sp>
        <p:nvSpPr>
          <p:cNvPr id="35" name="Rechteck 34">
            <a:extLst>
              <a:ext uri="{FF2B5EF4-FFF2-40B4-BE49-F238E27FC236}">
                <a16:creationId xmlns:a16="http://schemas.microsoft.com/office/drawing/2014/main" id="{EA0DF390-597F-75D3-AD38-7A6F21C9893C}"/>
              </a:ext>
            </a:extLst>
          </p:cNvPr>
          <p:cNvSpPr/>
          <p:nvPr/>
        </p:nvSpPr>
        <p:spPr>
          <a:xfrm>
            <a:off x="729094" y="2998135"/>
            <a:ext cx="6028893" cy="1527307"/>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6" name="Untertitel 2">
            <a:extLst>
              <a:ext uri="{FF2B5EF4-FFF2-40B4-BE49-F238E27FC236}">
                <a16:creationId xmlns:a16="http://schemas.microsoft.com/office/drawing/2014/main" id="{BFD64908-8205-429E-A6FC-FB938BCAA5EA}"/>
              </a:ext>
            </a:extLst>
          </p:cNvPr>
          <p:cNvSpPr txBox="1">
            <a:spLocks/>
          </p:cNvSpPr>
          <p:nvPr/>
        </p:nvSpPr>
        <p:spPr>
          <a:xfrm>
            <a:off x="1075653" y="3365765"/>
            <a:ext cx="2667887"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buFont typeface="Arial"/>
              <a:buChar char="•"/>
            </a:pPr>
            <a:r>
              <a:rPr lang="en-GB" sz="1200"/>
              <a:t>Paper </a:t>
            </a:r>
            <a:r>
              <a:rPr lang="en-GB" sz="1200" dirty="0" err="1"/>
              <a:t>windrose</a:t>
            </a:r>
            <a:r>
              <a:rPr lang="en-GB" sz="1200"/>
              <a:t> (built in the previous experiment)</a:t>
            </a:r>
          </a:p>
          <a:p>
            <a:pPr>
              <a:lnSpc>
                <a:spcPct val="114999"/>
              </a:lnSpc>
              <a:buFont typeface="Arial"/>
              <a:buChar char="•"/>
            </a:pPr>
            <a:r>
              <a:rPr lang="en-GB" sz="1200"/>
              <a:t>30 cm light thread</a:t>
            </a:r>
          </a:p>
          <a:p>
            <a:pPr>
              <a:lnSpc>
                <a:spcPct val="114999"/>
              </a:lnSpc>
              <a:buFont typeface="Arial"/>
              <a:buChar char="•"/>
            </a:pPr>
            <a:r>
              <a:rPr lang="en-GB" sz="1200"/>
              <a:t>Tape</a:t>
            </a:r>
          </a:p>
        </p:txBody>
      </p:sp>
      <p:sp>
        <p:nvSpPr>
          <p:cNvPr id="37" name="Untertitel 5">
            <a:extLst>
              <a:ext uri="{FF2B5EF4-FFF2-40B4-BE49-F238E27FC236}">
                <a16:creationId xmlns:a16="http://schemas.microsoft.com/office/drawing/2014/main" id="{120D1827-457E-8945-D091-4C4DAA3160FE}"/>
              </a:ext>
            </a:extLst>
          </p:cNvPr>
          <p:cNvSpPr txBox="1">
            <a:spLocks/>
          </p:cNvSpPr>
          <p:nvPr/>
        </p:nvSpPr>
        <p:spPr>
          <a:xfrm>
            <a:off x="896027" y="302679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38" name="Gruppieren 37">
            <a:extLst>
              <a:ext uri="{FF2B5EF4-FFF2-40B4-BE49-F238E27FC236}">
                <a16:creationId xmlns:a16="http://schemas.microsoft.com/office/drawing/2014/main" id="{628F2D77-CE03-B765-7C65-65F82457FB61}"/>
              </a:ext>
            </a:extLst>
          </p:cNvPr>
          <p:cNvGrpSpPr/>
          <p:nvPr/>
        </p:nvGrpSpPr>
        <p:grpSpPr>
          <a:xfrm>
            <a:off x="6445483" y="2715414"/>
            <a:ext cx="402475" cy="419630"/>
            <a:chOff x="6140368" y="3097011"/>
            <a:chExt cx="660145" cy="660145"/>
          </a:xfrm>
        </p:grpSpPr>
        <p:sp>
          <p:nvSpPr>
            <p:cNvPr id="39" name="Ellipse 38">
              <a:extLst>
                <a:ext uri="{FF2B5EF4-FFF2-40B4-BE49-F238E27FC236}">
                  <a16:creationId xmlns:a16="http://schemas.microsoft.com/office/drawing/2014/main" id="{7AED2695-F035-EBC7-8B48-FBD4A47B4CA7}"/>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40" name="Grafik 39" descr="Inventar mit einfarbiger Füllung">
              <a:extLst>
                <a:ext uri="{FF2B5EF4-FFF2-40B4-BE49-F238E27FC236}">
                  <a16:creationId xmlns:a16="http://schemas.microsoft.com/office/drawing/2014/main" id="{95CBA831-69B6-9F92-2464-F00FCDDEA5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
        <p:nvSpPr>
          <p:cNvPr id="41" name="Untertitel 2">
            <a:extLst>
              <a:ext uri="{FF2B5EF4-FFF2-40B4-BE49-F238E27FC236}">
                <a16:creationId xmlns:a16="http://schemas.microsoft.com/office/drawing/2014/main" id="{297051E1-3E4B-B423-E289-B595362653A9}"/>
              </a:ext>
            </a:extLst>
          </p:cNvPr>
          <p:cNvSpPr txBox="1">
            <a:spLocks/>
          </p:cNvSpPr>
          <p:nvPr/>
        </p:nvSpPr>
        <p:spPr>
          <a:xfrm>
            <a:off x="3937789" y="3397601"/>
            <a:ext cx="1992211" cy="5321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buFont typeface="Arial"/>
              <a:buChar char="•"/>
            </a:pPr>
            <a:r>
              <a:rPr lang="en-GB" sz="1200" noProof="0"/>
              <a:t>Fan</a:t>
            </a:r>
          </a:p>
          <a:p>
            <a:pPr>
              <a:lnSpc>
                <a:spcPct val="114999"/>
              </a:lnSpc>
              <a:buFont typeface="Arial"/>
              <a:buChar char="•"/>
            </a:pPr>
            <a:r>
              <a:rPr lang="en-GB" sz="1200" noProof="0"/>
              <a:t>Stopwatch</a:t>
            </a:r>
          </a:p>
          <a:p>
            <a:pPr>
              <a:lnSpc>
                <a:spcPct val="114999"/>
              </a:lnSpc>
              <a:buFont typeface="Arial"/>
              <a:buChar char="•"/>
            </a:pPr>
            <a:r>
              <a:rPr lang="en-GB" sz="1200" noProof="0"/>
              <a:t>Paper clip</a:t>
            </a:r>
          </a:p>
        </p:txBody>
      </p:sp>
    </p:spTree>
    <p:extLst>
      <p:ext uri="{BB962C8B-B14F-4D97-AF65-F5344CB8AC3E}">
        <p14:creationId xmlns:p14="http://schemas.microsoft.com/office/powerpoint/2010/main" val="8223561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558FF3A-D0CA-2618-B118-4510201FB3D0}"/>
              </a:ext>
            </a:extLst>
          </p:cNvPr>
          <p:cNvSpPr>
            <a:spLocks noGrp="1"/>
          </p:cNvSpPr>
          <p:nvPr>
            <p:ph type="sldNum" sz="quarter" idx="16"/>
          </p:nvPr>
        </p:nvSpPr>
        <p:spPr/>
        <p:txBody>
          <a:bodyPr/>
          <a:lstStyle/>
          <a:p>
            <a:fld id="{DF7F771E-9578-4C04-B869-01AF4C35C90C}" type="slidenum">
              <a:rPr lang="en-GB" noProof="0" smtClean="0"/>
              <a:t>27</a:t>
            </a:fld>
            <a:endParaRPr lang="en-GB" noProof="0"/>
          </a:p>
        </p:txBody>
      </p:sp>
      <p:sp>
        <p:nvSpPr>
          <p:cNvPr id="13" name="Untertitel 3">
            <a:extLst>
              <a:ext uri="{FF2B5EF4-FFF2-40B4-BE49-F238E27FC236}">
                <a16:creationId xmlns:a16="http://schemas.microsoft.com/office/drawing/2014/main" id="{817FCBA3-EFE9-7AA6-9D84-3B990635EB2E}"/>
              </a:ext>
            </a:extLst>
          </p:cNvPr>
          <p:cNvSpPr txBox="1">
            <a:spLocks/>
          </p:cNvSpPr>
          <p:nvPr/>
        </p:nvSpPr>
        <p:spPr>
          <a:xfrm>
            <a:off x="719138" y="1872310"/>
            <a:ext cx="5973547" cy="5462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dirty="0"/>
              <a:t>How does the wind speed (low, medium, high) affect the speed of lifting weights with the wind rose?</a:t>
            </a:r>
          </a:p>
        </p:txBody>
      </p:sp>
      <p:sp>
        <p:nvSpPr>
          <p:cNvPr id="14" name="Untertitel 5">
            <a:extLst>
              <a:ext uri="{FF2B5EF4-FFF2-40B4-BE49-F238E27FC236}">
                <a16:creationId xmlns:a16="http://schemas.microsoft.com/office/drawing/2014/main" id="{2F6012F6-E8F4-A191-BC75-1398C7B93EBE}"/>
              </a:ext>
            </a:extLst>
          </p:cNvPr>
          <p:cNvSpPr txBox="1">
            <a:spLocks/>
          </p:cNvSpPr>
          <p:nvPr/>
        </p:nvSpPr>
        <p:spPr>
          <a:xfrm>
            <a:off x="1162734" y="85833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6" name="Ellipse 15">
            <a:extLst>
              <a:ext uri="{FF2B5EF4-FFF2-40B4-BE49-F238E27FC236}">
                <a16:creationId xmlns:a16="http://schemas.microsoft.com/office/drawing/2014/main" id="{1D6159E8-557D-FDCD-FC65-C528B4B1091C}"/>
              </a:ext>
            </a:extLst>
          </p:cNvPr>
          <p:cNvSpPr>
            <a:spLocks noChangeAspect="1"/>
          </p:cNvSpPr>
          <p:nvPr/>
        </p:nvSpPr>
        <p:spPr>
          <a:xfrm>
            <a:off x="721695" y="89159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7" name="Grafik 16" descr="Skizze mit einfarbiger Füllung">
            <a:extLst>
              <a:ext uri="{FF2B5EF4-FFF2-40B4-BE49-F238E27FC236}">
                <a16:creationId xmlns:a16="http://schemas.microsoft.com/office/drawing/2014/main" id="{36920F57-8051-A4F2-51C9-3D7506450F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944127"/>
            <a:ext cx="379044" cy="379044"/>
          </a:xfrm>
          <a:prstGeom prst="rect">
            <a:avLst/>
          </a:prstGeom>
        </p:spPr>
      </p:pic>
      <p:sp>
        <p:nvSpPr>
          <p:cNvPr id="18" name="Untertitel 5">
            <a:extLst>
              <a:ext uri="{FF2B5EF4-FFF2-40B4-BE49-F238E27FC236}">
                <a16:creationId xmlns:a16="http://schemas.microsoft.com/office/drawing/2014/main" id="{A6C3DFE2-1650-D046-8C5B-F8C5382E8E92}"/>
              </a:ext>
            </a:extLst>
          </p:cNvPr>
          <p:cNvSpPr txBox="1">
            <a:spLocks/>
          </p:cNvSpPr>
          <p:nvPr/>
        </p:nvSpPr>
        <p:spPr>
          <a:xfrm>
            <a:off x="719138" y="152096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7" name="Textfeld 11">
            <a:extLst>
              <a:ext uri="{FF2B5EF4-FFF2-40B4-BE49-F238E27FC236}">
                <a16:creationId xmlns:a16="http://schemas.microsoft.com/office/drawing/2014/main" id="{A9471AC6-B495-C03E-5B97-9380D56DED5B}"/>
              </a:ext>
            </a:extLst>
          </p:cNvPr>
          <p:cNvSpPr txBox="1"/>
          <p:nvPr/>
        </p:nvSpPr>
        <p:spPr>
          <a:xfrm>
            <a:off x="876817" y="2463095"/>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Higher wind speeds provide more energy to the </a:t>
            </a:r>
            <a:r>
              <a:rPr lang="en-GB" sz="1100" noProof="0" err="1">
                <a:solidFill>
                  <a:srgbClr val="FF0000"/>
                </a:solidFill>
                <a:latin typeface="Sofia Sans"/>
              </a:rPr>
              <a:t>windrose</a:t>
            </a:r>
            <a:r>
              <a:rPr lang="en-GB" sz="1100" noProof="0">
                <a:solidFill>
                  <a:srgbClr val="FF0000"/>
                </a:solidFill>
                <a:latin typeface="Sofia Sans"/>
              </a:rPr>
              <a:t>, allowing it to lift weights faster. At low wind speeds, the lifting rate is slower due to less energy being transferred to the </a:t>
            </a:r>
            <a:r>
              <a:rPr lang="en-GB" sz="1100" noProof="0" err="1">
                <a:solidFill>
                  <a:srgbClr val="FF0000"/>
                </a:solidFill>
                <a:latin typeface="Sofia Sans"/>
              </a:rPr>
              <a:t>windrose.c</a:t>
            </a:r>
            <a:endParaRPr lang="en-GB" sz="1100" noProof="0">
              <a:solidFill>
                <a:srgbClr val="FF0000"/>
              </a:solidFill>
              <a:effectLst/>
              <a:latin typeface="Sofia Sans" panose="020B0604020202020204" charset="0"/>
              <a:ea typeface="Times New Roman" panose="02020603050405020304" pitchFamily="18" charset="0"/>
            </a:endParaRPr>
          </a:p>
        </p:txBody>
      </p:sp>
      <p:sp>
        <p:nvSpPr>
          <p:cNvPr id="8" name="Untertitel 3">
            <a:extLst>
              <a:ext uri="{FF2B5EF4-FFF2-40B4-BE49-F238E27FC236}">
                <a16:creationId xmlns:a16="http://schemas.microsoft.com/office/drawing/2014/main" id="{CE749D75-BB64-EA3F-4A37-8B6B98B5B366}"/>
              </a:ext>
            </a:extLst>
          </p:cNvPr>
          <p:cNvSpPr txBox="1">
            <a:spLocks/>
          </p:cNvSpPr>
          <p:nvPr/>
        </p:nvSpPr>
        <p:spPr>
          <a:xfrm>
            <a:off x="714758" y="3518434"/>
            <a:ext cx="5890580" cy="52985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a:t>How does the weight of the load affect the </a:t>
            </a:r>
            <a:r>
              <a:rPr lang="en-GB" sz="1200" noProof="0" err="1"/>
              <a:t>windrose’s</a:t>
            </a:r>
            <a:r>
              <a:rPr lang="en-GB" sz="1200" noProof="0"/>
              <a:t> ability to lift it at different wind speeds?</a:t>
            </a:r>
          </a:p>
        </p:txBody>
      </p:sp>
      <p:sp>
        <p:nvSpPr>
          <p:cNvPr id="9" name="Textfeld 11">
            <a:extLst>
              <a:ext uri="{FF2B5EF4-FFF2-40B4-BE49-F238E27FC236}">
                <a16:creationId xmlns:a16="http://schemas.microsoft.com/office/drawing/2014/main" id="{BC21C8CF-539D-E464-29F1-01ECBED7D0F4}"/>
              </a:ext>
            </a:extLst>
          </p:cNvPr>
          <p:cNvSpPr txBox="1"/>
          <p:nvPr/>
        </p:nvSpPr>
        <p:spPr>
          <a:xfrm>
            <a:off x="876817" y="4112465"/>
            <a:ext cx="5567735" cy="67609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panose="020B0604020202020204" charset="0"/>
              </a:rPr>
              <a:t>At lower wind speeds, the </a:t>
            </a:r>
            <a:r>
              <a:rPr lang="en-GB" sz="1100" noProof="0" err="1">
                <a:solidFill>
                  <a:srgbClr val="FF0000"/>
                </a:solidFill>
                <a:latin typeface="Sofia Sans" panose="020B0604020202020204" charset="0"/>
              </a:rPr>
              <a:t>windrose</a:t>
            </a:r>
            <a:r>
              <a:rPr lang="en-GB" sz="1100" noProof="0">
                <a:solidFill>
                  <a:srgbClr val="FF0000"/>
                </a:solidFill>
                <a:latin typeface="Sofia Sans" panose="020B0604020202020204" charset="0"/>
              </a:rPr>
              <a:t> struggles to lift heavier loads due to insufficient energy to overcome gravitational force. At higher wind speeds, the additional energy allows the </a:t>
            </a:r>
            <a:r>
              <a:rPr lang="en-GB" sz="1100" noProof="0" err="1">
                <a:solidFill>
                  <a:srgbClr val="FF0000"/>
                </a:solidFill>
                <a:latin typeface="Sofia Sans" panose="020B0604020202020204" charset="0"/>
              </a:rPr>
              <a:t>windrose</a:t>
            </a:r>
            <a:r>
              <a:rPr lang="en-GB" sz="1100" noProof="0">
                <a:solidFill>
                  <a:srgbClr val="FF0000"/>
                </a:solidFill>
                <a:latin typeface="Sofia Sans" panose="020B0604020202020204" charset="0"/>
              </a:rPr>
              <a:t> to lift heavier loads more effectively.</a:t>
            </a:r>
            <a:endParaRPr lang="en-GB" noProof="0"/>
          </a:p>
        </p:txBody>
      </p:sp>
      <p:sp>
        <p:nvSpPr>
          <p:cNvPr id="2" name="Untertitel 3">
            <a:extLst>
              <a:ext uri="{FF2B5EF4-FFF2-40B4-BE49-F238E27FC236}">
                <a16:creationId xmlns:a16="http://schemas.microsoft.com/office/drawing/2014/main" id="{F1A21B12-F317-F50A-FE10-72E27AB7AAB8}"/>
              </a:ext>
            </a:extLst>
          </p:cNvPr>
          <p:cNvSpPr txBox="1">
            <a:spLocks/>
          </p:cNvSpPr>
          <p:nvPr/>
        </p:nvSpPr>
        <p:spPr>
          <a:xfrm>
            <a:off x="719138" y="5213053"/>
            <a:ext cx="5979174" cy="35980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a:t>How can this experiment relate to real wind turbines?</a:t>
            </a:r>
          </a:p>
        </p:txBody>
      </p:sp>
      <p:sp>
        <p:nvSpPr>
          <p:cNvPr id="4" name="Textfeld 11">
            <a:extLst>
              <a:ext uri="{FF2B5EF4-FFF2-40B4-BE49-F238E27FC236}">
                <a16:creationId xmlns:a16="http://schemas.microsoft.com/office/drawing/2014/main" id="{06CFC185-661B-FE38-CB5E-9B8B78C1DED4}"/>
              </a:ext>
            </a:extLst>
          </p:cNvPr>
          <p:cNvSpPr txBox="1"/>
          <p:nvPr/>
        </p:nvSpPr>
        <p:spPr>
          <a:xfrm>
            <a:off x="876817" y="5637846"/>
            <a:ext cx="5651750" cy="80381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is experiment demonstrates how wind turbines harness wind energy to perform work, such as generating electricity. The rate of power generation in turbines also depends on wind speed and the load on the turbine. If the load is too high or wind speeds are too low, turbines produce power less efficiently.</a:t>
            </a:r>
            <a:endParaRPr lang="en-GB" sz="1100" noProof="0">
              <a:solidFill>
                <a:srgbClr val="FF0000"/>
              </a:solidFill>
              <a:effectLst/>
              <a:latin typeface="Sofia Sans" panose="020B0604020202020204" charset="0"/>
              <a:ea typeface="Times New Roman" panose="02020603050405020304" pitchFamily="18" charset="0"/>
            </a:endParaRPr>
          </a:p>
        </p:txBody>
      </p:sp>
      <p:sp>
        <p:nvSpPr>
          <p:cNvPr id="10" name="Untertitel 5">
            <a:extLst>
              <a:ext uri="{FF2B5EF4-FFF2-40B4-BE49-F238E27FC236}">
                <a16:creationId xmlns:a16="http://schemas.microsoft.com/office/drawing/2014/main" id="{696BB537-6518-ABF5-7713-61E5C291C2CA}"/>
              </a:ext>
            </a:extLst>
          </p:cNvPr>
          <p:cNvSpPr txBox="1">
            <a:spLocks/>
          </p:cNvSpPr>
          <p:nvPr/>
        </p:nvSpPr>
        <p:spPr>
          <a:xfrm>
            <a:off x="714758" y="321016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11" name="Untertitel 5">
            <a:extLst>
              <a:ext uri="{FF2B5EF4-FFF2-40B4-BE49-F238E27FC236}">
                <a16:creationId xmlns:a16="http://schemas.microsoft.com/office/drawing/2014/main" id="{BFA1C790-E789-43E0-D590-72F23422A8CC}"/>
              </a:ext>
            </a:extLst>
          </p:cNvPr>
          <p:cNvSpPr txBox="1">
            <a:spLocks/>
          </p:cNvSpPr>
          <p:nvPr/>
        </p:nvSpPr>
        <p:spPr>
          <a:xfrm>
            <a:off x="714757" y="487724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a:t>
            </a:r>
            <a:r>
              <a:rPr lang="en-GB" sz="1200">
                <a:solidFill>
                  <a:schemeClr val="accent2"/>
                </a:solidFill>
              </a:rPr>
              <a:t>3</a:t>
            </a:r>
            <a:endParaRPr lang="en-GB" sz="1200" noProof="0">
              <a:solidFill>
                <a:schemeClr val="accent2"/>
              </a:solidFill>
            </a:endParaRPr>
          </a:p>
        </p:txBody>
      </p:sp>
      <p:sp>
        <p:nvSpPr>
          <p:cNvPr id="12" name="Rechteck 11">
            <a:extLst>
              <a:ext uri="{FF2B5EF4-FFF2-40B4-BE49-F238E27FC236}">
                <a16:creationId xmlns:a16="http://schemas.microsoft.com/office/drawing/2014/main" id="{31DC4826-2467-D73D-4CA1-ECB068CDDC2B}"/>
              </a:ext>
            </a:extLst>
          </p:cNvPr>
          <p:cNvSpPr/>
          <p:nvPr/>
        </p:nvSpPr>
        <p:spPr>
          <a:xfrm>
            <a:off x="744093" y="6986994"/>
            <a:ext cx="5740172" cy="2508238"/>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6DEC0814-F42D-7CA5-86EC-47DB326EB3A7}"/>
              </a:ext>
            </a:extLst>
          </p:cNvPr>
          <p:cNvSpPr>
            <a:spLocks noChangeAspect="1"/>
          </p:cNvSpPr>
          <p:nvPr/>
        </p:nvSpPr>
        <p:spPr>
          <a:xfrm>
            <a:off x="6153933" y="6708041"/>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4" name="Grafik 23" descr="Lesezeichen mit einfarbiger Füllung">
            <a:extLst>
              <a:ext uri="{FF2B5EF4-FFF2-40B4-BE49-F238E27FC236}">
                <a16:creationId xmlns:a16="http://schemas.microsoft.com/office/drawing/2014/main" id="{C7EABB84-8326-7CF4-6665-9371DA1C4E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1780" y="6816010"/>
            <a:ext cx="404450" cy="404450"/>
          </a:xfrm>
          <a:prstGeom prst="rect">
            <a:avLst/>
          </a:prstGeom>
        </p:spPr>
      </p:pic>
      <p:sp>
        <p:nvSpPr>
          <p:cNvPr id="25" name="Untertitel 5">
            <a:extLst>
              <a:ext uri="{FF2B5EF4-FFF2-40B4-BE49-F238E27FC236}">
                <a16:creationId xmlns:a16="http://schemas.microsoft.com/office/drawing/2014/main" id="{7151302F-925B-5D9C-2E0D-75E48228BD0D}"/>
              </a:ext>
            </a:extLst>
          </p:cNvPr>
          <p:cNvSpPr txBox="1">
            <a:spLocks/>
          </p:cNvSpPr>
          <p:nvPr/>
        </p:nvSpPr>
        <p:spPr>
          <a:xfrm>
            <a:off x="919119" y="7086620"/>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26" name="Untertitel 2">
            <a:extLst>
              <a:ext uri="{FF2B5EF4-FFF2-40B4-BE49-F238E27FC236}">
                <a16:creationId xmlns:a16="http://schemas.microsoft.com/office/drawing/2014/main" id="{59E53E3E-DE23-14ED-CC64-E58618C66BA0}"/>
              </a:ext>
            </a:extLst>
          </p:cNvPr>
          <p:cNvSpPr txBox="1">
            <a:spLocks/>
          </p:cNvSpPr>
          <p:nvPr/>
        </p:nvSpPr>
        <p:spPr>
          <a:xfrm>
            <a:off x="745619" y="6655544"/>
            <a:ext cx="5152842" cy="2625804"/>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endParaRPr lang="en-GB" sz="1150" noProof="0">
              <a:latin typeface="Sofia Sans" panose="020B0604020202020204" charset="0"/>
            </a:endParaRPr>
          </a:p>
        </p:txBody>
      </p:sp>
      <p:sp>
        <p:nvSpPr>
          <p:cNvPr id="27" name="Untertitel 2">
            <a:extLst>
              <a:ext uri="{FF2B5EF4-FFF2-40B4-BE49-F238E27FC236}">
                <a16:creationId xmlns:a16="http://schemas.microsoft.com/office/drawing/2014/main" id="{00ABFF18-6492-8656-11B0-91CC9D11CAC2}"/>
              </a:ext>
            </a:extLst>
          </p:cNvPr>
          <p:cNvSpPr txBox="1">
            <a:spLocks/>
          </p:cNvSpPr>
          <p:nvPr/>
        </p:nvSpPr>
        <p:spPr>
          <a:xfrm>
            <a:off x="790414" y="7502543"/>
            <a:ext cx="5584260" cy="1767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Wind energy can perform mechanical work, as shown with the paper </a:t>
            </a:r>
            <a:r>
              <a:rPr lang="en-GB" sz="1200" noProof="0" dirty="0" err="1">
                <a:latin typeface="Sofia Sans"/>
              </a:rPr>
              <a:t>windrose</a:t>
            </a:r>
            <a:r>
              <a:rPr lang="en-GB" sz="1200" noProof="0" dirty="0">
                <a:latin typeface="Sofia Sans"/>
              </a:rPr>
              <a:t> lifting weights.</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Higher wind speeds provide more energy, allowing heavier loads to be lifted.</a:t>
            </a:r>
            <a:endParaRPr lang="en-GB" sz="1200" noProof="0" dirty="0"/>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As the load increases, more energy is needed, and the </a:t>
            </a:r>
            <a:r>
              <a:rPr lang="en-GB" sz="1200" noProof="0" dirty="0" err="1">
                <a:latin typeface="Sofia Sans"/>
              </a:rPr>
              <a:t>windrose</a:t>
            </a:r>
            <a:r>
              <a:rPr lang="en-GB" sz="1200" noProof="0" dirty="0">
                <a:latin typeface="Sofia Sans"/>
              </a:rPr>
              <a:t>/anemometer/turbine may stop spinning if overloaded.</a:t>
            </a:r>
            <a:endParaRPr lang="en-GB" sz="1200" noProof="0" dirty="0"/>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This demonstrates how wind turbines convert wind energy into useful power and highlights the importance of optimizing design and placement to maximize efficiency.</a:t>
            </a:r>
            <a:endParaRPr lang="en-GB" sz="1200" noProof="0" dirty="0">
              <a:latin typeface="Sofia Sans" panose="020B0604020202020204" charset="0"/>
            </a:endParaRPr>
          </a:p>
        </p:txBody>
      </p:sp>
    </p:spTree>
    <p:extLst>
      <p:ext uri="{BB962C8B-B14F-4D97-AF65-F5344CB8AC3E}">
        <p14:creationId xmlns:p14="http://schemas.microsoft.com/office/powerpoint/2010/main" val="11795671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a:extLst>
            <a:ext uri="{FF2B5EF4-FFF2-40B4-BE49-F238E27FC236}">
              <a16:creationId xmlns:a16="http://schemas.microsoft.com/office/drawing/2014/main" id="{0EDB4BE3-767A-4FD7-D647-7057AD33D2BE}"/>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15F2D5E-D428-52A9-625D-94E5224D4002}"/>
              </a:ext>
            </a:extLst>
          </p:cNvPr>
          <p:cNvSpPr>
            <a:spLocks noGrp="1"/>
          </p:cNvSpPr>
          <p:nvPr>
            <p:ph type="sldNum" sz="quarter" idx="4"/>
          </p:nvPr>
        </p:nvSpPr>
        <p:spPr/>
        <p:txBody>
          <a:bodyPr/>
          <a:lstStyle/>
          <a:p>
            <a:fld id="{DF7F771E-9578-4C04-B869-01AF4C35C90C}" type="slidenum">
              <a:rPr lang="en-GB" noProof="0" smtClean="0"/>
              <a:t>28</a:t>
            </a:fld>
            <a:endParaRPr lang="en-GB" noProof="0"/>
          </a:p>
        </p:txBody>
      </p:sp>
      <p:sp>
        <p:nvSpPr>
          <p:cNvPr id="8" name="Untertitel 3">
            <a:extLst>
              <a:ext uri="{FF2B5EF4-FFF2-40B4-BE49-F238E27FC236}">
                <a16:creationId xmlns:a16="http://schemas.microsoft.com/office/drawing/2014/main" id="{0B6E2BC9-E8D4-F14A-057D-4A8BDBB2D897}"/>
              </a:ext>
            </a:extLst>
          </p:cNvPr>
          <p:cNvSpPr txBox="1">
            <a:spLocks/>
          </p:cNvSpPr>
          <p:nvPr/>
        </p:nvSpPr>
        <p:spPr>
          <a:xfrm>
            <a:off x="719137" y="3162367"/>
            <a:ext cx="6321425" cy="25507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Font typeface="Arial"/>
              <a:buChar char="•"/>
            </a:pPr>
            <a:r>
              <a:rPr lang="en-GB" sz="1150" noProof="0"/>
              <a:t>A generator converts __________  (</a:t>
            </a:r>
            <a:r>
              <a:rPr lang="en-GB" sz="1150" b="1" noProof="0">
                <a:solidFill>
                  <a:srgbClr val="FF0000"/>
                </a:solidFill>
              </a:rPr>
              <a:t>mechanical</a:t>
            </a:r>
            <a:r>
              <a:rPr lang="en-GB" sz="1150" noProof="0"/>
              <a:t>/thermal/chemical )energy into electrical energy.</a:t>
            </a:r>
          </a:p>
          <a:p>
            <a:pPr marL="285750" indent="-285750">
              <a:lnSpc>
                <a:spcPct val="114999"/>
              </a:lnSpc>
              <a:buFont typeface="Arial"/>
              <a:buChar char="•"/>
            </a:pPr>
            <a:r>
              <a:rPr lang="en-GB" sz="1200" noProof="0"/>
              <a:t>Wind turbines naturally spin __________ (quickly/</a:t>
            </a:r>
            <a:r>
              <a:rPr lang="en-GB" sz="1200" b="1" noProof="0">
                <a:solidFill>
                  <a:srgbClr val="FF0000"/>
                </a:solidFill>
              </a:rPr>
              <a:t>slowly</a:t>
            </a:r>
            <a:r>
              <a:rPr lang="en-GB" sz="1200" noProof="0"/>
              <a:t>/moderately), but generators need a __________ (lower/</a:t>
            </a:r>
            <a:r>
              <a:rPr lang="en-GB" sz="1200" b="1" noProof="0">
                <a:solidFill>
                  <a:srgbClr val="FF0000"/>
                </a:solidFill>
              </a:rPr>
              <a:t>higher</a:t>
            </a:r>
            <a:r>
              <a:rPr lang="en-GB" sz="1200" noProof="0"/>
              <a:t>/consistent) speed to produce electricity.</a:t>
            </a:r>
          </a:p>
          <a:p>
            <a:pPr marL="285750" indent="-285750">
              <a:lnSpc>
                <a:spcPct val="114999"/>
              </a:lnSpc>
              <a:buFont typeface="Arial"/>
              <a:buChar char="•"/>
            </a:pPr>
            <a:r>
              <a:rPr lang="en-GB" sz="1200" noProof="0"/>
              <a:t>The __________ (rotor/</a:t>
            </a:r>
            <a:r>
              <a:rPr lang="en-GB" sz="1200" b="1" noProof="0">
                <a:solidFill>
                  <a:srgbClr val="FF0000"/>
                </a:solidFill>
              </a:rPr>
              <a:t>gearbox</a:t>
            </a:r>
            <a:r>
              <a:rPr lang="en-GB" sz="1200" noProof="0"/>
              <a:t>/stator) in a wind turbine increases the rotational speed of the shaft to match the generator's requirements.</a:t>
            </a:r>
          </a:p>
          <a:p>
            <a:pPr marL="285750" indent="-285750">
              <a:lnSpc>
                <a:spcPct val="114999"/>
              </a:lnSpc>
              <a:buFont typeface="Arial"/>
              <a:buChar char="•"/>
            </a:pPr>
            <a:r>
              <a:rPr lang="en-GB" sz="1200" noProof="0"/>
              <a:t>The process of spinning a generator transforms __________ (</a:t>
            </a:r>
            <a:r>
              <a:rPr lang="en-GB" sz="1200" b="1" noProof="0"/>
              <a:t>kinetic</a:t>
            </a:r>
            <a:r>
              <a:rPr lang="en-GB" sz="1200" noProof="0"/>
              <a:t>/heat/light) energy into electricity.</a:t>
            </a:r>
          </a:p>
          <a:p>
            <a:pPr marL="285750" indent="-285750">
              <a:lnSpc>
                <a:spcPct val="114999"/>
              </a:lnSpc>
              <a:buFont typeface="Arial"/>
              <a:buChar char="•"/>
            </a:pPr>
            <a:r>
              <a:rPr lang="en-GB" sz="1200" noProof="0"/>
              <a:t>Gearboxes work by adjusting __________ and __________ (force &amp; mass/</a:t>
            </a:r>
            <a:r>
              <a:rPr lang="en-GB" sz="1200" b="1" noProof="0">
                <a:solidFill>
                  <a:srgbClr val="FF0000"/>
                </a:solidFill>
              </a:rPr>
              <a:t>speed &amp; torque</a:t>
            </a:r>
            <a:r>
              <a:rPr lang="en-GB" sz="1200" noProof="0"/>
              <a:t>/direction &amp; rotation) in the system.</a:t>
            </a:r>
          </a:p>
          <a:p>
            <a:pPr marL="0" indent="0">
              <a:lnSpc>
                <a:spcPct val="114999"/>
              </a:lnSpc>
              <a:buClr>
                <a:srgbClr val="A15315"/>
              </a:buClr>
            </a:pPr>
            <a:endParaRPr lang="en-GB" sz="1200" noProof="0"/>
          </a:p>
          <a:p>
            <a:pPr marL="285750" indent="-285750">
              <a:lnSpc>
                <a:spcPct val="114999"/>
              </a:lnSpc>
              <a:buFont typeface="Arial"/>
              <a:buChar char="•"/>
            </a:pPr>
            <a:endParaRPr lang="en-GB" sz="1150" noProof="0"/>
          </a:p>
        </p:txBody>
      </p:sp>
      <p:sp>
        <p:nvSpPr>
          <p:cNvPr id="9" name="Untertitel 5">
            <a:extLst>
              <a:ext uri="{FF2B5EF4-FFF2-40B4-BE49-F238E27FC236}">
                <a16:creationId xmlns:a16="http://schemas.microsoft.com/office/drawing/2014/main" id="{A5298FEB-B714-1134-C7EE-B029AA85CF69}"/>
              </a:ext>
            </a:extLst>
          </p:cNvPr>
          <p:cNvSpPr txBox="1">
            <a:spLocks/>
          </p:cNvSpPr>
          <p:nvPr/>
        </p:nvSpPr>
        <p:spPr>
          <a:xfrm>
            <a:off x="719138" y="2425449"/>
            <a:ext cx="53952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pic>
        <p:nvPicPr>
          <p:cNvPr id="2" name="Graphic 1" descr="Würfel Silhouette">
            <a:extLst>
              <a:ext uri="{FF2B5EF4-FFF2-40B4-BE49-F238E27FC236}">
                <a16:creationId xmlns:a16="http://schemas.microsoft.com/office/drawing/2014/main" id="{BF8802D0-7D09-5BCA-7037-DA88CEFB8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72617" y="2144816"/>
            <a:ext cx="914419" cy="914400"/>
          </a:xfrm>
          <a:prstGeom prst="rect">
            <a:avLst/>
          </a:prstGeom>
        </p:spPr>
      </p:pic>
      <p:sp>
        <p:nvSpPr>
          <p:cNvPr id="10" name="Untertitel 3">
            <a:extLst>
              <a:ext uri="{FF2B5EF4-FFF2-40B4-BE49-F238E27FC236}">
                <a16:creationId xmlns:a16="http://schemas.microsoft.com/office/drawing/2014/main" id="{B3FA41C9-F5DC-FAC6-EFB6-33CB0BA1BB53}"/>
              </a:ext>
            </a:extLst>
          </p:cNvPr>
          <p:cNvSpPr txBox="1">
            <a:spLocks/>
          </p:cNvSpPr>
          <p:nvPr/>
        </p:nvSpPr>
        <p:spPr>
          <a:xfrm>
            <a:off x="719137" y="6265989"/>
            <a:ext cx="6321425" cy="230315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28600" indent="0">
              <a:lnSpc>
                <a:spcPct val="114999"/>
              </a:lnSpc>
            </a:pPr>
            <a:endParaRPr lang="en-GB" sz="1150" b="1" noProof="0" dirty="0"/>
          </a:p>
          <a:p>
            <a:pPr marL="285750" indent="-285750">
              <a:lnSpc>
                <a:spcPct val="114999"/>
              </a:lnSpc>
              <a:buFont typeface="Arial"/>
              <a:buChar char="•"/>
            </a:pPr>
            <a:r>
              <a:rPr lang="en-GB" sz="1150" noProof="0" dirty="0"/>
              <a:t>Wind turbines spin at a high speed naturally, making them directly compatible with generators. </a:t>
            </a:r>
            <a:br>
              <a:rPr lang="en-GB" sz="1150" noProof="0" dirty="0"/>
            </a:br>
            <a:r>
              <a:rPr lang="en-GB" sz="1150" b="1" u="sng" noProof="0" dirty="0">
                <a:solidFill>
                  <a:srgbClr val="FF0000"/>
                </a:solidFill>
              </a:rPr>
              <a:t>False.</a:t>
            </a:r>
            <a:r>
              <a:rPr lang="en-GB" sz="1150" noProof="0" dirty="0"/>
              <a:t> </a:t>
            </a:r>
            <a:r>
              <a:rPr lang="en-GB" sz="1150" b="1" noProof="0" dirty="0">
                <a:solidFill>
                  <a:srgbClr val="FF0000"/>
                </a:solidFill>
              </a:rPr>
              <a:t>Correction: Wind turbines spin at a slow speed naturally, so a gearbox is required to make them compatible with generators.</a:t>
            </a:r>
          </a:p>
          <a:p>
            <a:pPr marL="285750" indent="-285750">
              <a:lnSpc>
                <a:spcPct val="114999"/>
              </a:lnSpc>
              <a:buFont typeface="Arial"/>
              <a:buChar char="•"/>
            </a:pPr>
            <a:r>
              <a:rPr lang="en-GB" sz="1150" noProof="0" dirty="0"/>
              <a:t>A generator uses electrical energy to create mechanical energy. </a:t>
            </a:r>
            <a:br>
              <a:rPr lang="en-GB" sz="1150" noProof="0" dirty="0"/>
            </a:br>
            <a:r>
              <a:rPr lang="en-GB" sz="1150" b="1" u="sng" noProof="0" dirty="0">
                <a:solidFill>
                  <a:srgbClr val="FF0000"/>
                </a:solidFill>
              </a:rPr>
              <a:t>False. </a:t>
            </a:r>
            <a:r>
              <a:rPr lang="en-GB" sz="1150" b="1" noProof="0" dirty="0">
                <a:solidFill>
                  <a:srgbClr val="FF0000"/>
                </a:solidFill>
              </a:rPr>
              <a:t>Correction: A generator uses mechanical energy to create electrical energy.</a:t>
            </a:r>
          </a:p>
          <a:p>
            <a:pPr marL="285750" indent="-285750">
              <a:lnSpc>
                <a:spcPct val="114999"/>
              </a:lnSpc>
              <a:buFont typeface="Arial"/>
              <a:buChar char="•"/>
            </a:pPr>
            <a:r>
              <a:rPr lang="en-GB" sz="1150" noProof="0" dirty="0"/>
              <a:t>The rotor is the stationary part of a generator. </a:t>
            </a:r>
            <a:br>
              <a:rPr lang="en-GB" sz="1150" noProof="0" dirty="0"/>
            </a:br>
            <a:r>
              <a:rPr lang="en-GB" sz="1150" b="1" u="sng" noProof="0" dirty="0">
                <a:solidFill>
                  <a:srgbClr val="FF0000"/>
                </a:solidFill>
              </a:rPr>
              <a:t>False. </a:t>
            </a:r>
            <a:r>
              <a:rPr lang="en-GB" sz="1150" b="1" noProof="0" dirty="0">
                <a:solidFill>
                  <a:srgbClr val="FF0000"/>
                </a:solidFill>
              </a:rPr>
              <a:t>Correction: The rotor is the rotating part of a generator, while the stator is stationary.</a:t>
            </a:r>
          </a:p>
          <a:p>
            <a:pPr marL="285750" indent="-285750">
              <a:lnSpc>
                <a:spcPct val="114999"/>
              </a:lnSpc>
              <a:buFont typeface="Arial"/>
              <a:buChar char="•"/>
            </a:pPr>
            <a:r>
              <a:rPr lang="en-GB" sz="1150" noProof="0" dirty="0"/>
              <a:t>Gearboxes are used in wind turbines to adjust the rotational speed and torque. </a:t>
            </a:r>
            <a:br>
              <a:rPr lang="en-GB" sz="1150" noProof="0" dirty="0"/>
            </a:br>
            <a:r>
              <a:rPr lang="en-GB" sz="1150" b="1" u="sng" noProof="0" dirty="0">
                <a:solidFill>
                  <a:srgbClr val="FF0000"/>
                </a:solidFill>
              </a:rPr>
              <a:t>True.</a:t>
            </a:r>
          </a:p>
          <a:p>
            <a:pPr marL="285750" indent="-285750">
              <a:lnSpc>
                <a:spcPct val="114999"/>
              </a:lnSpc>
              <a:buFont typeface="Arial"/>
              <a:buChar char="•"/>
            </a:pPr>
            <a:r>
              <a:rPr lang="en-GB" sz="1150" noProof="0" dirty="0"/>
              <a:t>The energy conversion process in wind turbines involves transforming kinetic energy into mechanical energy and then into electrical energy. </a:t>
            </a:r>
            <a:br>
              <a:rPr lang="en-GB" sz="1150" noProof="0" dirty="0"/>
            </a:br>
            <a:r>
              <a:rPr lang="en-GB" sz="1150" b="1" u="sng" noProof="0" dirty="0">
                <a:solidFill>
                  <a:srgbClr val="FF0000"/>
                </a:solidFill>
              </a:rPr>
              <a:t>True.</a:t>
            </a:r>
            <a:endParaRPr lang="en-GB" sz="1200" b="1" u="sng" noProof="0" dirty="0">
              <a:solidFill>
                <a:srgbClr val="FF0000"/>
              </a:solidFill>
            </a:endParaRPr>
          </a:p>
          <a:p>
            <a:pPr marL="285750" indent="-285750">
              <a:lnSpc>
                <a:spcPct val="114999"/>
              </a:lnSpc>
              <a:buFont typeface="Arial"/>
              <a:buChar char="•"/>
            </a:pPr>
            <a:endParaRPr lang="en-GB" sz="1150" noProof="0" dirty="0"/>
          </a:p>
        </p:txBody>
      </p:sp>
      <p:sp>
        <p:nvSpPr>
          <p:cNvPr id="12" name="Titel 1">
            <a:extLst>
              <a:ext uri="{FF2B5EF4-FFF2-40B4-BE49-F238E27FC236}">
                <a16:creationId xmlns:a16="http://schemas.microsoft.com/office/drawing/2014/main" id="{A59D2D64-E328-E75C-EF43-6EC332D4F9C0}"/>
              </a:ext>
            </a:extLst>
          </p:cNvPr>
          <p:cNvSpPr txBox="1">
            <a:spLocks/>
          </p:cNvSpPr>
          <p:nvPr/>
        </p:nvSpPr>
        <p:spPr>
          <a:xfrm>
            <a:off x="719137" y="1277938"/>
            <a:ext cx="6380336" cy="80324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4800"/>
              <a:buFont typeface="Epilogue"/>
              <a:buNone/>
              <a:defRPr sz="3059"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9pPr>
          </a:lstStyle>
          <a:p>
            <a:r>
              <a:rPr lang="en-GB" sz="2800" noProof="0" dirty="0"/>
              <a:t>Test your knowledge on generators and gearboxes</a:t>
            </a:r>
            <a:endParaRPr lang="en-GB" sz="2800" dirty="0"/>
          </a:p>
        </p:txBody>
      </p:sp>
      <p:sp>
        <p:nvSpPr>
          <p:cNvPr id="25" name="Untertitel 3">
            <a:extLst>
              <a:ext uri="{FF2B5EF4-FFF2-40B4-BE49-F238E27FC236}">
                <a16:creationId xmlns:a16="http://schemas.microsoft.com/office/drawing/2014/main" id="{6E36B7E9-9DB2-3185-D7AC-F50779C7EEB2}"/>
              </a:ext>
            </a:extLst>
          </p:cNvPr>
          <p:cNvSpPr txBox="1">
            <a:spLocks/>
          </p:cNvSpPr>
          <p:nvPr/>
        </p:nvSpPr>
        <p:spPr>
          <a:xfrm>
            <a:off x="719136" y="2770027"/>
            <a:ext cx="6049677"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dirty="0"/>
              <a:t>Fill in the blanks.</a:t>
            </a:r>
          </a:p>
          <a:p>
            <a:pPr marL="144000" indent="0">
              <a:lnSpc>
                <a:spcPct val="114999"/>
              </a:lnSpc>
            </a:pPr>
            <a:endParaRPr lang="en-GB" sz="1200" noProof="0" dirty="0"/>
          </a:p>
        </p:txBody>
      </p:sp>
      <p:sp>
        <p:nvSpPr>
          <p:cNvPr id="26" name="Untertitel 5">
            <a:extLst>
              <a:ext uri="{FF2B5EF4-FFF2-40B4-BE49-F238E27FC236}">
                <a16:creationId xmlns:a16="http://schemas.microsoft.com/office/drawing/2014/main" id="{AC94FA9F-48AB-C8B9-D18B-CB3697AE6557}"/>
              </a:ext>
            </a:extLst>
          </p:cNvPr>
          <p:cNvSpPr txBox="1">
            <a:spLocks/>
          </p:cNvSpPr>
          <p:nvPr/>
        </p:nvSpPr>
        <p:spPr>
          <a:xfrm>
            <a:off x="719138" y="5584579"/>
            <a:ext cx="53952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27" name="Untertitel 3">
            <a:extLst>
              <a:ext uri="{FF2B5EF4-FFF2-40B4-BE49-F238E27FC236}">
                <a16:creationId xmlns:a16="http://schemas.microsoft.com/office/drawing/2014/main" id="{01A035C1-B60B-66D0-3AC8-B233CC8B85BB}"/>
              </a:ext>
            </a:extLst>
          </p:cNvPr>
          <p:cNvSpPr txBox="1">
            <a:spLocks/>
          </p:cNvSpPr>
          <p:nvPr/>
        </p:nvSpPr>
        <p:spPr>
          <a:xfrm>
            <a:off x="719138" y="5946575"/>
            <a:ext cx="6049676"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200" noProof="0" dirty="0"/>
              <a:t>Write whether the given statements are true or false. Correct the statements if they are false. </a:t>
            </a:r>
            <a:endParaRPr lang="en-GB" sz="1200" noProof="0" dirty="0"/>
          </a:p>
        </p:txBody>
      </p:sp>
    </p:spTree>
    <p:extLst>
      <p:ext uri="{BB962C8B-B14F-4D97-AF65-F5344CB8AC3E}">
        <p14:creationId xmlns:p14="http://schemas.microsoft.com/office/powerpoint/2010/main" val="467972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a:extLst>
            <a:ext uri="{FF2B5EF4-FFF2-40B4-BE49-F238E27FC236}">
              <a16:creationId xmlns:a16="http://schemas.microsoft.com/office/drawing/2014/main" id="{B62B14A6-27AB-E5CF-857D-E08BB6B9CBF3}"/>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34E405C-9C5D-649E-2662-CD257562654F}"/>
              </a:ext>
            </a:extLst>
          </p:cNvPr>
          <p:cNvSpPr>
            <a:spLocks noGrp="1"/>
          </p:cNvSpPr>
          <p:nvPr>
            <p:ph type="sldNum" sz="quarter" idx="4"/>
          </p:nvPr>
        </p:nvSpPr>
        <p:spPr/>
        <p:txBody>
          <a:bodyPr/>
          <a:lstStyle/>
          <a:p>
            <a:fld id="{DF7F771E-9578-4C04-B869-01AF4C35C90C}" type="slidenum">
              <a:rPr lang="en-GB" noProof="0" smtClean="0"/>
              <a:t>29</a:t>
            </a:fld>
            <a:endParaRPr lang="en-GB" noProof="0"/>
          </a:p>
        </p:txBody>
      </p:sp>
      <p:graphicFrame>
        <p:nvGraphicFramePr>
          <p:cNvPr id="13" name="Table 12">
            <a:extLst>
              <a:ext uri="{FF2B5EF4-FFF2-40B4-BE49-F238E27FC236}">
                <a16:creationId xmlns:a16="http://schemas.microsoft.com/office/drawing/2014/main" id="{4996F7D8-4DF2-BA39-3635-F6F7AB077F67}"/>
              </a:ext>
            </a:extLst>
          </p:cNvPr>
          <p:cNvGraphicFramePr>
            <a:graphicFrameLocks noGrp="1"/>
          </p:cNvGraphicFramePr>
          <p:nvPr>
            <p:extLst>
              <p:ext uri="{D42A27DB-BD31-4B8C-83A1-F6EECF244321}">
                <p14:modId xmlns:p14="http://schemas.microsoft.com/office/powerpoint/2010/main" val="597060913"/>
              </p:ext>
            </p:extLst>
          </p:nvPr>
        </p:nvGraphicFramePr>
        <p:xfrm>
          <a:off x="1084895" y="2443747"/>
          <a:ext cx="1715949" cy="2084932"/>
        </p:xfrm>
        <a:graphic>
          <a:graphicData uri="http://schemas.openxmlformats.org/drawingml/2006/table">
            <a:tbl>
              <a:tblPr firstRow="1" bandRow="1">
                <a:tableStyleId>{87981CF4-4D3E-4045-9ACF-D1447FECE155}</a:tableStyleId>
              </a:tblPr>
              <a:tblGrid>
                <a:gridCol w="1715949">
                  <a:extLst>
                    <a:ext uri="{9D8B030D-6E8A-4147-A177-3AD203B41FA5}">
                      <a16:colId xmlns:a16="http://schemas.microsoft.com/office/drawing/2014/main" val="1756741421"/>
                    </a:ext>
                  </a:extLst>
                </a:gridCol>
              </a:tblGrid>
              <a:tr h="302095">
                <a:tc>
                  <a:txBody>
                    <a:bodyPr/>
                    <a:lstStyle/>
                    <a:p>
                      <a:r>
                        <a:rPr lang="en-GB" sz="1150" b="1" noProof="0">
                          <a:latin typeface="Sofia Sans" panose="020B0604020202020204" charset="0"/>
                        </a:rPr>
                        <a:t>Column A</a:t>
                      </a:r>
                    </a:p>
                  </a:txBody>
                  <a:tcPr/>
                </a:tc>
                <a:extLst>
                  <a:ext uri="{0D108BD9-81ED-4DB2-BD59-A6C34878D82A}">
                    <a16:rowId xmlns:a16="http://schemas.microsoft.com/office/drawing/2014/main" val="2348325407"/>
                  </a:ext>
                </a:extLst>
              </a:tr>
              <a:tr h="369750">
                <a:tc>
                  <a:txBody>
                    <a:bodyPr/>
                    <a:lstStyle/>
                    <a:p>
                      <a:r>
                        <a:rPr lang="en-GB" sz="1150" noProof="0">
                          <a:latin typeface="Sofia Sans" panose="020B0604020202020204" charset="0"/>
                        </a:rPr>
                        <a:t>1. Gearbox</a:t>
                      </a:r>
                      <a:r>
                        <a:rPr lang="en-GB" sz="1150" noProof="0">
                          <a:solidFill>
                            <a:srgbClr val="FF0000"/>
                          </a:solidFill>
                          <a:latin typeface="Sofia Sans" panose="020B0604020202020204" charset="0"/>
                        </a:rPr>
                        <a:t> </a:t>
                      </a:r>
                      <a:r>
                        <a:rPr lang="en-GB" sz="1150" b="1" noProof="0">
                          <a:solidFill>
                            <a:srgbClr val="FF0000"/>
                          </a:solidFill>
                          <a:latin typeface="Sofia Sans" panose="020B0604020202020204" charset="0"/>
                        </a:rPr>
                        <a:t>(b)</a:t>
                      </a:r>
                      <a:endParaRPr lang="en-GB" sz="1150" noProof="0">
                        <a:solidFill>
                          <a:srgbClr val="FF0000"/>
                        </a:solidFill>
                        <a:latin typeface="Sofia Sans" panose="020B0604020202020204" charset="0"/>
                      </a:endParaRPr>
                    </a:p>
                  </a:txBody>
                  <a:tcPr/>
                </a:tc>
                <a:extLst>
                  <a:ext uri="{0D108BD9-81ED-4DB2-BD59-A6C34878D82A}">
                    <a16:rowId xmlns:a16="http://schemas.microsoft.com/office/drawing/2014/main" val="2978991460"/>
                  </a:ext>
                </a:extLst>
              </a:tr>
              <a:tr h="366937">
                <a:tc>
                  <a:txBody>
                    <a:bodyPr/>
                    <a:lstStyle/>
                    <a:p>
                      <a:r>
                        <a:rPr lang="en-GB" sz="1150" noProof="0">
                          <a:latin typeface="Sofia Sans" panose="020B0604020202020204" charset="0"/>
                        </a:rPr>
                        <a:t>2. Generator</a:t>
                      </a:r>
                      <a:r>
                        <a:rPr lang="en-GB" sz="1150" noProof="0">
                          <a:solidFill>
                            <a:srgbClr val="FF0000"/>
                          </a:solidFill>
                          <a:latin typeface="Sofia Sans" panose="020B0604020202020204" charset="0"/>
                        </a:rPr>
                        <a:t> </a:t>
                      </a:r>
                      <a:r>
                        <a:rPr lang="en-GB" sz="1150" b="1" noProof="0">
                          <a:solidFill>
                            <a:srgbClr val="FF0000"/>
                          </a:solidFill>
                          <a:latin typeface="Sofia Sans" panose="020B0604020202020204" charset="0"/>
                        </a:rPr>
                        <a:t>(a)</a:t>
                      </a:r>
                      <a:endParaRPr lang="en-GB" sz="1150" noProof="0">
                        <a:solidFill>
                          <a:srgbClr val="FF0000"/>
                        </a:solidFill>
                        <a:latin typeface="Sofia Sans" panose="020B0604020202020204" charset="0"/>
                      </a:endParaRPr>
                    </a:p>
                  </a:txBody>
                  <a:tcPr/>
                </a:tc>
                <a:extLst>
                  <a:ext uri="{0D108BD9-81ED-4DB2-BD59-A6C34878D82A}">
                    <a16:rowId xmlns:a16="http://schemas.microsoft.com/office/drawing/2014/main" val="1427679132"/>
                  </a:ext>
                </a:extLst>
              </a:tr>
              <a:tr h="302095">
                <a:tc>
                  <a:txBody>
                    <a:bodyPr/>
                    <a:lstStyle/>
                    <a:p>
                      <a:r>
                        <a:rPr lang="en-GB" sz="1150" noProof="0">
                          <a:latin typeface="Sofia Sans" panose="020B0604020202020204" charset="0"/>
                        </a:rPr>
                        <a:t>3. Kinetic energy </a:t>
                      </a:r>
                      <a:r>
                        <a:rPr lang="en-GB" sz="1150" b="1" noProof="0">
                          <a:solidFill>
                            <a:srgbClr val="FF0000"/>
                          </a:solidFill>
                          <a:latin typeface="Sofia Sans" panose="020B0604020202020204" charset="0"/>
                        </a:rPr>
                        <a:t>(c)</a:t>
                      </a:r>
                      <a:endParaRPr lang="en-GB" sz="1150" noProof="0">
                        <a:solidFill>
                          <a:srgbClr val="FF0000"/>
                        </a:solidFill>
                        <a:latin typeface="Sofia Sans" panose="020B0604020202020204" charset="0"/>
                      </a:endParaRPr>
                    </a:p>
                  </a:txBody>
                  <a:tcPr/>
                </a:tc>
                <a:extLst>
                  <a:ext uri="{0D108BD9-81ED-4DB2-BD59-A6C34878D82A}">
                    <a16:rowId xmlns:a16="http://schemas.microsoft.com/office/drawing/2014/main" val="1841304415"/>
                  </a:ext>
                </a:extLst>
              </a:tr>
              <a:tr h="302095">
                <a:tc>
                  <a:txBody>
                    <a:bodyPr/>
                    <a:lstStyle/>
                    <a:p>
                      <a:r>
                        <a:rPr lang="en-GB" sz="1150" noProof="0">
                          <a:latin typeface="Sofia Sans" panose="020B0604020202020204" charset="0"/>
                        </a:rPr>
                        <a:t>4. Rotor</a:t>
                      </a:r>
                      <a:r>
                        <a:rPr lang="en-GB" sz="1150" noProof="0">
                          <a:solidFill>
                            <a:srgbClr val="FF0000"/>
                          </a:solidFill>
                          <a:latin typeface="Sofia Sans" panose="020B0604020202020204" charset="0"/>
                        </a:rPr>
                        <a:t> </a:t>
                      </a:r>
                      <a:r>
                        <a:rPr lang="en-GB" sz="1150" b="1" noProof="0">
                          <a:solidFill>
                            <a:srgbClr val="FF0000"/>
                          </a:solidFill>
                          <a:latin typeface="Sofia Sans" panose="020B0604020202020204" charset="0"/>
                        </a:rPr>
                        <a:t>(d)</a:t>
                      </a:r>
                      <a:endParaRPr lang="en-GB" sz="1150" noProof="0">
                        <a:solidFill>
                          <a:srgbClr val="FF0000"/>
                        </a:solidFill>
                        <a:latin typeface="Sofia Sans" panose="020B0604020202020204" charset="0"/>
                      </a:endParaRPr>
                    </a:p>
                  </a:txBody>
                  <a:tcPr/>
                </a:tc>
                <a:extLst>
                  <a:ext uri="{0D108BD9-81ED-4DB2-BD59-A6C34878D82A}">
                    <a16:rowId xmlns:a16="http://schemas.microsoft.com/office/drawing/2014/main" val="3908959972"/>
                  </a:ext>
                </a:extLst>
              </a:tr>
              <a:tr h="429585">
                <a:tc>
                  <a:txBody>
                    <a:bodyPr/>
                    <a:lstStyle/>
                    <a:p>
                      <a:r>
                        <a:rPr lang="en-GB" sz="1150" noProof="0">
                          <a:latin typeface="Sofia Sans" panose="020B0604020202020204" charset="0"/>
                        </a:rPr>
                        <a:t>5. Electromagnetic induction</a:t>
                      </a:r>
                      <a:r>
                        <a:rPr lang="en-GB" sz="1150" noProof="0">
                          <a:solidFill>
                            <a:srgbClr val="FF0000"/>
                          </a:solidFill>
                          <a:latin typeface="Sofia Sans" panose="020B0604020202020204" charset="0"/>
                        </a:rPr>
                        <a:t> </a:t>
                      </a:r>
                      <a:r>
                        <a:rPr lang="en-GB" sz="1150" b="1" noProof="0">
                          <a:solidFill>
                            <a:srgbClr val="FF0000"/>
                          </a:solidFill>
                          <a:latin typeface="Sofia Sans" panose="020B0604020202020204" charset="0"/>
                        </a:rPr>
                        <a:t>(e)</a:t>
                      </a:r>
                      <a:endParaRPr lang="en-GB" sz="1150" noProof="0">
                        <a:solidFill>
                          <a:srgbClr val="FF0000"/>
                        </a:solidFill>
                        <a:latin typeface="Sofia Sans" panose="020B0604020202020204" charset="0"/>
                      </a:endParaRPr>
                    </a:p>
                  </a:txBody>
                  <a:tcPr/>
                </a:tc>
                <a:extLst>
                  <a:ext uri="{0D108BD9-81ED-4DB2-BD59-A6C34878D82A}">
                    <a16:rowId xmlns:a16="http://schemas.microsoft.com/office/drawing/2014/main" val="3154909195"/>
                  </a:ext>
                </a:extLst>
              </a:tr>
            </a:tbl>
          </a:graphicData>
        </a:graphic>
      </p:graphicFrame>
      <p:graphicFrame>
        <p:nvGraphicFramePr>
          <p:cNvPr id="14" name="Table 13">
            <a:extLst>
              <a:ext uri="{FF2B5EF4-FFF2-40B4-BE49-F238E27FC236}">
                <a16:creationId xmlns:a16="http://schemas.microsoft.com/office/drawing/2014/main" id="{10605B9F-8703-3ED9-65B6-01F01EFCBF91}"/>
              </a:ext>
            </a:extLst>
          </p:cNvPr>
          <p:cNvGraphicFramePr>
            <a:graphicFrameLocks noGrp="1"/>
          </p:cNvGraphicFramePr>
          <p:nvPr>
            <p:extLst>
              <p:ext uri="{D42A27DB-BD31-4B8C-83A1-F6EECF244321}">
                <p14:modId xmlns:p14="http://schemas.microsoft.com/office/powerpoint/2010/main" val="2771058507"/>
              </p:ext>
            </p:extLst>
          </p:nvPr>
        </p:nvGraphicFramePr>
        <p:xfrm>
          <a:off x="3416775" y="2443337"/>
          <a:ext cx="3378951" cy="2125980"/>
        </p:xfrm>
        <a:graphic>
          <a:graphicData uri="http://schemas.openxmlformats.org/drawingml/2006/table">
            <a:tbl>
              <a:tblPr firstRow="1" bandRow="1">
                <a:tableStyleId>{87981CF4-4D3E-4045-9ACF-D1447FECE155}</a:tableStyleId>
              </a:tblPr>
              <a:tblGrid>
                <a:gridCol w="3378951">
                  <a:extLst>
                    <a:ext uri="{9D8B030D-6E8A-4147-A177-3AD203B41FA5}">
                      <a16:colId xmlns:a16="http://schemas.microsoft.com/office/drawing/2014/main" val="1756741421"/>
                    </a:ext>
                  </a:extLst>
                </a:gridCol>
              </a:tblGrid>
              <a:tr h="263215">
                <a:tc>
                  <a:txBody>
                    <a:bodyPr/>
                    <a:lstStyle/>
                    <a:p>
                      <a:r>
                        <a:rPr lang="en-GB" sz="1150" b="1" noProof="0">
                          <a:latin typeface="Sofia Sans" panose="020B0604020202020204" charset="0"/>
                        </a:rPr>
                        <a:t>Column B</a:t>
                      </a:r>
                    </a:p>
                  </a:txBody>
                  <a:tcPr/>
                </a:tc>
                <a:extLst>
                  <a:ext uri="{0D108BD9-81ED-4DB2-BD59-A6C34878D82A}">
                    <a16:rowId xmlns:a16="http://schemas.microsoft.com/office/drawing/2014/main" val="2348325407"/>
                  </a:ext>
                </a:extLst>
              </a:tr>
              <a:tr h="263215">
                <a:tc>
                  <a:txBody>
                    <a:bodyPr/>
                    <a:lstStyle/>
                    <a:p>
                      <a:r>
                        <a:rPr lang="en-GB" sz="1150" noProof="0">
                          <a:latin typeface="Sofia Sans" panose="020B0604020202020204" charset="0"/>
                        </a:rPr>
                        <a:t>a. Converts mechanical energy into electrical energy</a:t>
                      </a:r>
                    </a:p>
                  </a:txBody>
                  <a:tcPr/>
                </a:tc>
                <a:extLst>
                  <a:ext uri="{0D108BD9-81ED-4DB2-BD59-A6C34878D82A}">
                    <a16:rowId xmlns:a16="http://schemas.microsoft.com/office/drawing/2014/main" val="2978991460"/>
                  </a:ext>
                </a:extLst>
              </a:tr>
              <a:tr h="409188">
                <a:tc>
                  <a:txBody>
                    <a:bodyPr/>
                    <a:lstStyle/>
                    <a:p>
                      <a:r>
                        <a:rPr lang="en-GB" sz="1150" noProof="0">
                          <a:latin typeface="Sofia Sans" panose="020B0604020202020204" charset="0"/>
                        </a:rPr>
                        <a:t>b. Adjusts speed and torque to match system requirements</a:t>
                      </a:r>
                    </a:p>
                  </a:txBody>
                  <a:tcPr/>
                </a:tc>
                <a:extLst>
                  <a:ext uri="{0D108BD9-81ED-4DB2-BD59-A6C34878D82A}">
                    <a16:rowId xmlns:a16="http://schemas.microsoft.com/office/drawing/2014/main" val="1427679132"/>
                  </a:ext>
                </a:extLst>
              </a:tr>
              <a:tr h="263215">
                <a:tc>
                  <a:txBody>
                    <a:bodyPr/>
                    <a:lstStyle/>
                    <a:p>
                      <a:r>
                        <a:rPr lang="en-GB" sz="1150" noProof="0">
                          <a:latin typeface="Sofia Sans" panose="020B0604020202020204" charset="0"/>
                        </a:rPr>
                        <a:t>c. Energy in motion, like wind</a:t>
                      </a:r>
                    </a:p>
                  </a:txBody>
                  <a:tcPr/>
                </a:tc>
                <a:extLst>
                  <a:ext uri="{0D108BD9-81ED-4DB2-BD59-A6C34878D82A}">
                    <a16:rowId xmlns:a16="http://schemas.microsoft.com/office/drawing/2014/main" val="1841304415"/>
                  </a:ext>
                </a:extLst>
              </a:tr>
              <a:tr h="263215">
                <a:tc>
                  <a:txBody>
                    <a:bodyPr/>
                    <a:lstStyle/>
                    <a:p>
                      <a:r>
                        <a:rPr lang="en-GB" sz="1150" noProof="0">
                          <a:latin typeface="Sofia Sans" panose="020B0604020202020204" charset="0"/>
                        </a:rPr>
                        <a:t>d. The rotating part of the generator</a:t>
                      </a:r>
                    </a:p>
                  </a:txBody>
                  <a:tcPr/>
                </a:tc>
                <a:extLst>
                  <a:ext uri="{0D108BD9-81ED-4DB2-BD59-A6C34878D82A}">
                    <a16:rowId xmlns:a16="http://schemas.microsoft.com/office/drawing/2014/main" val="3908959972"/>
                  </a:ext>
                </a:extLst>
              </a:tr>
              <a:tr h="409188">
                <a:tc>
                  <a:txBody>
                    <a:bodyPr/>
                    <a:lstStyle/>
                    <a:p>
                      <a:r>
                        <a:rPr lang="en-GB" sz="1150" noProof="0">
                          <a:latin typeface="Sofia Sans" panose="020B0604020202020204" charset="0"/>
                        </a:rPr>
                        <a:t>e. Process of generating electricity through a magnetic field</a:t>
                      </a:r>
                    </a:p>
                  </a:txBody>
                  <a:tcPr/>
                </a:tc>
                <a:extLst>
                  <a:ext uri="{0D108BD9-81ED-4DB2-BD59-A6C34878D82A}">
                    <a16:rowId xmlns:a16="http://schemas.microsoft.com/office/drawing/2014/main" val="3154909195"/>
                  </a:ext>
                </a:extLst>
              </a:tr>
            </a:tbl>
          </a:graphicData>
        </a:graphic>
      </p:graphicFrame>
      <p:sp>
        <p:nvSpPr>
          <p:cNvPr id="21" name="Untertitel 5">
            <a:extLst>
              <a:ext uri="{FF2B5EF4-FFF2-40B4-BE49-F238E27FC236}">
                <a16:creationId xmlns:a16="http://schemas.microsoft.com/office/drawing/2014/main" id="{D93B72DB-F74C-FA6F-B94C-E8424D06C471}"/>
              </a:ext>
            </a:extLst>
          </p:cNvPr>
          <p:cNvSpPr txBox="1">
            <a:spLocks/>
          </p:cNvSpPr>
          <p:nvPr/>
        </p:nvSpPr>
        <p:spPr>
          <a:xfrm>
            <a:off x="719138" y="1299954"/>
            <a:ext cx="539527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3</a:t>
            </a:r>
          </a:p>
        </p:txBody>
      </p:sp>
      <p:sp>
        <p:nvSpPr>
          <p:cNvPr id="22" name="Untertitel 3">
            <a:extLst>
              <a:ext uri="{FF2B5EF4-FFF2-40B4-BE49-F238E27FC236}">
                <a16:creationId xmlns:a16="http://schemas.microsoft.com/office/drawing/2014/main" id="{FA2FE9DE-B16F-1509-1422-688731D4D2F0}"/>
              </a:ext>
            </a:extLst>
          </p:cNvPr>
          <p:cNvSpPr txBox="1">
            <a:spLocks/>
          </p:cNvSpPr>
          <p:nvPr/>
        </p:nvSpPr>
        <p:spPr>
          <a:xfrm>
            <a:off x="790862" y="1661950"/>
            <a:ext cx="5977951"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US" sz="1150" noProof="0"/>
              <a:t>Match the terms in Column A to their corresponding definitions or functions in Column B.</a:t>
            </a:r>
            <a:endParaRPr lang="en-GB" sz="1150" noProof="0"/>
          </a:p>
        </p:txBody>
      </p:sp>
    </p:spTree>
    <p:extLst>
      <p:ext uri="{BB962C8B-B14F-4D97-AF65-F5344CB8AC3E}">
        <p14:creationId xmlns:p14="http://schemas.microsoft.com/office/powerpoint/2010/main" val="2154948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en-GB" noProof="0" smtClean="0"/>
              <a:t>3</a:t>
            </a:fld>
            <a:endParaRPr lang="en-GB" noProof="0"/>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19137" y="1277938"/>
            <a:ext cx="6194281" cy="79353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a:r>
              <a:rPr lang="en-GB" sz="1200" noProof="0" dirty="0">
                <a:sym typeface="Epilogue"/>
              </a:rPr>
              <a:t>You'll find:</a:t>
            </a:r>
          </a:p>
          <a:p>
            <a:pPr>
              <a:buFont typeface="Arial" panose="020B0604020202020204" pitchFamily="34" charset="0"/>
              <a:buChar char="•"/>
            </a:pPr>
            <a:r>
              <a:rPr lang="en-GB" sz="1200" i="1" noProof="0" dirty="0">
                <a:sym typeface="Epilogue"/>
              </a:rPr>
              <a:t>Learning objectives: </a:t>
            </a:r>
            <a:r>
              <a:rPr lang="en-GB" sz="1200" noProof="0" dirty="0">
                <a:sym typeface="Epilogue"/>
              </a:rPr>
              <a:t>Clearly defined goals for each chapter to help guide your learning.</a:t>
            </a:r>
            <a:endParaRPr lang="en-GB" sz="1200" noProof="0" dirty="0"/>
          </a:p>
          <a:p>
            <a:pPr>
              <a:buFont typeface="Arial" panose="020B0604020202020204" pitchFamily="34" charset="0"/>
              <a:buChar char="•"/>
            </a:pPr>
            <a:r>
              <a:rPr lang="en-GB" sz="1200" i="1" noProof="0" dirty="0">
                <a:sym typeface="Epilogue"/>
              </a:rPr>
              <a:t>Key terms: </a:t>
            </a:r>
            <a:r>
              <a:rPr lang="en-GB" sz="1200" noProof="0" dirty="0">
                <a:sym typeface="Epilogue"/>
              </a:rPr>
              <a:t>Important vocabulary words related to wind energy.</a:t>
            </a:r>
            <a:endParaRPr lang="en-GB" sz="1200" noProof="0" dirty="0"/>
          </a:p>
          <a:p>
            <a:pPr>
              <a:buFont typeface="Arial" panose="020B0604020202020204" pitchFamily="34" charset="0"/>
              <a:buChar char="•"/>
            </a:pPr>
            <a:r>
              <a:rPr lang="en-GB" sz="1200" i="1" noProof="0" dirty="0">
                <a:sym typeface="Epilogue"/>
              </a:rPr>
              <a:t>Hands-on activities</a:t>
            </a:r>
            <a:r>
              <a:rPr lang="en-GB" sz="1200" noProof="0" dirty="0">
                <a:sym typeface="Epilogue"/>
              </a:rPr>
              <a:t>: Practical exercises that reinforce the concepts you're learning.</a:t>
            </a:r>
            <a:endParaRPr lang="en-GB" sz="1200" noProof="0" dirty="0"/>
          </a:p>
          <a:p>
            <a:pPr>
              <a:buFont typeface="Arial" panose="020B0604020202020204" pitchFamily="34" charset="0"/>
              <a:buChar char="•"/>
            </a:pPr>
            <a:r>
              <a:rPr lang="en-GB" sz="1200" i="1" noProof="0" dirty="0">
                <a:sym typeface="Epilogue"/>
              </a:rPr>
              <a:t>Check your understanding</a:t>
            </a:r>
            <a:r>
              <a:rPr lang="en-GB" sz="1200" noProof="0" dirty="0">
                <a:sym typeface="Epilogue"/>
              </a:rPr>
              <a:t>: Questions and quizzes to assess your knowledge and understanding of the material.</a:t>
            </a:r>
            <a:endParaRPr lang="en-GB" sz="1200" noProof="0" dirty="0"/>
          </a:p>
          <a:p>
            <a:pPr>
              <a:buFont typeface="Arial" panose="020B0604020202020204" pitchFamily="34" charset="0"/>
              <a:buChar char="•"/>
            </a:pPr>
            <a:r>
              <a:rPr lang="en-GB" sz="1200" i="1" noProof="0" dirty="0">
                <a:sym typeface="Epilogue"/>
              </a:rPr>
              <a:t>Project ideas</a:t>
            </a:r>
            <a:r>
              <a:rPr lang="en-GB" sz="1200" noProof="0" dirty="0">
                <a:sym typeface="Epilogue"/>
              </a:rPr>
              <a:t>: Suggestions for projects you can undertake to explore Wind energy further.</a:t>
            </a:r>
            <a:endParaRPr lang="en-GB" sz="1200" noProof="0" dirty="0"/>
          </a:p>
          <a:p>
            <a:pPr>
              <a:buFont typeface="Arial" panose="020B0604020202020204" pitchFamily="34" charset="0"/>
              <a:buChar char="•"/>
            </a:pPr>
            <a:endParaRPr lang="en-GB" sz="1200" noProof="0" dirty="0">
              <a:sym typeface="Epilogue"/>
            </a:endParaRPr>
          </a:p>
          <a:p>
            <a:pPr marL="144000" indent="0"/>
            <a:r>
              <a:rPr lang="en-GB" sz="1200" b="1" noProof="0" dirty="0">
                <a:solidFill>
                  <a:schemeClr val="accent2"/>
                </a:solidFill>
                <a:latin typeface="Epilogue"/>
                <a:sym typeface="Epilogue"/>
              </a:rPr>
              <a:t>Get ready to soar!</a:t>
            </a:r>
            <a:endParaRPr lang="en-GB" sz="1200" b="1" noProof="0" dirty="0">
              <a:solidFill>
                <a:schemeClr val="accent2"/>
              </a:solidFill>
              <a:latin typeface="Epilogue"/>
            </a:endParaRPr>
          </a:p>
          <a:p>
            <a:pPr marL="144000" indent="0">
              <a:lnSpc>
                <a:spcPct val="114999"/>
              </a:lnSpc>
            </a:pPr>
            <a:endParaRPr lang="en-GB" sz="1200" b="1" noProof="0" dirty="0">
              <a:latin typeface="Epilogue"/>
              <a:sym typeface="Epilogue"/>
            </a:endParaRPr>
          </a:p>
          <a:p>
            <a:pPr marL="144000" indent="0"/>
            <a:r>
              <a:rPr lang="en-GB" sz="1200" noProof="0" dirty="0">
                <a:sym typeface="Epilogue"/>
              </a:rPr>
              <a:t>By the end of this workbook, you'll have a solid understanding of wind energy and its potential to shape a sustainable future. You'll be equipped with the knowledge to think critically about energy solutions and the skills to engage in innovative projects. Let's get started on this climbing journey and discover how we can harness the power of the wind to create a green and stable tomorrow for each of us!</a:t>
            </a:r>
            <a:endParaRPr lang="en-GB" sz="1200" noProof="0" dirty="0"/>
          </a:p>
          <a:p>
            <a:pPr>
              <a:buSzPts val="1800"/>
            </a:pPr>
            <a:endParaRPr lang="en-GB" sz="1200" b="1" noProof="0" dirty="0">
              <a:latin typeface="Epilogue"/>
              <a:sym typeface="Epilogue"/>
            </a:endParaRPr>
          </a:p>
        </p:txBody>
      </p:sp>
      <p:pic>
        <p:nvPicPr>
          <p:cNvPr id="3" name="Grafik 2" descr="Ein Bild, das Karte, Text, Kreis, Logo enthält.&#10;&#10;KI-generierte Inhalte können fehlerhaft sein.">
            <a:extLst>
              <a:ext uri="{FF2B5EF4-FFF2-40B4-BE49-F238E27FC236}">
                <a16:creationId xmlns:a16="http://schemas.microsoft.com/office/drawing/2014/main" id="{D0957D58-7462-E53F-44DB-D25177C5D85F}"/>
              </a:ext>
            </a:extLst>
          </p:cNvPr>
          <p:cNvPicPr>
            <a:picLocks noChangeAspect="1"/>
          </p:cNvPicPr>
          <p:nvPr/>
        </p:nvPicPr>
        <p:blipFill>
          <a:blip r:embed="rId2"/>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7388002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1CA8DD-7221-E584-326A-CB9279242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think-cell data - do not delete" hidden="1">
                        <a:extLst>
                          <a:ext uri="{FF2B5EF4-FFF2-40B4-BE49-F238E27FC236}">
                            <a16:creationId xmlns:a16="http://schemas.microsoft.com/office/drawing/2014/main" id="{4A1CA8DD-7221-E584-326A-CB92792420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lang="en-GB" sz="1488" noProof="0"/>
          </a:p>
        </p:txBody>
      </p:sp>
      <p:sp>
        <p:nvSpPr>
          <p:cNvPr id="326" name="Google Shape;326;p24"/>
          <p:cNvSpPr txBox="1">
            <a:spLocks noGrp="1"/>
          </p:cNvSpPr>
          <p:nvPr>
            <p:ph type="ctrTitle"/>
          </p:nvPr>
        </p:nvSpPr>
        <p:spPr>
          <a:xfrm>
            <a:off x="2753754" y="4027559"/>
            <a:ext cx="4216106" cy="1870573"/>
          </a:xfrm>
          <a:prstGeom prst="rect">
            <a:avLst/>
          </a:prstGeom>
        </p:spPr>
        <p:txBody>
          <a:bodyPr spcFirstLastPara="1" wrap="square" lIns="75584" tIns="75584" rIns="75584" bIns="75584" anchor="b" anchorCtr="0">
            <a:noAutofit/>
          </a:bodyPr>
          <a:lstStyle/>
          <a:p>
            <a:r>
              <a:rPr lang="en-GB" sz="3450" noProof="0"/>
              <a:t>Wind Energy  Education HUB</a:t>
            </a:r>
          </a:p>
          <a:p>
            <a:r>
              <a:rPr lang="en-GB" sz="3450" b="0" noProof="0"/>
              <a:t>Chapter 3</a:t>
            </a:r>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Google Shape;327;p24">
            <a:extLst>
              <a:ext uri="{FF2B5EF4-FFF2-40B4-BE49-F238E27FC236}">
                <a16:creationId xmlns:a16="http://schemas.microsoft.com/office/drawing/2014/main" id="{AF8A9881-9AFE-21B0-C166-37DE4B084308}"/>
              </a:ext>
            </a:extLst>
          </p:cNvPr>
          <p:cNvSpPr txBox="1">
            <a:spLocks noGrp="1"/>
          </p:cNvSpPr>
          <p:nvPr>
            <p:ph type="subTitle" idx="1"/>
          </p:nvPr>
        </p:nvSpPr>
        <p:spPr>
          <a:xfrm>
            <a:off x="2753754" y="5858139"/>
            <a:ext cx="4216106" cy="878220"/>
          </a:xfrm>
          <a:prstGeom prst="rect">
            <a:avLst/>
          </a:prstGeom>
          <a:solidFill>
            <a:schemeClr val="tx2">
              <a:lumMod val="60000"/>
              <a:lumOff val="40000"/>
            </a:schemeClr>
          </a:solidFill>
          <a:ln>
            <a:noFill/>
          </a:ln>
        </p:spPr>
        <p:txBody>
          <a:bodyPr spcFirstLastPara="1" wrap="square" lIns="75584" tIns="75584" rIns="75584" bIns="75584" anchor="ctr" anchorCtr="0">
            <a:noAutofit/>
          </a:bodyPr>
          <a:lstStyle/>
          <a:p>
            <a:pPr marL="0" indent="0"/>
            <a:r>
              <a:rPr lang="en-GB" sz="2800" b="1" noProof="0"/>
              <a:t>Airfoils</a:t>
            </a:r>
          </a:p>
        </p:txBody>
      </p:sp>
      <p:pic>
        <p:nvPicPr>
          <p:cNvPr id="6" name="Grafik 5" descr="Windkraftanlagen Silhouette">
            <a:extLst>
              <a:ext uri="{FF2B5EF4-FFF2-40B4-BE49-F238E27FC236}">
                <a16:creationId xmlns:a16="http://schemas.microsoft.com/office/drawing/2014/main" id="{8237C9B9-E7BE-C6D6-84B1-B6F9D531EF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2660" y="4886325"/>
            <a:ext cx="1256277" cy="1307858"/>
          </a:xfrm>
          <a:prstGeom prst="rect">
            <a:avLst/>
          </a:prstGeom>
        </p:spPr>
      </p:pic>
    </p:spTree>
    <p:extLst>
      <p:ext uri="{BB962C8B-B14F-4D97-AF65-F5344CB8AC3E}">
        <p14:creationId xmlns:p14="http://schemas.microsoft.com/office/powerpoint/2010/main" val="14388615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en-GB" noProof="0" smtClean="0"/>
              <a:t>31</a:t>
            </a:fld>
            <a:endParaRPr lang="en-GB" noProof="0"/>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733016" y="1299524"/>
            <a:ext cx="6369175" cy="519708"/>
          </a:xfrm>
        </p:spPr>
        <p:txBody>
          <a:bodyPr/>
          <a:lstStyle/>
          <a:p>
            <a:r>
              <a:rPr lang="en-GB" noProof="0" dirty="0" err="1"/>
              <a:t>Airfoils</a:t>
            </a:r>
            <a:endParaRPr lang="en-GB" noProof="0" dirty="0"/>
          </a:p>
        </p:txBody>
      </p:sp>
      <p:sp>
        <p:nvSpPr>
          <p:cNvPr id="9" name="Untertitel 3">
            <a:extLst>
              <a:ext uri="{FF2B5EF4-FFF2-40B4-BE49-F238E27FC236}">
                <a16:creationId xmlns:a16="http://schemas.microsoft.com/office/drawing/2014/main" id="{B6B497AA-972B-9F4E-E175-1E7500A7D45E}"/>
              </a:ext>
            </a:extLst>
          </p:cNvPr>
          <p:cNvSpPr txBox="1">
            <a:spLocks/>
          </p:cNvSpPr>
          <p:nvPr/>
        </p:nvSpPr>
        <p:spPr>
          <a:xfrm>
            <a:off x="719138" y="2667993"/>
            <a:ext cx="5470221" cy="15032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00000"/>
              </a:lnSpc>
              <a:buClr>
                <a:schemeClr val="dk1"/>
              </a:buClr>
              <a:buSzPts val="2800"/>
            </a:pPr>
            <a:r>
              <a:rPr lang="en-GB" sz="1200" b="1" dirty="0">
                <a:solidFill>
                  <a:srgbClr val="333333"/>
                </a:solidFill>
                <a:latin typeface="Sofia Sans" panose="020B0604020202020204" charset="0"/>
                <a:sym typeface="Epilogue"/>
              </a:rPr>
              <a:t>In this chapter, we will find out about the following basics:</a:t>
            </a:r>
          </a:p>
          <a:p>
            <a:pPr>
              <a:buFont typeface="Arial" panose="020B0604020202020204" pitchFamily="34" charset="0"/>
              <a:buChar char="•"/>
            </a:pPr>
            <a:r>
              <a:rPr lang="en-GB" sz="1200" noProof="0" dirty="0"/>
              <a:t>Building an </a:t>
            </a:r>
            <a:r>
              <a:rPr lang="en-GB" sz="1200" noProof="0" dirty="0" err="1"/>
              <a:t>airfoil</a:t>
            </a:r>
            <a:endParaRPr lang="en-GB" sz="1200" noProof="0" dirty="0"/>
          </a:p>
          <a:p>
            <a:pPr>
              <a:buFont typeface="Arial" panose="020B0604020202020204" pitchFamily="34" charset="0"/>
              <a:buChar char="•"/>
            </a:pPr>
            <a:r>
              <a:rPr lang="en-GB" sz="1200" noProof="0" dirty="0"/>
              <a:t>The reasons for lift when the wind blows from the right direction</a:t>
            </a:r>
          </a:p>
          <a:p>
            <a:pPr>
              <a:buFont typeface="Arial" panose="020B0604020202020204" pitchFamily="34" charset="0"/>
              <a:buChar char="•"/>
            </a:pPr>
            <a:r>
              <a:rPr lang="en-GB" sz="1200" noProof="0" dirty="0"/>
              <a:t>Why a certain blade shape is so important</a:t>
            </a:r>
          </a:p>
          <a:p>
            <a:pPr>
              <a:buFont typeface="Arial" panose="020B0604020202020204" pitchFamily="34" charset="0"/>
              <a:buChar char="•"/>
            </a:pPr>
            <a:r>
              <a:rPr lang="en-GB" sz="1200" noProof="0" dirty="0"/>
              <a:t>What the Bernoulli principle is</a:t>
            </a:r>
          </a:p>
          <a:p>
            <a:pPr>
              <a:buFont typeface="Arial" panose="020B0604020202020204" pitchFamily="34" charset="0"/>
              <a:buChar char="•"/>
            </a:pPr>
            <a:r>
              <a:rPr lang="en-GB" sz="1200" noProof="0" dirty="0"/>
              <a:t>What factors influence the performance of wind turbines in general</a:t>
            </a:r>
          </a:p>
        </p:txBody>
      </p:sp>
      <p:sp>
        <p:nvSpPr>
          <p:cNvPr id="10" name="Titel 1">
            <a:extLst>
              <a:ext uri="{FF2B5EF4-FFF2-40B4-BE49-F238E27FC236}">
                <a16:creationId xmlns:a16="http://schemas.microsoft.com/office/drawing/2014/main" id="{524DDB5D-2C36-2D8F-EE1D-A2D0A61EFFA9}"/>
              </a:ext>
            </a:extLst>
          </p:cNvPr>
          <p:cNvSpPr txBox="1">
            <a:spLocks/>
          </p:cNvSpPr>
          <p:nvPr/>
        </p:nvSpPr>
        <p:spPr>
          <a:xfrm>
            <a:off x="733016" y="2102543"/>
            <a:ext cx="6352072" cy="3859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pPr marL="144000"/>
            <a:r>
              <a:rPr lang="en-GB" sz="1200" b="0" noProof="0" dirty="0">
                <a:solidFill>
                  <a:srgbClr val="333333"/>
                </a:solidFill>
                <a:latin typeface="Sofia Sans" panose="020B0604020202020204" charset="0"/>
              </a:rPr>
              <a:t>Create an </a:t>
            </a:r>
            <a:r>
              <a:rPr lang="en-GB" sz="1200" b="0" noProof="0" dirty="0" err="1">
                <a:solidFill>
                  <a:srgbClr val="333333"/>
                </a:solidFill>
                <a:latin typeface="Sofia Sans" panose="020B0604020202020204" charset="0"/>
              </a:rPr>
              <a:t>airfoil</a:t>
            </a:r>
            <a:r>
              <a:rPr lang="en-GB" sz="1200" b="0" noProof="0" dirty="0">
                <a:solidFill>
                  <a:srgbClr val="333333"/>
                </a:solidFill>
                <a:latin typeface="Sofia Sans" panose="020B0604020202020204" charset="0"/>
              </a:rPr>
              <a:t> and connect it to the principle of Bernoulli. </a:t>
            </a:r>
            <a:endParaRPr lang="en-GB" sz="1200" noProof="0" dirty="0">
              <a:solidFill>
                <a:srgbClr val="333333"/>
              </a:solidFill>
              <a:latin typeface="Sofia Sans" panose="020B0604020202020204" charset="0"/>
            </a:endParaRPr>
          </a:p>
        </p:txBody>
      </p:sp>
      <p:sp>
        <p:nvSpPr>
          <p:cNvPr id="2" name="Untertitel 3">
            <a:extLst>
              <a:ext uri="{FF2B5EF4-FFF2-40B4-BE49-F238E27FC236}">
                <a16:creationId xmlns:a16="http://schemas.microsoft.com/office/drawing/2014/main" id="{BF4A43F6-3684-F5A5-85F1-EEDC996D624E}"/>
              </a:ext>
            </a:extLst>
          </p:cNvPr>
          <p:cNvSpPr txBox="1">
            <a:spLocks/>
          </p:cNvSpPr>
          <p:nvPr/>
        </p:nvSpPr>
        <p:spPr>
          <a:xfrm>
            <a:off x="719138" y="4715390"/>
            <a:ext cx="5966942" cy="35110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150" noProof="0" dirty="0"/>
              <a:t>At the end of this chapter, you will:</a:t>
            </a:r>
            <a:endParaRPr lang="en-GB" sz="1150" b="1" noProof="0" dirty="0"/>
          </a:p>
          <a:p>
            <a:pPr>
              <a:lnSpc>
                <a:spcPct val="114999"/>
              </a:lnSpc>
            </a:pPr>
            <a:endParaRPr lang="en-GB" sz="1150" noProof="0" dirty="0"/>
          </a:p>
          <a:p>
            <a:pPr>
              <a:buFont typeface="Arial" panose="020B0604020202020204" pitchFamily="34" charset="0"/>
              <a:buChar char="•"/>
            </a:pPr>
            <a:r>
              <a:rPr lang="en-GB" sz="1200" b="1" dirty="0"/>
              <a:t>Understand the basics of </a:t>
            </a:r>
            <a:r>
              <a:rPr lang="en-GB" sz="1200" b="1" dirty="0" err="1"/>
              <a:t>airfoils</a:t>
            </a:r>
            <a:r>
              <a:rPr lang="en-GB" sz="1200" b="1" dirty="0"/>
              <a:t> and lift</a:t>
            </a:r>
            <a:r>
              <a:rPr lang="en-GB" sz="1200" dirty="0"/>
              <a:t>: Learn how the shape of blades (</a:t>
            </a:r>
            <a:r>
              <a:rPr lang="en-GB" sz="1200" dirty="0" err="1"/>
              <a:t>airfoils</a:t>
            </a:r>
            <a:r>
              <a:rPr lang="en-GB" sz="1200" dirty="0"/>
              <a:t>) creates lift by manipulating airflow and pressure differences.</a:t>
            </a:r>
          </a:p>
          <a:p>
            <a:pPr>
              <a:buFont typeface="Arial" panose="020B0604020202020204" pitchFamily="34" charset="0"/>
              <a:buChar char="•"/>
            </a:pPr>
            <a:r>
              <a:rPr lang="en-GB" sz="1200" b="1" dirty="0"/>
              <a:t>Explore the Bernoulli Principle in wind turbines</a:t>
            </a:r>
            <a:r>
              <a:rPr lang="en-GB" sz="1200" dirty="0"/>
              <a:t>: Understand how the Bernoulli principle, which helps airplanes fly, is applied in wind turbines to rotate the blades.</a:t>
            </a:r>
          </a:p>
          <a:p>
            <a:pPr>
              <a:buFont typeface="Arial" panose="020B0604020202020204" pitchFamily="34" charset="0"/>
              <a:buChar char="•"/>
            </a:pPr>
            <a:r>
              <a:rPr lang="en-GB" sz="1200" b="1" dirty="0"/>
              <a:t>Hands-on experiment with paper</a:t>
            </a:r>
            <a:r>
              <a:rPr lang="en-GB" sz="1200" dirty="0"/>
              <a:t>: See how a simple paper experiment demonstrates the principle of lift — blowing air over paper makes it rise due to pressure differences.</a:t>
            </a:r>
          </a:p>
          <a:p>
            <a:pPr>
              <a:buFont typeface="Arial" panose="020B0604020202020204" pitchFamily="34" charset="0"/>
              <a:buChar char="•"/>
            </a:pPr>
            <a:r>
              <a:rPr lang="en-GB" sz="1200" b="1" dirty="0"/>
              <a:t>Evaluate blade design for maximum efficiency</a:t>
            </a:r>
            <a:r>
              <a:rPr lang="en-GB" sz="1200" dirty="0"/>
              <a:t>: Recognize that the shape of a turbine blade (</a:t>
            </a:r>
            <a:r>
              <a:rPr lang="en-GB" sz="1200" dirty="0" err="1"/>
              <a:t>airfoil</a:t>
            </a:r>
            <a:r>
              <a:rPr lang="en-GB" sz="1200" dirty="0"/>
              <a:t>) is crucial for efficient wind energy generation.</a:t>
            </a:r>
          </a:p>
          <a:p>
            <a:pPr>
              <a:buFont typeface="Arial" panose="020B0604020202020204" pitchFamily="34" charset="0"/>
              <a:buChar char="•"/>
            </a:pPr>
            <a:r>
              <a:rPr lang="en-GB" sz="1200" b="1" dirty="0"/>
              <a:t>Consider factors influencing wind turbine performance</a:t>
            </a:r>
            <a:r>
              <a:rPr lang="en-GB" sz="1200" dirty="0"/>
              <a:t>: </a:t>
            </a:r>
            <a:r>
              <a:rPr lang="en-GB" sz="1200" dirty="0" err="1"/>
              <a:t>Analyze</a:t>
            </a:r>
            <a:r>
              <a:rPr lang="en-GB" sz="1200" dirty="0"/>
              <a:t> the external factors like wind speed, air density, and blade angle that impact the rotational speed and power output of wind turbines.</a:t>
            </a:r>
          </a:p>
          <a:p>
            <a:pPr>
              <a:lnSpc>
                <a:spcPct val="114999"/>
              </a:lnSpc>
            </a:pPr>
            <a:endParaRPr lang="en-GB" sz="1150" noProof="0" dirty="0"/>
          </a:p>
        </p:txBody>
      </p:sp>
      <p:sp>
        <p:nvSpPr>
          <p:cNvPr id="3" name="Untertitel 5">
            <a:extLst>
              <a:ext uri="{FF2B5EF4-FFF2-40B4-BE49-F238E27FC236}">
                <a16:creationId xmlns:a16="http://schemas.microsoft.com/office/drawing/2014/main" id="{F6F5A270-E5B3-1C34-7F0A-AEC95FE0FDDA}"/>
              </a:ext>
            </a:extLst>
          </p:cNvPr>
          <p:cNvSpPr txBox="1">
            <a:spLocks/>
          </p:cNvSpPr>
          <p:nvPr/>
        </p:nvSpPr>
        <p:spPr>
          <a:xfrm>
            <a:off x="719138" y="427601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Learning objectives</a:t>
            </a:r>
          </a:p>
        </p:txBody>
      </p:sp>
    </p:spTree>
    <p:extLst>
      <p:ext uri="{BB962C8B-B14F-4D97-AF65-F5344CB8AC3E}">
        <p14:creationId xmlns:p14="http://schemas.microsoft.com/office/powerpoint/2010/main" val="10094698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32BF10C-1BAA-B0F0-7AE9-D805EA8680A1}"/>
              </a:ext>
            </a:extLst>
          </p:cNvPr>
          <p:cNvSpPr>
            <a:spLocks noGrp="1"/>
          </p:cNvSpPr>
          <p:nvPr>
            <p:ph type="sldNum" sz="quarter" idx="16"/>
          </p:nvPr>
        </p:nvSpPr>
        <p:spPr/>
        <p:txBody>
          <a:bodyPr/>
          <a:lstStyle/>
          <a:p>
            <a:fld id="{DF7F771E-9578-4C04-B869-01AF4C35C90C}" type="slidenum">
              <a:rPr lang="en-GB" noProof="0" smtClean="0"/>
              <a:t>32</a:t>
            </a:fld>
            <a:endParaRPr lang="en-GB" noProof="0"/>
          </a:p>
        </p:txBody>
      </p:sp>
      <p:sp>
        <p:nvSpPr>
          <p:cNvPr id="22" name="Untertitel 3">
            <a:extLst>
              <a:ext uri="{FF2B5EF4-FFF2-40B4-BE49-F238E27FC236}">
                <a16:creationId xmlns:a16="http://schemas.microsoft.com/office/drawing/2014/main" id="{EBB702A9-486F-7A0D-CB8F-ECA64DBCD0C3}"/>
              </a:ext>
            </a:extLst>
          </p:cNvPr>
          <p:cNvSpPr txBox="1">
            <a:spLocks/>
          </p:cNvSpPr>
          <p:nvPr/>
        </p:nvSpPr>
        <p:spPr>
          <a:xfrm>
            <a:off x="730527" y="2147163"/>
            <a:ext cx="583264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GB" sz="1200" noProof="0"/>
              <a:t>In this chapter, you will find out how to build an airfoil and how to experiment with it. </a:t>
            </a:r>
          </a:p>
        </p:txBody>
      </p:sp>
      <p:sp>
        <p:nvSpPr>
          <p:cNvPr id="26" name="Titel 1">
            <a:extLst>
              <a:ext uri="{FF2B5EF4-FFF2-40B4-BE49-F238E27FC236}">
                <a16:creationId xmlns:a16="http://schemas.microsoft.com/office/drawing/2014/main" id="{D8244418-9D3F-2A0B-09A3-8C1970BDA425}"/>
              </a:ext>
            </a:extLst>
          </p:cNvPr>
          <p:cNvSpPr txBox="1">
            <a:spLocks/>
          </p:cNvSpPr>
          <p:nvPr/>
        </p:nvSpPr>
        <p:spPr>
          <a:xfrm>
            <a:off x="729094" y="1296752"/>
            <a:ext cx="6364825" cy="63603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r>
              <a:rPr lang="en-GB" sz="2800" b="1" noProof="0" dirty="0">
                <a:solidFill>
                  <a:schemeClr val="dk1"/>
                </a:solidFill>
                <a:latin typeface="Epilogue"/>
                <a:sym typeface="Epilogue"/>
              </a:rPr>
              <a:t>1. Let's make an </a:t>
            </a:r>
            <a:r>
              <a:rPr lang="en-GB" sz="2800" b="1" noProof="0" dirty="0" err="1">
                <a:solidFill>
                  <a:schemeClr val="dk1"/>
                </a:solidFill>
                <a:latin typeface="Epilogue"/>
                <a:sym typeface="Epilogue"/>
              </a:rPr>
              <a:t>airfoil</a:t>
            </a:r>
            <a:r>
              <a:rPr lang="en-GB" sz="2800" b="1" noProof="0" dirty="0">
                <a:solidFill>
                  <a:schemeClr val="dk1"/>
                </a:solidFill>
                <a:latin typeface="Epilogue"/>
                <a:sym typeface="Epilogue"/>
              </a:rPr>
              <a:t>!</a:t>
            </a:r>
            <a:endParaRPr lang="en-GB" sz="2800" b="1" noProof="0" dirty="0">
              <a:solidFill>
                <a:schemeClr val="dk1"/>
              </a:solidFill>
              <a:latin typeface="Epilogue"/>
            </a:endParaRPr>
          </a:p>
        </p:txBody>
      </p:sp>
      <p:sp>
        <p:nvSpPr>
          <p:cNvPr id="2" name="Untertitel 5">
            <a:extLst>
              <a:ext uri="{FF2B5EF4-FFF2-40B4-BE49-F238E27FC236}">
                <a16:creationId xmlns:a16="http://schemas.microsoft.com/office/drawing/2014/main" id="{17F8F83B-A0E2-F115-75F9-9A699A63298F}"/>
              </a:ext>
            </a:extLst>
          </p:cNvPr>
          <p:cNvSpPr txBox="1">
            <a:spLocks/>
          </p:cNvSpPr>
          <p:nvPr/>
        </p:nvSpPr>
        <p:spPr>
          <a:xfrm>
            <a:off x="1104692" y="280798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3" name="Ellipse 2">
            <a:extLst>
              <a:ext uri="{FF2B5EF4-FFF2-40B4-BE49-F238E27FC236}">
                <a16:creationId xmlns:a16="http://schemas.microsoft.com/office/drawing/2014/main" id="{6558DA14-B22F-1D8D-15C6-C200D326DB5A}"/>
              </a:ext>
            </a:extLst>
          </p:cNvPr>
          <p:cNvSpPr>
            <a:spLocks noChangeAspect="1"/>
          </p:cNvSpPr>
          <p:nvPr/>
        </p:nvSpPr>
        <p:spPr>
          <a:xfrm>
            <a:off x="730528" y="277849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4" name="Grafik 3" descr="Lupe mit einfarbiger Füllung">
            <a:extLst>
              <a:ext uri="{FF2B5EF4-FFF2-40B4-BE49-F238E27FC236}">
                <a16:creationId xmlns:a16="http://schemas.microsoft.com/office/drawing/2014/main" id="{E1AAF7F5-C8B7-16CF-4E49-2F98D34FD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842173"/>
            <a:ext cx="333865" cy="333865"/>
          </a:xfrm>
          <a:prstGeom prst="rect">
            <a:avLst/>
          </a:prstGeom>
        </p:spPr>
      </p:pic>
      <p:pic>
        <p:nvPicPr>
          <p:cNvPr id="5" name="Grafik 4" descr="Ein Bild, das Kabel, Im Haus, Wand, Boden enthält.&#10;&#10;Beschreibung automatisch generiert.">
            <a:extLst>
              <a:ext uri="{FF2B5EF4-FFF2-40B4-BE49-F238E27FC236}">
                <a16:creationId xmlns:a16="http://schemas.microsoft.com/office/drawing/2014/main" id="{93B6AEB1-A711-CFD6-16E6-766E2419757A}"/>
              </a:ext>
            </a:extLst>
          </p:cNvPr>
          <p:cNvPicPr>
            <a:picLocks noChangeAspect="1"/>
          </p:cNvPicPr>
          <p:nvPr/>
        </p:nvPicPr>
        <p:blipFill>
          <a:blip r:embed="rId4"/>
          <a:stretch>
            <a:fillRect/>
          </a:stretch>
        </p:blipFill>
        <p:spPr>
          <a:xfrm rot="5400000">
            <a:off x="1889128" y="5952062"/>
            <a:ext cx="3778256" cy="2832497"/>
          </a:xfrm>
          <a:prstGeom prst="rect">
            <a:avLst/>
          </a:prstGeom>
        </p:spPr>
      </p:pic>
      <p:sp>
        <p:nvSpPr>
          <p:cNvPr id="7" name="Rechteck 6">
            <a:extLst>
              <a:ext uri="{FF2B5EF4-FFF2-40B4-BE49-F238E27FC236}">
                <a16:creationId xmlns:a16="http://schemas.microsoft.com/office/drawing/2014/main" id="{EE6ADC30-2EAD-AE21-9EC6-EF8DF564216C}"/>
              </a:ext>
            </a:extLst>
          </p:cNvPr>
          <p:cNvSpPr/>
          <p:nvPr/>
        </p:nvSpPr>
        <p:spPr>
          <a:xfrm>
            <a:off x="729094" y="3520651"/>
            <a:ext cx="6028893" cy="1527307"/>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Untertitel 2">
            <a:extLst>
              <a:ext uri="{FF2B5EF4-FFF2-40B4-BE49-F238E27FC236}">
                <a16:creationId xmlns:a16="http://schemas.microsoft.com/office/drawing/2014/main" id="{7044AA74-2CE4-9F89-F6EB-CC0B44DC7EFD}"/>
              </a:ext>
            </a:extLst>
          </p:cNvPr>
          <p:cNvSpPr txBox="1">
            <a:spLocks/>
          </p:cNvSpPr>
          <p:nvPr/>
        </p:nvSpPr>
        <p:spPr>
          <a:xfrm>
            <a:off x="1075653" y="3888281"/>
            <a:ext cx="2667887"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GB" sz="1200" noProof="0"/>
              <a:t>Narrow wooden stick </a:t>
            </a:r>
          </a:p>
          <a:p>
            <a:pPr>
              <a:buClrTx/>
              <a:buFont typeface="Arial" panose="020B0604020202020204" pitchFamily="34" charset="0"/>
              <a:buChar char="•"/>
            </a:pPr>
            <a:r>
              <a:rPr lang="en-GB" sz="1200" noProof="0"/>
              <a:t>Adhesive tape</a:t>
            </a:r>
          </a:p>
          <a:p>
            <a:pPr>
              <a:buClrTx/>
              <a:buFont typeface="Arial" panose="020B0604020202020204" pitchFamily="34" charset="0"/>
              <a:buChar char="•"/>
            </a:pPr>
            <a:r>
              <a:rPr lang="en-GB" sz="1200" noProof="0"/>
              <a:t>2x rectangular papers, size A5</a:t>
            </a:r>
          </a:p>
          <a:p>
            <a:pPr>
              <a:buClrTx/>
              <a:buFont typeface="Arial" panose="020B0604020202020204" pitchFamily="34" charset="0"/>
              <a:buChar char="•"/>
            </a:pPr>
            <a:r>
              <a:rPr lang="en-GB" sz="1200" noProof="0"/>
              <a:t>Hairdryer</a:t>
            </a:r>
          </a:p>
        </p:txBody>
      </p:sp>
      <p:sp>
        <p:nvSpPr>
          <p:cNvPr id="14" name="Untertitel 5">
            <a:extLst>
              <a:ext uri="{FF2B5EF4-FFF2-40B4-BE49-F238E27FC236}">
                <a16:creationId xmlns:a16="http://schemas.microsoft.com/office/drawing/2014/main" id="{E5177929-80AA-7C5D-A42A-301987305155}"/>
              </a:ext>
            </a:extLst>
          </p:cNvPr>
          <p:cNvSpPr txBox="1">
            <a:spLocks/>
          </p:cNvSpPr>
          <p:nvPr/>
        </p:nvSpPr>
        <p:spPr>
          <a:xfrm>
            <a:off x="896027" y="3549311"/>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16" name="Gruppieren 15">
            <a:extLst>
              <a:ext uri="{FF2B5EF4-FFF2-40B4-BE49-F238E27FC236}">
                <a16:creationId xmlns:a16="http://schemas.microsoft.com/office/drawing/2014/main" id="{A71166B9-9784-FC08-EA32-BD9BE401538F}"/>
              </a:ext>
            </a:extLst>
          </p:cNvPr>
          <p:cNvGrpSpPr/>
          <p:nvPr/>
        </p:nvGrpSpPr>
        <p:grpSpPr>
          <a:xfrm>
            <a:off x="6445483" y="3237930"/>
            <a:ext cx="402475" cy="419630"/>
            <a:chOff x="6140368" y="3097011"/>
            <a:chExt cx="660145" cy="660145"/>
          </a:xfrm>
        </p:grpSpPr>
        <p:sp>
          <p:nvSpPr>
            <p:cNvPr id="17" name="Ellipse 16">
              <a:extLst>
                <a:ext uri="{FF2B5EF4-FFF2-40B4-BE49-F238E27FC236}">
                  <a16:creationId xmlns:a16="http://schemas.microsoft.com/office/drawing/2014/main" id="{286B719A-8B89-1601-6E2D-E07203F574F0}"/>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18" name="Grafik 17" descr="Inventar mit einfarbiger Füllung">
              <a:extLst>
                <a:ext uri="{FF2B5EF4-FFF2-40B4-BE49-F238E27FC236}">
                  <a16:creationId xmlns:a16="http://schemas.microsoft.com/office/drawing/2014/main" id="{20DDD9E0-E8A4-AE94-D676-4253EF12A3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8359492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32BF10C-1BAA-B0F0-7AE9-D805EA8680A1}"/>
              </a:ext>
            </a:extLst>
          </p:cNvPr>
          <p:cNvSpPr>
            <a:spLocks noGrp="1"/>
          </p:cNvSpPr>
          <p:nvPr>
            <p:ph type="sldNum" sz="quarter" idx="4"/>
          </p:nvPr>
        </p:nvSpPr>
        <p:spPr/>
        <p:txBody>
          <a:bodyPr/>
          <a:lstStyle/>
          <a:p>
            <a:fld id="{DF7F771E-9578-4C04-B869-01AF4C35C90C}" type="slidenum">
              <a:rPr lang="en-GB" noProof="0" smtClean="0"/>
              <a:t>33</a:t>
            </a:fld>
            <a:endParaRPr lang="en-GB" noProof="0"/>
          </a:p>
        </p:txBody>
      </p:sp>
      <p:sp>
        <p:nvSpPr>
          <p:cNvPr id="23" name="Untertitel 3">
            <a:extLst>
              <a:ext uri="{FF2B5EF4-FFF2-40B4-BE49-F238E27FC236}">
                <a16:creationId xmlns:a16="http://schemas.microsoft.com/office/drawing/2014/main" id="{1D88F652-1A5D-2AFA-B789-14758404B0DA}"/>
              </a:ext>
            </a:extLst>
          </p:cNvPr>
          <p:cNvSpPr txBox="1">
            <a:spLocks/>
          </p:cNvSpPr>
          <p:nvPr/>
        </p:nvSpPr>
        <p:spPr>
          <a:xfrm>
            <a:off x="719137" y="1277939"/>
            <a:ext cx="6149609" cy="30936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GB" sz="1200" b="1" noProof="0" dirty="0"/>
              <a:t>Follow these steps to conduct the experiment:</a:t>
            </a:r>
          </a:p>
          <a:p>
            <a:pPr>
              <a:buFont typeface="+mj-lt"/>
              <a:buAutoNum type="arabicPeriod"/>
            </a:pPr>
            <a:endParaRPr lang="en-GB" sz="1200" noProof="0" dirty="0"/>
          </a:p>
          <a:p>
            <a:pPr>
              <a:buFont typeface="Arial"/>
              <a:buAutoNum type="arabicPeriod"/>
            </a:pPr>
            <a:r>
              <a:rPr lang="en-GB" sz="1200" noProof="0" dirty="0"/>
              <a:t>Place the two papers on top of each other such that they overlap properly.</a:t>
            </a:r>
          </a:p>
          <a:p>
            <a:pPr>
              <a:lnSpc>
                <a:spcPct val="114999"/>
              </a:lnSpc>
              <a:buAutoNum type="arabicPeriod"/>
            </a:pPr>
            <a:r>
              <a:rPr lang="en-GB" sz="1200" noProof="0" dirty="0"/>
              <a:t>Now stick the two sheets together with one adhesive tape on one of the two short sides so that they can be opened like a book. </a:t>
            </a:r>
          </a:p>
          <a:p>
            <a:pPr>
              <a:lnSpc>
                <a:spcPct val="114999"/>
              </a:lnSpc>
              <a:buAutoNum type="arabicPeriod"/>
            </a:pPr>
            <a:r>
              <a:rPr lang="en-GB" sz="1200" noProof="0" dirty="0"/>
              <a:t>Then lift the top sheet and stick it with another tape a little further into the </a:t>
            </a:r>
            <a:r>
              <a:rPr lang="en-GB" sz="1200" noProof="0" dirty="0" err="1"/>
              <a:t>center</a:t>
            </a:r>
            <a:r>
              <a:rPr lang="en-GB" sz="1200" noProof="0" dirty="0"/>
              <a:t> of the other sheet (approx. 3 fingers wide).</a:t>
            </a:r>
          </a:p>
          <a:p>
            <a:pPr>
              <a:lnSpc>
                <a:spcPct val="114999"/>
              </a:lnSpc>
              <a:buAutoNum type="arabicPeriod"/>
            </a:pPr>
            <a:r>
              <a:rPr lang="en-GB" sz="1200" noProof="0" dirty="0"/>
              <a:t>HINT: You can place an extra tape on the long side, rectangular to the tape you did in step 3, to make the hole flatter.</a:t>
            </a:r>
          </a:p>
          <a:p>
            <a:pPr>
              <a:lnSpc>
                <a:spcPct val="114999"/>
              </a:lnSpc>
              <a:buAutoNum type="arabicPeriod"/>
            </a:pPr>
            <a:r>
              <a:rPr lang="en-GB" sz="1200" noProof="0" dirty="0"/>
              <a:t>Check: You should have a curved paper on top and a flat paper on the bottom.</a:t>
            </a:r>
          </a:p>
          <a:p>
            <a:pPr>
              <a:lnSpc>
                <a:spcPct val="114999"/>
              </a:lnSpc>
              <a:buAutoNum type="arabicPeriod"/>
            </a:pPr>
            <a:r>
              <a:rPr lang="en-GB" sz="1200" noProof="0" dirty="0"/>
              <a:t>Now push the wooden stick through the hole and place it along the side that makes the larger bend.</a:t>
            </a:r>
          </a:p>
          <a:p>
            <a:pPr>
              <a:lnSpc>
                <a:spcPct val="114999"/>
              </a:lnSpc>
              <a:buAutoNum type="arabicPeriod"/>
            </a:pPr>
            <a:r>
              <a:rPr lang="en-GB" sz="1200" noProof="0" dirty="0"/>
              <a:t>Time for the experiment: Blow over the top surface, holding the wooden stick in both of your hands. You can either blow with your mouth or with a hairdryer. </a:t>
            </a:r>
          </a:p>
          <a:p>
            <a:pPr>
              <a:lnSpc>
                <a:spcPct val="114999"/>
              </a:lnSpc>
              <a:buAutoNum type="arabicPeriod"/>
            </a:pPr>
            <a:endParaRPr lang="en-GB" sz="1200" noProof="0" dirty="0"/>
          </a:p>
        </p:txBody>
      </p:sp>
      <p:sp>
        <p:nvSpPr>
          <p:cNvPr id="5" name="Untertitel 3">
            <a:extLst>
              <a:ext uri="{FF2B5EF4-FFF2-40B4-BE49-F238E27FC236}">
                <a16:creationId xmlns:a16="http://schemas.microsoft.com/office/drawing/2014/main" id="{24E759C9-DB57-5B26-9E3A-5978C7013B13}"/>
              </a:ext>
            </a:extLst>
          </p:cNvPr>
          <p:cNvSpPr txBox="1">
            <a:spLocks/>
          </p:cNvSpPr>
          <p:nvPr/>
        </p:nvSpPr>
        <p:spPr>
          <a:xfrm>
            <a:off x="877622" y="7117350"/>
            <a:ext cx="580443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200" noProof="0" dirty="0"/>
              <a:t>Now the following steps in one picture:</a:t>
            </a:r>
          </a:p>
        </p:txBody>
      </p:sp>
      <p:pic>
        <p:nvPicPr>
          <p:cNvPr id="6" name="Grafik 5" descr="Ein Bild, das Screenshot, Materialeigenschaft, Kunst enthält.&#10;&#10;Beschreibung automatisch generiert.">
            <a:extLst>
              <a:ext uri="{FF2B5EF4-FFF2-40B4-BE49-F238E27FC236}">
                <a16:creationId xmlns:a16="http://schemas.microsoft.com/office/drawing/2014/main" id="{5128EFC8-7247-F1E6-6496-282DB27D0963}"/>
              </a:ext>
            </a:extLst>
          </p:cNvPr>
          <p:cNvPicPr>
            <a:picLocks noChangeAspect="1"/>
          </p:cNvPicPr>
          <p:nvPr/>
        </p:nvPicPr>
        <p:blipFill>
          <a:blip r:embed="rId2"/>
          <a:stretch>
            <a:fillRect/>
          </a:stretch>
        </p:blipFill>
        <p:spPr>
          <a:xfrm>
            <a:off x="3851968" y="4989180"/>
            <a:ext cx="2537818" cy="1875345"/>
          </a:xfrm>
          <a:prstGeom prst="rect">
            <a:avLst/>
          </a:prstGeom>
        </p:spPr>
      </p:pic>
      <p:pic>
        <p:nvPicPr>
          <p:cNvPr id="7" name="Grafik 6" descr="Ein Bild, das Papier, Papierprodukt, Design enthält.&#10;&#10;Beschreibung automatisch generiert.">
            <a:extLst>
              <a:ext uri="{FF2B5EF4-FFF2-40B4-BE49-F238E27FC236}">
                <a16:creationId xmlns:a16="http://schemas.microsoft.com/office/drawing/2014/main" id="{FCDEBFEE-F204-0E79-32C7-F05DF724FEEA}"/>
              </a:ext>
            </a:extLst>
          </p:cNvPr>
          <p:cNvPicPr>
            <a:picLocks noChangeAspect="1"/>
          </p:cNvPicPr>
          <p:nvPr/>
        </p:nvPicPr>
        <p:blipFill>
          <a:blip r:embed="rId3"/>
          <a:srcRect l="710" t="2382" r="13904" b="2"/>
          <a:stretch/>
        </p:blipFill>
        <p:spPr>
          <a:xfrm rot="5400000">
            <a:off x="1685329" y="5115700"/>
            <a:ext cx="1881349" cy="1614583"/>
          </a:xfrm>
          <a:prstGeom prst="rect">
            <a:avLst/>
          </a:prstGeom>
        </p:spPr>
      </p:pic>
      <p:sp>
        <p:nvSpPr>
          <p:cNvPr id="8" name="Untertitel 3">
            <a:extLst>
              <a:ext uri="{FF2B5EF4-FFF2-40B4-BE49-F238E27FC236}">
                <a16:creationId xmlns:a16="http://schemas.microsoft.com/office/drawing/2014/main" id="{1EBB0E19-60FA-822E-0F9F-744794616C11}"/>
              </a:ext>
            </a:extLst>
          </p:cNvPr>
          <p:cNvSpPr txBox="1">
            <a:spLocks/>
          </p:cNvSpPr>
          <p:nvPr/>
        </p:nvSpPr>
        <p:spPr>
          <a:xfrm>
            <a:off x="776865" y="5149520"/>
            <a:ext cx="114529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150" b="1" noProof="0"/>
              <a:t>Tape</a:t>
            </a:r>
          </a:p>
        </p:txBody>
      </p:sp>
      <p:cxnSp>
        <p:nvCxnSpPr>
          <p:cNvPr id="9" name="Gerade Verbindung mit Pfeil 8">
            <a:extLst>
              <a:ext uri="{FF2B5EF4-FFF2-40B4-BE49-F238E27FC236}">
                <a16:creationId xmlns:a16="http://schemas.microsoft.com/office/drawing/2014/main" id="{129A01BF-55A9-E236-CBAD-BF91050E1EDB}"/>
              </a:ext>
            </a:extLst>
          </p:cNvPr>
          <p:cNvCxnSpPr>
            <a:cxnSpLocks/>
          </p:cNvCxnSpPr>
          <p:nvPr/>
        </p:nvCxnSpPr>
        <p:spPr>
          <a:xfrm>
            <a:off x="1267404" y="5559260"/>
            <a:ext cx="1102615" cy="40974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Grafik 10" descr="Ein Bild, das Text, Büroausstattung, Papier, Papierprodukt enthält.&#10;&#10;Beschreibung automatisch generiert.">
            <a:extLst>
              <a:ext uri="{FF2B5EF4-FFF2-40B4-BE49-F238E27FC236}">
                <a16:creationId xmlns:a16="http://schemas.microsoft.com/office/drawing/2014/main" id="{E8B4AB66-E540-DD37-8CAF-3C1AB42957C9}"/>
              </a:ext>
            </a:extLst>
          </p:cNvPr>
          <p:cNvPicPr>
            <a:picLocks noChangeAspect="1"/>
          </p:cNvPicPr>
          <p:nvPr/>
        </p:nvPicPr>
        <p:blipFill>
          <a:blip r:embed="rId4"/>
          <a:stretch>
            <a:fillRect/>
          </a:stretch>
        </p:blipFill>
        <p:spPr>
          <a:xfrm>
            <a:off x="2355231" y="7603265"/>
            <a:ext cx="2632173" cy="1838219"/>
          </a:xfrm>
          <a:prstGeom prst="rect">
            <a:avLst/>
          </a:prstGeom>
        </p:spPr>
      </p:pic>
      <p:sp>
        <p:nvSpPr>
          <p:cNvPr id="12" name="Untertitel 3">
            <a:extLst>
              <a:ext uri="{FF2B5EF4-FFF2-40B4-BE49-F238E27FC236}">
                <a16:creationId xmlns:a16="http://schemas.microsoft.com/office/drawing/2014/main" id="{F02A57FA-DABC-CA94-053A-D3337EB56F04}"/>
              </a:ext>
            </a:extLst>
          </p:cNvPr>
          <p:cNvSpPr txBox="1">
            <a:spLocks/>
          </p:cNvSpPr>
          <p:nvPr/>
        </p:nvSpPr>
        <p:spPr>
          <a:xfrm>
            <a:off x="1049707" y="7600879"/>
            <a:ext cx="1171923" cy="3813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150" b="1" noProof="0"/>
              <a:t>Tape 3 fingers wide </a:t>
            </a:r>
          </a:p>
        </p:txBody>
      </p:sp>
      <p:cxnSp>
        <p:nvCxnSpPr>
          <p:cNvPr id="13" name="Gerade Verbindung mit Pfeil 12">
            <a:extLst>
              <a:ext uri="{FF2B5EF4-FFF2-40B4-BE49-F238E27FC236}">
                <a16:creationId xmlns:a16="http://schemas.microsoft.com/office/drawing/2014/main" id="{F6209F74-0944-EA2C-EE14-723B2DA0D526}"/>
              </a:ext>
            </a:extLst>
          </p:cNvPr>
          <p:cNvCxnSpPr>
            <a:cxnSpLocks/>
          </p:cNvCxnSpPr>
          <p:nvPr/>
        </p:nvCxnSpPr>
        <p:spPr>
          <a:xfrm>
            <a:off x="1818712" y="7997554"/>
            <a:ext cx="870279" cy="467727"/>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4" name="Untertitel 3">
            <a:extLst>
              <a:ext uri="{FF2B5EF4-FFF2-40B4-BE49-F238E27FC236}">
                <a16:creationId xmlns:a16="http://schemas.microsoft.com/office/drawing/2014/main" id="{55E99C25-5347-E318-672B-C6E2D91A6641}"/>
              </a:ext>
            </a:extLst>
          </p:cNvPr>
          <p:cNvSpPr txBox="1">
            <a:spLocks/>
          </p:cNvSpPr>
          <p:nvPr/>
        </p:nvSpPr>
        <p:spPr>
          <a:xfrm>
            <a:off x="1349511" y="9509196"/>
            <a:ext cx="1888005" cy="3808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150" b="1" noProof="0"/>
              <a:t>Extra tape along the side (hint in step 4)</a:t>
            </a:r>
          </a:p>
        </p:txBody>
      </p:sp>
      <mc:AlternateContent xmlns:mc="http://schemas.openxmlformats.org/markup-compatibility/2006" xmlns:p14="http://schemas.microsoft.com/office/powerpoint/2010/main">
        <mc:Choice Requires="p14">
          <p:contentPart p14:bwMode="auto" r:id="rId5">
            <p14:nvContentPartPr>
              <p14:cNvPr id="16" name="Freihand 15">
                <a:extLst>
                  <a:ext uri="{FF2B5EF4-FFF2-40B4-BE49-F238E27FC236}">
                    <a16:creationId xmlns:a16="http://schemas.microsoft.com/office/drawing/2014/main" id="{9407C63D-A095-DCFA-48F0-41244DAF001F}"/>
                  </a:ext>
                </a:extLst>
              </p14:cNvPr>
              <p14:cNvContentPartPr/>
              <p14:nvPr/>
            </p14:nvContentPartPr>
            <p14:xfrm>
              <a:off x="2761501" y="8741685"/>
              <a:ext cx="383743" cy="9939"/>
            </p14:xfrm>
          </p:contentPart>
        </mc:Choice>
        <mc:Fallback xmlns="">
          <p:pic>
            <p:nvPicPr>
              <p:cNvPr id="16" name="Freihand 15">
                <a:extLst>
                  <a:ext uri="{FF2B5EF4-FFF2-40B4-BE49-F238E27FC236}">
                    <a16:creationId xmlns:a16="http://schemas.microsoft.com/office/drawing/2014/main" id="{9407C63D-A095-DCFA-48F0-41244DAF001F}"/>
                  </a:ext>
                </a:extLst>
              </p:cNvPr>
              <p:cNvPicPr/>
              <p:nvPr/>
            </p:nvPicPr>
            <p:blipFill>
              <a:blip r:embed="rId6"/>
              <a:stretch>
                <a:fillRect/>
              </a:stretch>
            </p:blipFill>
            <p:spPr>
              <a:xfrm>
                <a:off x="2743519" y="8715530"/>
                <a:ext cx="419348" cy="61726"/>
              </a:xfrm>
              <a:prstGeom prst="rect">
                <a:avLst/>
              </a:prstGeom>
            </p:spPr>
          </p:pic>
        </mc:Fallback>
      </mc:AlternateContent>
      <p:cxnSp>
        <p:nvCxnSpPr>
          <p:cNvPr id="17" name="Gerade Verbindung mit Pfeil 16">
            <a:extLst>
              <a:ext uri="{FF2B5EF4-FFF2-40B4-BE49-F238E27FC236}">
                <a16:creationId xmlns:a16="http://schemas.microsoft.com/office/drawing/2014/main" id="{F96F3D17-A298-2CA9-1281-34DC22641416}"/>
              </a:ext>
            </a:extLst>
          </p:cNvPr>
          <p:cNvCxnSpPr>
            <a:cxnSpLocks/>
          </p:cNvCxnSpPr>
          <p:nvPr/>
        </p:nvCxnSpPr>
        <p:spPr>
          <a:xfrm flipV="1">
            <a:off x="2161168" y="8774143"/>
            <a:ext cx="759315" cy="75781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8" name="Untertitel 3">
            <a:extLst>
              <a:ext uri="{FF2B5EF4-FFF2-40B4-BE49-F238E27FC236}">
                <a16:creationId xmlns:a16="http://schemas.microsoft.com/office/drawing/2014/main" id="{6F4B7A31-7F40-DA78-5DF0-AA36F25B4406}"/>
              </a:ext>
            </a:extLst>
          </p:cNvPr>
          <p:cNvSpPr txBox="1">
            <a:spLocks/>
          </p:cNvSpPr>
          <p:nvPr/>
        </p:nvSpPr>
        <p:spPr>
          <a:xfrm>
            <a:off x="5533071" y="8873126"/>
            <a:ext cx="932922" cy="36989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150" b="1" noProof="0"/>
              <a:t>Wooden stick</a:t>
            </a:r>
          </a:p>
        </p:txBody>
      </p:sp>
      <p:cxnSp>
        <p:nvCxnSpPr>
          <p:cNvPr id="19" name="Gerade Verbindung mit Pfeil 18">
            <a:extLst>
              <a:ext uri="{FF2B5EF4-FFF2-40B4-BE49-F238E27FC236}">
                <a16:creationId xmlns:a16="http://schemas.microsoft.com/office/drawing/2014/main" id="{EF2D9963-A48D-A43C-969A-3CF9C00DA4DE}"/>
              </a:ext>
            </a:extLst>
          </p:cNvPr>
          <p:cNvCxnSpPr>
            <a:cxnSpLocks/>
          </p:cNvCxnSpPr>
          <p:nvPr/>
        </p:nvCxnSpPr>
        <p:spPr>
          <a:xfrm flipH="1" flipV="1">
            <a:off x="4696439" y="9049078"/>
            <a:ext cx="827484" cy="10397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81714CFD-3D5A-7C97-92A1-6FC6BFB16B50}"/>
              </a:ext>
            </a:extLst>
          </p:cNvPr>
          <p:cNvCxnSpPr>
            <a:cxnSpLocks/>
          </p:cNvCxnSpPr>
          <p:nvPr/>
        </p:nvCxnSpPr>
        <p:spPr>
          <a:xfrm flipH="1">
            <a:off x="4026410" y="7775430"/>
            <a:ext cx="1456237" cy="2510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4A33FA36-9111-BCD1-D421-9C2B71509A9E}"/>
              </a:ext>
            </a:extLst>
          </p:cNvPr>
          <p:cNvCxnSpPr>
            <a:cxnSpLocks/>
          </p:cNvCxnSpPr>
          <p:nvPr/>
        </p:nvCxnSpPr>
        <p:spPr>
          <a:xfrm flipH="1">
            <a:off x="4028781" y="8013904"/>
            <a:ext cx="1456237" cy="2510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7649414A-ABC3-8B5B-6D3C-7074ED217D7B}"/>
              </a:ext>
            </a:extLst>
          </p:cNvPr>
          <p:cNvCxnSpPr>
            <a:cxnSpLocks/>
          </p:cNvCxnSpPr>
          <p:nvPr/>
        </p:nvCxnSpPr>
        <p:spPr>
          <a:xfrm flipH="1">
            <a:off x="4028971" y="8268270"/>
            <a:ext cx="1456237" cy="2510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Untertitel 3">
            <a:extLst>
              <a:ext uri="{FF2B5EF4-FFF2-40B4-BE49-F238E27FC236}">
                <a16:creationId xmlns:a16="http://schemas.microsoft.com/office/drawing/2014/main" id="{58B3A419-8E0D-F61A-F9A7-F0DAFB16CC81}"/>
              </a:ext>
            </a:extLst>
          </p:cNvPr>
          <p:cNvSpPr txBox="1">
            <a:spLocks/>
          </p:cNvSpPr>
          <p:nvPr/>
        </p:nvSpPr>
        <p:spPr>
          <a:xfrm>
            <a:off x="5533071" y="7653656"/>
            <a:ext cx="1171923" cy="44152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pPr>
            <a:r>
              <a:rPr lang="en-GB" sz="1150" b="1" noProof="0"/>
              <a:t>Step 7 – blow into this direction</a:t>
            </a:r>
          </a:p>
        </p:txBody>
      </p:sp>
      <p:sp>
        <p:nvSpPr>
          <p:cNvPr id="29" name="Untertitel 3">
            <a:extLst>
              <a:ext uri="{FF2B5EF4-FFF2-40B4-BE49-F238E27FC236}">
                <a16:creationId xmlns:a16="http://schemas.microsoft.com/office/drawing/2014/main" id="{CA6837E9-0CA2-31C7-139C-BB9C3A8FBD8F}"/>
              </a:ext>
            </a:extLst>
          </p:cNvPr>
          <p:cNvSpPr txBox="1">
            <a:spLocks/>
          </p:cNvSpPr>
          <p:nvPr/>
        </p:nvSpPr>
        <p:spPr>
          <a:xfrm>
            <a:off x="719138" y="4533968"/>
            <a:ext cx="595683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r>
              <a:rPr lang="en-GB" sz="1200" noProof="0" dirty="0"/>
              <a:t>For the steps one and two look at the following pictures: </a:t>
            </a:r>
          </a:p>
        </p:txBody>
      </p:sp>
    </p:spTree>
    <p:extLst>
      <p:ext uri="{BB962C8B-B14F-4D97-AF65-F5344CB8AC3E}">
        <p14:creationId xmlns:p14="http://schemas.microsoft.com/office/powerpoint/2010/main" val="582580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25F1FD-B735-2323-1229-AE4F74945956}"/>
              </a:ext>
            </a:extLst>
          </p:cNvPr>
          <p:cNvSpPr>
            <a:spLocks noGrp="1"/>
          </p:cNvSpPr>
          <p:nvPr>
            <p:ph type="sldNum" sz="quarter" idx="4"/>
          </p:nvPr>
        </p:nvSpPr>
        <p:spPr/>
        <p:txBody>
          <a:bodyPr/>
          <a:lstStyle/>
          <a:p>
            <a:fld id="{DF7F771E-9578-4C04-B869-01AF4C35C90C}" type="slidenum">
              <a:rPr lang="en-GB" noProof="0" smtClean="0"/>
              <a:t>34</a:t>
            </a:fld>
            <a:endParaRPr lang="en-GB" noProof="0"/>
          </a:p>
        </p:txBody>
      </p:sp>
      <p:sp>
        <p:nvSpPr>
          <p:cNvPr id="2" name="Untertitel 5">
            <a:extLst>
              <a:ext uri="{FF2B5EF4-FFF2-40B4-BE49-F238E27FC236}">
                <a16:creationId xmlns:a16="http://schemas.microsoft.com/office/drawing/2014/main" id="{2226C690-FDA5-1BF1-07D6-F8A0FE929463}"/>
              </a:ext>
            </a:extLst>
          </p:cNvPr>
          <p:cNvSpPr txBox="1">
            <a:spLocks/>
          </p:cNvSpPr>
          <p:nvPr/>
        </p:nvSpPr>
        <p:spPr>
          <a:xfrm>
            <a:off x="719138" y="3974045"/>
            <a:ext cx="4445929"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12" name="Untertitel 3">
            <a:extLst>
              <a:ext uri="{FF2B5EF4-FFF2-40B4-BE49-F238E27FC236}">
                <a16:creationId xmlns:a16="http://schemas.microsoft.com/office/drawing/2014/main" id="{3CCD2D1A-1DA2-AD54-4F05-393E79DADEA7}"/>
              </a:ext>
            </a:extLst>
          </p:cNvPr>
          <p:cNvSpPr txBox="1">
            <a:spLocks/>
          </p:cNvSpPr>
          <p:nvPr/>
        </p:nvSpPr>
        <p:spPr>
          <a:xfrm>
            <a:off x="726661" y="4326659"/>
            <a:ext cx="5870944"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a:t>What can be the reason for that observation?</a:t>
            </a:r>
          </a:p>
        </p:txBody>
      </p:sp>
      <p:sp>
        <p:nvSpPr>
          <p:cNvPr id="4" name="Untertitel 3">
            <a:extLst>
              <a:ext uri="{FF2B5EF4-FFF2-40B4-BE49-F238E27FC236}">
                <a16:creationId xmlns:a16="http://schemas.microsoft.com/office/drawing/2014/main" id="{0B100EBC-7B68-A345-92A0-145DE6EF14A7}"/>
              </a:ext>
            </a:extLst>
          </p:cNvPr>
          <p:cNvSpPr txBox="1">
            <a:spLocks/>
          </p:cNvSpPr>
          <p:nvPr/>
        </p:nvSpPr>
        <p:spPr>
          <a:xfrm>
            <a:off x="719138" y="2402775"/>
            <a:ext cx="5870944"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dirty="0"/>
              <a:t>What happens if you blow over the top surface, holding the wooden stick in both of your hands?</a:t>
            </a:r>
            <a:endParaRPr lang="en-GB" sz="1200" noProof="0" dirty="0">
              <a:solidFill>
                <a:srgbClr val="000000"/>
              </a:solidFill>
            </a:endParaRPr>
          </a:p>
          <a:p>
            <a:pPr>
              <a:lnSpc>
                <a:spcPct val="114999"/>
              </a:lnSpc>
              <a:buFont typeface="Arial" panose="020B0604020202020204" pitchFamily="34" charset="0"/>
              <a:buChar char="•"/>
            </a:pPr>
            <a:endParaRPr lang="en-GB" sz="1200" noProof="0" dirty="0"/>
          </a:p>
        </p:txBody>
      </p:sp>
      <p:sp>
        <p:nvSpPr>
          <p:cNvPr id="18" name="Untertitel 5">
            <a:extLst>
              <a:ext uri="{FF2B5EF4-FFF2-40B4-BE49-F238E27FC236}">
                <a16:creationId xmlns:a16="http://schemas.microsoft.com/office/drawing/2014/main" id="{D460B0C8-DDB5-283E-029C-F4E7396BD2D1}"/>
              </a:ext>
            </a:extLst>
          </p:cNvPr>
          <p:cNvSpPr txBox="1">
            <a:spLocks/>
          </p:cNvSpPr>
          <p:nvPr/>
        </p:nvSpPr>
        <p:spPr>
          <a:xfrm>
            <a:off x="719138" y="2016056"/>
            <a:ext cx="440478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1</a:t>
            </a:r>
          </a:p>
        </p:txBody>
      </p:sp>
      <p:sp>
        <p:nvSpPr>
          <p:cNvPr id="7" name="Untertitel 3">
            <a:extLst>
              <a:ext uri="{FF2B5EF4-FFF2-40B4-BE49-F238E27FC236}">
                <a16:creationId xmlns:a16="http://schemas.microsoft.com/office/drawing/2014/main" id="{0E726489-E85C-E3B0-D302-2ECB0D80D9D0}"/>
              </a:ext>
            </a:extLst>
          </p:cNvPr>
          <p:cNvSpPr txBox="1">
            <a:spLocks/>
          </p:cNvSpPr>
          <p:nvPr/>
        </p:nvSpPr>
        <p:spPr>
          <a:xfrm>
            <a:off x="719138" y="6737973"/>
            <a:ext cx="5905126"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a:solidFill>
                  <a:srgbClr val="333333"/>
                </a:solidFill>
              </a:rPr>
              <a:t>What should be the shape of the blades, referring to the observations so far?</a:t>
            </a:r>
          </a:p>
          <a:p>
            <a:pPr>
              <a:lnSpc>
                <a:spcPct val="114999"/>
              </a:lnSpc>
              <a:buFont typeface="Arial" panose="020B0604020202020204" pitchFamily="34" charset="0"/>
              <a:buChar char="•"/>
            </a:pPr>
            <a:endParaRPr lang="en-GB" sz="1200" noProof="0"/>
          </a:p>
        </p:txBody>
      </p:sp>
      <p:sp>
        <p:nvSpPr>
          <p:cNvPr id="9" name="Untertitel 5">
            <a:extLst>
              <a:ext uri="{FF2B5EF4-FFF2-40B4-BE49-F238E27FC236}">
                <a16:creationId xmlns:a16="http://schemas.microsoft.com/office/drawing/2014/main" id="{6E769508-9355-93D3-8A39-589575A413BA}"/>
              </a:ext>
            </a:extLst>
          </p:cNvPr>
          <p:cNvSpPr txBox="1">
            <a:spLocks/>
          </p:cNvSpPr>
          <p:nvPr/>
        </p:nvSpPr>
        <p:spPr>
          <a:xfrm>
            <a:off x="719138" y="6383176"/>
            <a:ext cx="44559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3</a:t>
            </a:r>
          </a:p>
        </p:txBody>
      </p:sp>
      <p:sp>
        <p:nvSpPr>
          <p:cNvPr id="14" name="Untertitel 5">
            <a:extLst>
              <a:ext uri="{FF2B5EF4-FFF2-40B4-BE49-F238E27FC236}">
                <a16:creationId xmlns:a16="http://schemas.microsoft.com/office/drawing/2014/main" id="{93C2DEA0-AA87-8B8B-24B7-45A5D337F06D}"/>
              </a:ext>
            </a:extLst>
          </p:cNvPr>
          <p:cNvSpPr txBox="1">
            <a:spLocks/>
          </p:cNvSpPr>
          <p:nvPr/>
        </p:nvSpPr>
        <p:spPr>
          <a:xfrm>
            <a:off x="719138" y="8320945"/>
            <a:ext cx="4445929"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RPr/>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4</a:t>
            </a:r>
          </a:p>
        </p:txBody>
      </p:sp>
      <p:sp>
        <p:nvSpPr>
          <p:cNvPr id="20" name="Untertitel 3">
            <a:extLst>
              <a:ext uri="{FF2B5EF4-FFF2-40B4-BE49-F238E27FC236}">
                <a16:creationId xmlns:a16="http://schemas.microsoft.com/office/drawing/2014/main" id="{96A7A15F-B86E-5ADE-747E-172AF09E9E00}"/>
              </a:ext>
            </a:extLst>
          </p:cNvPr>
          <p:cNvSpPr txBox="1">
            <a:spLocks/>
          </p:cNvSpPr>
          <p:nvPr/>
        </p:nvSpPr>
        <p:spPr>
          <a:xfrm>
            <a:off x="719138" y="8719232"/>
            <a:ext cx="588599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nSpc>
                <a:spcPct val="114999"/>
              </a:lnSpc>
            </a:pPr>
            <a:r>
              <a:rPr lang="en-GB" sz="1200" noProof="0"/>
              <a:t>What factors could influence the output power of wind turbines?</a:t>
            </a:r>
          </a:p>
        </p:txBody>
      </p:sp>
      <p:sp>
        <p:nvSpPr>
          <p:cNvPr id="6" name="Textfeld 11">
            <a:extLst>
              <a:ext uri="{FF2B5EF4-FFF2-40B4-BE49-F238E27FC236}">
                <a16:creationId xmlns:a16="http://schemas.microsoft.com/office/drawing/2014/main" id="{55D3D2AD-EA90-EC61-6F8C-D4D4E38CDAC2}"/>
              </a:ext>
            </a:extLst>
          </p:cNvPr>
          <p:cNvSpPr txBox="1"/>
          <p:nvPr/>
        </p:nvSpPr>
        <p:spPr>
          <a:xfrm>
            <a:off x="876817" y="3134776"/>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effectLst/>
                <a:latin typeface="Sofia Sans"/>
                <a:ea typeface="Times New Roman" panose="02020603050405020304" pitchFamily="18" charset="0"/>
              </a:rPr>
              <a:t>From this experiment, you should observe that </a:t>
            </a:r>
            <a:r>
              <a:rPr lang="en-GB" sz="1100" noProof="0">
                <a:solidFill>
                  <a:srgbClr val="FF0000"/>
                </a:solidFill>
                <a:latin typeface="Sofia Sans"/>
                <a:ea typeface="Times New Roman" panose="02020603050405020304" pitchFamily="18" charset="0"/>
              </a:rPr>
              <a:t>the </a:t>
            </a:r>
            <a:r>
              <a:rPr lang="en-GB" sz="1100" noProof="0" err="1">
                <a:solidFill>
                  <a:srgbClr val="FF0000"/>
                </a:solidFill>
                <a:latin typeface="Sofia Sans"/>
                <a:ea typeface="Times New Roman" panose="02020603050405020304" pitchFamily="18" charset="0"/>
              </a:rPr>
              <a:t>airfoil</a:t>
            </a:r>
            <a:r>
              <a:rPr lang="en-GB" sz="1100" noProof="0">
                <a:solidFill>
                  <a:srgbClr val="FF0000"/>
                </a:solidFill>
                <a:latin typeface="Sofia Sans"/>
                <a:ea typeface="Times New Roman" panose="02020603050405020304" pitchFamily="18" charset="0"/>
              </a:rPr>
              <a:t> lifts when you blow on top of it. If there is no one blowing, the </a:t>
            </a:r>
            <a:r>
              <a:rPr lang="en-GB" sz="1100" noProof="0" err="1">
                <a:solidFill>
                  <a:srgbClr val="FF0000"/>
                </a:solidFill>
                <a:latin typeface="Sofia Sans"/>
                <a:ea typeface="Times New Roman" panose="02020603050405020304" pitchFamily="18" charset="0"/>
              </a:rPr>
              <a:t>airfoil</a:t>
            </a:r>
            <a:r>
              <a:rPr lang="en-GB" sz="1100" noProof="0">
                <a:solidFill>
                  <a:srgbClr val="FF0000"/>
                </a:solidFill>
                <a:latin typeface="Sofia Sans"/>
                <a:ea typeface="Times New Roman" panose="02020603050405020304" pitchFamily="18" charset="0"/>
              </a:rPr>
              <a:t> goes down again. </a:t>
            </a:r>
            <a:endParaRPr lang="en-GB" sz="1100" noProof="0">
              <a:solidFill>
                <a:srgbClr val="FF0000"/>
              </a:solidFill>
              <a:effectLst/>
              <a:latin typeface="Sofia Sans"/>
              <a:ea typeface="Times New Roman" panose="02020603050405020304" pitchFamily="18" charset="0"/>
            </a:endParaRPr>
          </a:p>
        </p:txBody>
      </p:sp>
      <p:sp>
        <p:nvSpPr>
          <p:cNvPr id="8" name="Textfeld 11">
            <a:extLst>
              <a:ext uri="{FF2B5EF4-FFF2-40B4-BE49-F238E27FC236}">
                <a16:creationId xmlns:a16="http://schemas.microsoft.com/office/drawing/2014/main" id="{07B770C9-B117-BC14-AE7B-17AADCC8E24C}"/>
              </a:ext>
            </a:extLst>
          </p:cNvPr>
          <p:cNvSpPr txBox="1"/>
          <p:nvPr/>
        </p:nvSpPr>
        <p:spPr>
          <a:xfrm>
            <a:off x="876817" y="4837797"/>
            <a:ext cx="5617751" cy="135342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reason for that is the special </a:t>
            </a:r>
            <a:r>
              <a:rPr lang="en-GB" sz="1100" noProof="0" err="1">
                <a:solidFill>
                  <a:srgbClr val="FF0000"/>
                </a:solidFill>
                <a:latin typeface="Sofia Sans"/>
              </a:rPr>
              <a:t>airfoil</a:t>
            </a:r>
            <a:r>
              <a:rPr lang="en-GB" sz="1100" noProof="0">
                <a:solidFill>
                  <a:srgbClr val="FF0000"/>
                </a:solidFill>
                <a:latin typeface="Sofia Sans"/>
              </a:rPr>
              <a:t> shape. The air is going faster over the top surface than it is on the bottom, because of the shape. During this process, the pressure on top is decreased, as the air has less time and possibilities to push on the surface of the top surface.</a:t>
            </a:r>
            <a:endParaRPr lang="en-GB" sz="1100" noProof="0">
              <a:solidFill>
                <a:srgbClr val="FF0000"/>
              </a:solidFill>
              <a:latin typeface="Sofia Sans" panose="020B0604020202020204" charset="0"/>
            </a:endParaRPr>
          </a:p>
          <a:p>
            <a:r>
              <a:rPr lang="en-GB" sz="1100" noProof="0">
                <a:solidFill>
                  <a:srgbClr val="FF0000"/>
                </a:solidFill>
                <a:latin typeface="Sofia Sans"/>
              </a:rPr>
              <a:t>-&gt; This means low pressure on the top and high pressure on the bottom. As a higher pressure always pushes, the </a:t>
            </a:r>
            <a:r>
              <a:rPr lang="en-GB" sz="1100" noProof="0" err="1">
                <a:solidFill>
                  <a:srgbClr val="FF0000"/>
                </a:solidFill>
                <a:latin typeface="Sofia Sans"/>
              </a:rPr>
              <a:t>airfoil</a:t>
            </a:r>
            <a:r>
              <a:rPr lang="en-GB" sz="1100" noProof="0">
                <a:solidFill>
                  <a:srgbClr val="FF0000"/>
                </a:solidFill>
                <a:latin typeface="Sofia Sans"/>
              </a:rPr>
              <a:t> goes up. </a:t>
            </a:r>
          </a:p>
        </p:txBody>
      </p:sp>
      <p:sp>
        <p:nvSpPr>
          <p:cNvPr id="10" name="Textfeld 11">
            <a:extLst>
              <a:ext uri="{FF2B5EF4-FFF2-40B4-BE49-F238E27FC236}">
                <a16:creationId xmlns:a16="http://schemas.microsoft.com/office/drawing/2014/main" id="{10D6173F-978F-7FE3-8986-FFC33655D860}"/>
              </a:ext>
            </a:extLst>
          </p:cNvPr>
          <p:cNvSpPr txBox="1"/>
          <p:nvPr/>
        </p:nvSpPr>
        <p:spPr>
          <a:xfrm>
            <a:off x="873690" y="7219116"/>
            <a:ext cx="5617751" cy="91003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ea typeface="Times New Roman" panose="02020603050405020304" pitchFamily="18" charset="0"/>
              </a:rPr>
              <a:t>The shape of the blades or papers </a:t>
            </a:r>
            <a:r>
              <a:rPr lang="en-GB" sz="1100" noProof="0">
                <a:solidFill>
                  <a:srgbClr val="FF0000"/>
                </a:solidFill>
                <a:effectLst/>
                <a:latin typeface="Sofia Sans"/>
                <a:ea typeface="Times New Roman" panose="02020603050405020304" pitchFamily="18" charset="0"/>
              </a:rPr>
              <a:t>should </a:t>
            </a:r>
            <a:r>
              <a:rPr lang="en-GB" sz="1100" noProof="0">
                <a:solidFill>
                  <a:srgbClr val="FF0000"/>
                </a:solidFill>
                <a:latin typeface="Sofia Sans"/>
                <a:ea typeface="Times New Roman" panose="02020603050405020304" pitchFamily="18" charset="0"/>
              </a:rPr>
              <a:t>mimic the profile of a teardrop-shaped </a:t>
            </a:r>
            <a:r>
              <a:rPr lang="en-GB" sz="1100" noProof="0" err="1">
                <a:solidFill>
                  <a:srgbClr val="FF0000"/>
                </a:solidFill>
                <a:latin typeface="Sofia Sans"/>
                <a:ea typeface="Times New Roman" panose="02020603050405020304" pitchFamily="18" charset="0"/>
              </a:rPr>
              <a:t>airfoil</a:t>
            </a:r>
            <a:r>
              <a:rPr lang="en-GB" sz="1100" noProof="0">
                <a:solidFill>
                  <a:srgbClr val="FF0000"/>
                </a:solidFill>
                <a:latin typeface="Sofia Sans"/>
                <a:ea typeface="Times New Roman" panose="02020603050405020304" pitchFamily="18" charset="0"/>
              </a:rPr>
              <a:t>. This shape allows air to flow smoothly over the surface, creating lift on one side of the blade and drag on the other, which causes the turbine to rotate.</a:t>
            </a:r>
            <a:endParaRPr lang="en-GB" sz="1100" noProof="0"/>
          </a:p>
        </p:txBody>
      </p:sp>
      <p:sp>
        <p:nvSpPr>
          <p:cNvPr id="21" name="Textfeld 11">
            <a:extLst>
              <a:ext uri="{FF2B5EF4-FFF2-40B4-BE49-F238E27FC236}">
                <a16:creationId xmlns:a16="http://schemas.microsoft.com/office/drawing/2014/main" id="{B2BF9AF5-63A8-3A92-B1B2-59300205A748}"/>
              </a:ext>
            </a:extLst>
          </p:cNvPr>
          <p:cNvSpPr txBox="1"/>
          <p:nvPr/>
        </p:nvSpPr>
        <p:spPr>
          <a:xfrm>
            <a:off x="873690" y="9187636"/>
            <a:ext cx="5617751" cy="569913"/>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Wind speed, blade size, blade shape, height, wind consistency, and machine parts</a:t>
            </a:r>
            <a:endParaRPr lang="en-GB" sz="1100" noProof="0"/>
          </a:p>
        </p:txBody>
      </p:sp>
      <p:sp>
        <p:nvSpPr>
          <p:cNvPr id="22" name="Untertitel 5">
            <a:extLst>
              <a:ext uri="{FF2B5EF4-FFF2-40B4-BE49-F238E27FC236}">
                <a16:creationId xmlns:a16="http://schemas.microsoft.com/office/drawing/2014/main" id="{610DA17C-C62D-758D-9269-000E75C27987}"/>
              </a:ext>
            </a:extLst>
          </p:cNvPr>
          <p:cNvSpPr txBox="1">
            <a:spLocks/>
          </p:cNvSpPr>
          <p:nvPr/>
        </p:nvSpPr>
        <p:spPr>
          <a:xfrm>
            <a:off x="1104692" y="132752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23" name="Ellipse 22">
            <a:extLst>
              <a:ext uri="{FF2B5EF4-FFF2-40B4-BE49-F238E27FC236}">
                <a16:creationId xmlns:a16="http://schemas.microsoft.com/office/drawing/2014/main" id="{43B7BEFA-841E-B804-D371-1443339B0A1A}"/>
              </a:ext>
            </a:extLst>
          </p:cNvPr>
          <p:cNvSpPr>
            <a:spLocks noChangeAspect="1"/>
          </p:cNvSpPr>
          <p:nvPr/>
        </p:nvSpPr>
        <p:spPr>
          <a:xfrm>
            <a:off x="730528" y="129803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7" name="Grafik 16" descr="Skizze mit einfarbiger Füllung">
            <a:extLst>
              <a:ext uri="{FF2B5EF4-FFF2-40B4-BE49-F238E27FC236}">
                <a16:creationId xmlns:a16="http://schemas.microsoft.com/office/drawing/2014/main" id="{7EF05305-9D3D-CFD5-B906-DB0406163F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069" y="1363618"/>
            <a:ext cx="379044" cy="379044"/>
          </a:xfrm>
          <a:prstGeom prst="rect">
            <a:avLst/>
          </a:prstGeom>
        </p:spPr>
      </p:pic>
    </p:spTree>
    <p:extLst>
      <p:ext uri="{BB962C8B-B14F-4D97-AF65-F5344CB8AC3E}">
        <p14:creationId xmlns:p14="http://schemas.microsoft.com/office/powerpoint/2010/main" val="15579254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D91308DA-2110-0B45-0B26-E121F76E64CA}"/>
              </a:ext>
            </a:extLst>
          </p:cNvPr>
          <p:cNvSpPr/>
          <p:nvPr/>
        </p:nvSpPr>
        <p:spPr>
          <a:xfrm>
            <a:off x="719138" y="1568418"/>
            <a:ext cx="5701245" cy="3177754"/>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Untertitel 2">
            <a:extLst>
              <a:ext uri="{FF2B5EF4-FFF2-40B4-BE49-F238E27FC236}">
                <a16:creationId xmlns:a16="http://schemas.microsoft.com/office/drawing/2014/main" id="{3217CAE4-727E-902E-01B2-390D4371FDCA}"/>
              </a:ext>
            </a:extLst>
          </p:cNvPr>
          <p:cNvSpPr txBox="1">
            <a:spLocks/>
          </p:cNvSpPr>
          <p:nvPr/>
        </p:nvSpPr>
        <p:spPr>
          <a:xfrm>
            <a:off x="1080626" y="2146646"/>
            <a:ext cx="5010826" cy="2356302"/>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The experimentally constructed </a:t>
            </a:r>
            <a:r>
              <a:rPr lang="en-GB" sz="1200" noProof="0" dirty="0" err="1">
                <a:latin typeface="Sofia Sans"/>
              </a:rPr>
              <a:t>airfoils</a:t>
            </a:r>
            <a:r>
              <a:rPr lang="en-GB" sz="1200" noProof="0" dirty="0">
                <a:latin typeface="Sofia Sans"/>
              </a:rPr>
              <a:t> show how wind turbine blades are constructed and how they move when the wind blows. </a:t>
            </a:r>
          </a:p>
          <a:p>
            <a:pPr marL="457200" indent="-317500">
              <a:lnSpc>
                <a:spcPct val="114999"/>
              </a:lnSpc>
              <a:buClr>
                <a:schemeClr val="lt1"/>
              </a:buClr>
              <a:buSzPts val="1400"/>
              <a:buFont typeface="Arial" panose="020B0604020202020204" pitchFamily="34" charset="0"/>
              <a:buChar char="•"/>
            </a:pPr>
            <a:r>
              <a:rPr lang="en-GB" sz="1200" noProof="0" dirty="0" err="1">
                <a:latin typeface="Sofia Sans"/>
              </a:rPr>
              <a:t>Airfoils</a:t>
            </a:r>
            <a:r>
              <a:rPr lang="en-GB" sz="1200" noProof="0" dirty="0">
                <a:latin typeface="Sofia Sans"/>
              </a:rPr>
              <a:t> have a shape with a curved top and a flatter bottom to create a pressure difference when the air flows over them.</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As the air moves faster over the top of the </a:t>
            </a:r>
            <a:r>
              <a:rPr lang="en-GB" sz="1200" noProof="0" dirty="0" err="1">
                <a:latin typeface="Sofia Sans"/>
              </a:rPr>
              <a:t>airfoil</a:t>
            </a:r>
            <a:r>
              <a:rPr lang="en-GB" sz="1200" noProof="0" dirty="0">
                <a:latin typeface="Sofia Sans"/>
              </a:rPr>
              <a:t>, there is a lower pressure at the top and a higher pressure at the bottom, which creates lift as the higher pressure pushes things upwards.  </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This </a:t>
            </a:r>
            <a:r>
              <a:rPr lang="en-GB" sz="1200" noProof="0" dirty="0" err="1">
                <a:latin typeface="Sofia Sans"/>
              </a:rPr>
              <a:t>airfoil</a:t>
            </a:r>
            <a:r>
              <a:rPr lang="en-GB" sz="1200" noProof="0" dirty="0">
                <a:latin typeface="Sofia Sans"/>
              </a:rPr>
              <a:t> is a model for wind energy wings and also for airplane wings! </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Wind speed, blade size, blade shape, height, wind resistance and machine parts all influence the performance of wind turbines.</a:t>
            </a:r>
            <a:endParaRPr lang="en-GB" sz="1200" noProof="0" dirty="0">
              <a:latin typeface="Sofia Sans" panose="020B0604020202020204" charset="0"/>
            </a:endParaRPr>
          </a:p>
          <a:p>
            <a:pPr marL="457200" indent="-317500">
              <a:lnSpc>
                <a:spcPct val="114999"/>
              </a:lnSpc>
              <a:buClr>
                <a:schemeClr val="lt1"/>
              </a:buClr>
              <a:buSzPts val="1400"/>
              <a:buFont typeface="Arial" panose="020B0604020202020204" pitchFamily="34" charset="0"/>
              <a:buChar char="•"/>
            </a:pPr>
            <a:endParaRPr lang="en-GB" sz="1200" noProof="0" dirty="0">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endParaRPr lang="en-GB" sz="1200" noProof="0" dirty="0">
              <a:latin typeface="Sofia Sans" panose="020B0604020202020204" charset="0"/>
            </a:endParaRPr>
          </a:p>
          <a:p>
            <a:pPr marL="457200" indent="-317500">
              <a:lnSpc>
                <a:spcPct val="115000"/>
              </a:lnSpc>
              <a:buClr>
                <a:schemeClr val="lt1"/>
              </a:buClr>
              <a:buSzPts val="1400"/>
            </a:pPr>
            <a:endParaRPr lang="en-GB" sz="1200" noProof="0" dirty="0">
              <a:latin typeface="Sofia Sans" panose="020B0604020202020204" charset="0"/>
            </a:endParaRPr>
          </a:p>
        </p:txBody>
      </p:sp>
      <p:sp>
        <p:nvSpPr>
          <p:cNvPr id="15" name="Foliennummernplatzhalter 14">
            <a:extLst>
              <a:ext uri="{FF2B5EF4-FFF2-40B4-BE49-F238E27FC236}">
                <a16:creationId xmlns:a16="http://schemas.microsoft.com/office/drawing/2014/main" id="{15733A09-4426-FD53-0A56-8753B570E0A5}"/>
              </a:ext>
            </a:extLst>
          </p:cNvPr>
          <p:cNvSpPr>
            <a:spLocks noGrp="1"/>
          </p:cNvSpPr>
          <p:nvPr>
            <p:ph type="sldNum" sz="quarter" idx="16"/>
          </p:nvPr>
        </p:nvSpPr>
        <p:spPr/>
        <p:txBody>
          <a:bodyPr/>
          <a:lstStyle/>
          <a:p>
            <a:fld id="{DF7F771E-9578-4C04-B869-01AF4C35C90C}" type="slidenum">
              <a:rPr lang="en-GB" noProof="0" smtClean="0"/>
              <a:t>35</a:t>
            </a:fld>
            <a:endParaRPr lang="en-GB" noProof="0"/>
          </a:p>
        </p:txBody>
      </p:sp>
      <p:sp>
        <p:nvSpPr>
          <p:cNvPr id="17" name="Ellipse 16">
            <a:extLst>
              <a:ext uri="{FF2B5EF4-FFF2-40B4-BE49-F238E27FC236}">
                <a16:creationId xmlns:a16="http://schemas.microsoft.com/office/drawing/2014/main" id="{B0EC394D-93A8-790D-3CE5-B42722CC07B8}"/>
              </a:ext>
            </a:extLst>
          </p:cNvPr>
          <p:cNvSpPr>
            <a:spLocks noChangeAspect="1"/>
          </p:cNvSpPr>
          <p:nvPr/>
        </p:nvSpPr>
        <p:spPr>
          <a:xfrm>
            <a:off x="6090051" y="1241921"/>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Grafik 17" descr="Lesezeichen mit einfarbiger Füllung">
            <a:extLst>
              <a:ext uri="{FF2B5EF4-FFF2-40B4-BE49-F238E27FC236}">
                <a16:creationId xmlns:a16="http://schemas.microsoft.com/office/drawing/2014/main" id="{90F16123-5711-F1D6-E05E-DD168A0053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17898" y="1369768"/>
            <a:ext cx="404450" cy="404450"/>
          </a:xfrm>
          <a:prstGeom prst="rect">
            <a:avLst/>
          </a:prstGeom>
        </p:spPr>
      </p:pic>
      <p:sp>
        <p:nvSpPr>
          <p:cNvPr id="19" name="Untertitel 5">
            <a:extLst>
              <a:ext uri="{FF2B5EF4-FFF2-40B4-BE49-F238E27FC236}">
                <a16:creationId xmlns:a16="http://schemas.microsoft.com/office/drawing/2014/main" id="{9B8AE0C5-C237-19D7-5A36-8A635C152CA2}"/>
              </a:ext>
            </a:extLst>
          </p:cNvPr>
          <p:cNvSpPr txBox="1">
            <a:spLocks/>
          </p:cNvSpPr>
          <p:nvPr/>
        </p:nvSpPr>
        <p:spPr>
          <a:xfrm>
            <a:off x="855237" y="166025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dirty="0"/>
              <a:t>In summary</a:t>
            </a:r>
          </a:p>
        </p:txBody>
      </p:sp>
      <p:sp>
        <p:nvSpPr>
          <p:cNvPr id="20" name="Untertitel 2">
            <a:extLst>
              <a:ext uri="{FF2B5EF4-FFF2-40B4-BE49-F238E27FC236}">
                <a16:creationId xmlns:a16="http://schemas.microsoft.com/office/drawing/2014/main" id="{A3D15105-7AF3-5991-13E5-6BC1B1EBBB38}"/>
              </a:ext>
            </a:extLst>
          </p:cNvPr>
          <p:cNvSpPr txBox="1">
            <a:spLocks/>
          </p:cNvSpPr>
          <p:nvPr/>
        </p:nvSpPr>
        <p:spPr>
          <a:xfrm>
            <a:off x="1065056" y="2153684"/>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pic>
        <p:nvPicPr>
          <p:cNvPr id="21" name="Grafik 20" descr="Lesezeichen mit einfarbiger Füllung">
            <a:extLst>
              <a:ext uri="{FF2B5EF4-FFF2-40B4-BE49-F238E27FC236}">
                <a16:creationId xmlns:a16="http://schemas.microsoft.com/office/drawing/2014/main" id="{C8FAE619-63F0-B81E-9AFE-EE6341E2A5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8450" y="1216978"/>
            <a:ext cx="321040" cy="321040"/>
          </a:xfrm>
          <a:prstGeom prst="rect">
            <a:avLst/>
          </a:prstGeom>
        </p:spPr>
      </p:pic>
    </p:spTree>
    <p:extLst>
      <p:ext uri="{BB962C8B-B14F-4D97-AF65-F5344CB8AC3E}">
        <p14:creationId xmlns:p14="http://schemas.microsoft.com/office/powerpoint/2010/main" val="24612220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lang="en-GB" sz="1488" noProof="0"/>
          </a:p>
        </p:txBody>
      </p:sp>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GB" sz="3450" noProof="0"/>
              <a:t>Wind Energy Education HUB</a:t>
            </a:r>
          </a:p>
          <a:p>
            <a:r>
              <a:rPr lang="en-GB" sz="3450" b="0" noProof="0"/>
              <a:t>Chapter 4</a:t>
            </a:r>
          </a:p>
        </p:txBody>
      </p:sp>
      <p:sp>
        <p:nvSpPr>
          <p:cNvPr id="327" name="Google Shape;327;p24"/>
          <p:cNvSpPr txBox="1">
            <a:spLocks noGrp="1"/>
          </p:cNvSpPr>
          <p:nvPr>
            <p:ph type="subTitle" idx="1"/>
          </p:nvPr>
        </p:nvSpPr>
        <p:spPr>
          <a:xfrm>
            <a:off x="2753754" y="6026576"/>
            <a:ext cx="4216106" cy="925467"/>
          </a:xfrm>
          <a:prstGeom prst="rect">
            <a:avLst/>
          </a:prstGeom>
          <a:solidFill>
            <a:schemeClr val="tx2">
              <a:lumMod val="60000"/>
              <a:lumOff val="40000"/>
            </a:schemeClr>
          </a:solidFill>
          <a:ln>
            <a:noFill/>
          </a:ln>
        </p:spPr>
        <p:txBody>
          <a:bodyPr spcFirstLastPara="1" wrap="square" lIns="75584" tIns="75584" rIns="75584" bIns="75584" anchor="ctr" anchorCtr="0">
            <a:noAutofit/>
          </a:bodyPr>
          <a:lstStyle/>
          <a:p>
            <a:pPr marL="0" indent="0"/>
            <a:r>
              <a:rPr lang="en-GB" sz="2800" b="1" noProof="0"/>
              <a:t>Experiments with a wind turbine</a:t>
            </a:r>
          </a:p>
        </p:txBody>
      </p: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Gleichschenkliges Dreieck 6">
            <a:extLst>
              <a:ext uri="{FF2B5EF4-FFF2-40B4-BE49-F238E27FC236}">
                <a16:creationId xmlns:a16="http://schemas.microsoft.com/office/drawing/2014/main" id="{3BD4C45A-9326-0D67-F95B-A3B0F062B903}"/>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 name="Grafik 1" descr="Ein Bild, das Text, Grafiken, Logo, Screenshot enthält.&#10;&#10;Automatisch generierte Beschreibung">
            <a:extLst>
              <a:ext uri="{FF2B5EF4-FFF2-40B4-BE49-F238E27FC236}">
                <a16:creationId xmlns:a16="http://schemas.microsoft.com/office/drawing/2014/main" id="{7FA0AF6A-4443-7347-6EF3-130C006574DB}"/>
              </a:ext>
            </a:extLst>
          </p:cNvPr>
          <p:cNvPicPr>
            <a:picLocks noChangeAspect="1"/>
          </p:cNvPicPr>
          <p:nvPr/>
        </p:nvPicPr>
        <p:blipFill rotWithShape="1">
          <a:blip r:embed="rId3"/>
          <a:srcRect l="27910" t="51063" r="50875" b="27502"/>
          <a:stretch/>
        </p:blipFill>
        <p:spPr>
          <a:xfrm>
            <a:off x="762883" y="4736714"/>
            <a:ext cx="1669323" cy="1650923"/>
          </a:xfrm>
          <a:prstGeom prst="ellipse">
            <a:avLst/>
          </a:prstGeom>
        </p:spPr>
      </p:pic>
    </p:spTree>
    <p:extLst>
      <p:ext uri="{BB962C8B-B14F-4D97-AF65-F5344CB8AC3E}">
        <p14:creationId xmlns:p14="http://schemas.microsoft.com/office/powerpoint/2010/main" val="1748707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ntertitel 3">
            <a:extLst>
              <a:ext uri="{FF2B5EF4-FFF2-40B4-BE49-F238E27FC236}">
                <a16:creationId xmlns:a16="http://schemas.microsoft.com/office/drawing/2014/main" id="{37B1975D-5314-EF92-0D9E-E2A606B471A6}"/>
              </a:ext>
            </a:extLst>
          </p:cNvPr>
          <p:cNvSpPr txBox="1">
            <a:spLocks/>
          </p:cNvSpPr>
          <p:nvPr/>
        </p:nvSpPr>
        <p:spPr>
          <a:xfrm>
            <a:off x="732794" y="2060142"/>
            <a:ext cx="6077309" cy="28663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dirty="0"/>
              <a:t>In this chapter, we will explore:</a:t>
            </a:r>
          </a:p>
          <a:p>
            <a:pPr>
              <a:lnSpc>
                <a:spcPct val="114999"/>
              </a:lnSpc>
              <a:buFont typeface="Arial" panose="020B0604020202020204" pitchFamily="34" charset="0"/>
              <a:buChar char="•"/>
            </a:pPr>
            <a:r>
              <a:rPr lang="en-GB" sz="1200" dirty="0"/>
              <a:t>The wind turbine experiment kit</a:t>
            </a:r>
          </a:p>
          <a:p>
            <a:pPr>
              <a:lnSpc>
                <a:spcPct val="114999"/>
              </a:lnSpc>
              <a:buFont typeface="Arial" panose="020B0604020202020204" pitchFamily="34" charset="0"/>
              <a:buChar char="•"/>
            </a:pPr>
            <a:r>
              <a:rPr lang="en-GB" sz="1200" dirty="0"/>
              <a:t>Direction of the wind</a:t>
            </a:r>
          </a:p>
          <a:p>
            <a:pPr>
              <a:lnSpc>
                <a:spcPct val="114999"/>
              </a:lnSpc>
              <a:buFont typeface="Arial" panose="020B0604020202020204" pitchFamily="34" charset="0"/>
              <a:buChar char="•"/>
            </a:pPr>
            <a:r>
              <a:rPr lang="en-GB" sz="1200" dirty="0"/>
              <a:t>Angle of attack</a:t>
            </a:r>
          </a:p>
          <a:p>
            <a:pPr>
              <a:lnSpc>
                <a:spcPct val="114999"/>
              </a:lnSpc>
              <a:buFont typeface="Arial" panose="020B0604020202020204" pitchFamily="34" charset="0"/>
              <a:buChar char="•"/>
            </a:pPr>
            <a:r>
              <a:rPr lang="en-GB" sz="1200" dirty="0"/>
              <a:t>The task of a tail fin</a:t>
            </a:r>
          </a:p>
          <a:p>
            <a:pPr>
              <a:lnSpc>
                <a:spcPct val="114999"/>
              </a:lnSpc>
              <a:buFont typeface="Arial" panose="020B0604020202020204" pitchFamily="34" charset="0"/>
              <a:buChar char="•"/>
            </a:pPr>
            <a:r>
              <a:rPr lang="en-GB" sz="1200" dirty="0"/>
              <a:t>Different movement of the turbine in different wind directions</a:t>
            </a:r>
          </a:p>
          <a:p>
            <a:pPr>
              <a:lnSpc>
                <a:spcPct val="114999"/>
              </a:lnSpc>
              <a:buFont typeface="Arial" panose="020B0604020202020204" pitchFamily="34" charset="0"/>
              <a:buChar char="•"/>
            </a:pPr>
            <a:r>
              <a:rPr lang="en-GB" sz="1200" dirty="0"/>
              <a:t>What happens if you change the blade pitch</a:t>
            </a:r>
          </a:p>
          <a:p>
            <a:pPr>
              <a:lnSpc>
                <a:spcPct val="114999"/>
              </a:lnSpc>
              <a:buFont typeface="Arial" panose="020B0604020202020204" pitchFamily="34" charset="0"/>
              <a:buChar char="•"/>
            </a:pPr>
            <a:r>
              <a:rPr lang="en-GB" sz="1200" dirty="0"/>
              <a:t>What happens if you change the blade length</a:t>
            </a:r>
          </a:p>
          <a:p>
            <a:pPr>
              <a:lnSpc>
                <a:spcPct val="114999"/>
              </a:lnSpc>
              <a:buFont typeface="Arial" panose="020B0604020202020204" pitchFamily="34" charset="0"/>
              <a:buChar char="•"/>
            </a:pPr>
            <a:r>
              <a:rPr lang="en-GB" sz="1200" dirty="0"/>
              <a:t>How many blades must an ideal wind turbine have to generate the most energy</a:t>
            </a:r>
          </a:p>
          <a:p>
            <a:pPr>
              <a:lnSpc>
                <a:spcPct val="114999"/>
              </a:lnSpc>
              <a:buFont typeface="Arial" panose="020B0604020202020204" pitchFamily="34" charset="0"/>
              <a:buChar char="•"/>
            </a:pPr>
            <a:r>
              <a:rPr lang="en-GB" sz="1200" dirty="0"/>
              <a:t>What happens if you try a one-blade wind turbine</a:t>
            </a:r>
          </a:p>
          <a:p>
            <a:pPr>
              <a:lnSpc>
                <a:spcPct val="114999"/>
              </a:lnSpc>
              <a:buFont typeface="Arial" panose="020B0604020202020204" pitchFamily="34" charset="0"/>
              <a:buChar char="•"/>
            </a:pPr>
            <a:r>
              <a:rPr lang="en-GB" sz="1200" dirty="0"/>
              <a:t>Could you set an MPP (Maximum Power Point) at wind</a:t>
            </a:r>
            <a:endParaRPr lang="en-GB" sz="1200" noProof="0" dirty="0"/>
          </a:p>
          <a:p>
            <a:pPr>
              <a:lnSpc>
                <a:spcPct val="114999"/>
              </a:lnSpc>
              <a:buFont typeface="Calibri"/>
              <a:buChar char="-"/>
            </a:pPr>
            <a:endParaRPr lang="en-GB" sz="1200" noProof="0" dirty="0"/>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718494" y="1277938"/>
            <a:ext cx="6369175" cy="1190474"/>
          </a:xfrm>
        </p:spPr>
        <p:txBody>
          <a:bodyPr/>
          <a:lstStyle/>
          <a:p>
            <a:r>
              <a:rPr lang="en-GB" noProof="0" dirty="0"/>
              <a:t>Experiments with a wind turbine</a:t>
            </a:r>
          </a:p>
        </p:txBody>
      </p:sp>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4"/>
          </p:nvPr>
        </p:nvSpPr>
        <p:spPr/>
        <p:txBody>
          <a:bodyPr/>
          <a:lstStyle/>
          <a:p>
            <a:fld id="{DF7F771E-9578-4C04-B869-01AF4C35C90C}" type="slidenum">
              <a:rPr lang="en-GB" noProof="0" smtClean="0"/>
              <a:t>37</a:t>
            </a:fld>
            <a:endParaRPr lang="en-GB" noProof="0"/>
          </a:p>
        </p:txBody>
      </p:sp>
      <p:sp>
        <p:nvSpPr>
          <p:cNvPr id="14" name="Untertitel 3">
            <a:extLst>
              <a:ext uri="{FF2B5EF4-FFF2-40B4-BE49-F238E27FC236}">
                <a16:creationId xmlns:a16="http://schemas.microsoft.com/office/drawing/2014/main" id="{70D8283B-838F-7304-E20E-E3F94B3F6925}"/>
              </a:ext>
            </a:extLst>
          </p:cNvPr>
          <p:cNvSpPr txBox="1">
            <a:spLocks/>
          </p:cNvSpPr>
          <p:nvPr/>
        </p:nvSpPr>
        <p:spPr>
          <a:xfrm>
            <a:off x="732794" y="5145691"/>
            <a:ext cx="6077309" cy="396646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dirty="0"/>
              <a:t>At the end of this chapter, you will:</a:t>
            </a:r>
          </a:p>
          <a:p>
            <a:pPr>
              <a:lnSpc>
                <a:spcPct val="114999"/>
              </a:lnSpc>
            </a:pPr>
            <a:endParaRPr lang="en-GB" sz="1200" noProof="0" dirty="0"/>
          </a:p>
          <a:p>
            <a:pPr marL="285750" indent="-285750">
              <a:lnSpc>
                <a:spcPct val="114999"/>
              </a:lnSpc>
              <a:buFont typeface="Arial"/>
              <a:buChar char="•"/>
            </a:pPr>
            <a:r>
              <a:rPr lang="en-GB" sz="1200" b="1" noProof="0" dirty="0"/>
              <a:t>Understand the importance of wind direction: </a:t>
            </a:r>
            <a:r>
              <a:rPr lang="en-GB" sz="1200" noProof="0" dirty="0"/>
              <a:t>Learn how aligning a wind turbine to the wind direction increases performance and how the angle of attack affects efficiency.</a:t>
            </a:r>
          </a:p>
          <a:p>
            <a:pPr marL="285750" indent="-285750">
              <a:lnSpc>
                <a:spcPct val="114999"/>
              </a:lnSpc>
              <a:buFont typeface="Arial"/>
              <a:buChar char="•"/>
            </a:pPr>
            <a:r>
              <a:rPr lang="en-GB" sz="1200" b="1" noProof="0" dirty="0"/>
              <a:t>Explore the role of the tail fin: </a:t>
            </a:r>
            <a:r>
              <a:rPr lang="en-GB" sz="1200" noProof="0" dirty="0"/>
              <a:t>Discover how the tail fin helps the turbine to automatically align with the wind for maximum performance.</a:t>
            </a:r>
          </a:p>
          <a:p>
            <a:pPr marL="285750" indent="-285750">
              <a:lnSpc>
                <a:spcPct val="114999"/>
              </a:lnSpc>
              <a:buFont typeface="Arial"/>
              <a:buChar char="•"/>
            </a:pPr>
            <a:r>
              <a:rPr lang="en-GB" sz="1200" b="1" noProof="0" dirty="0"/>
              <a:t>Learn about blade pitch adjustment: </a:t>
            </a:r>
            <a:r>
              <a:rPr lang="en-GB" sz="1200" noProof="0" dirty="0"/>
              <a:t>Understand how changing the blade angle affects the cross-sectional area exposed to the wind and influences power generation.</a:t>
            </a:r>
          </a:p>
          <a:p>
            <a:pPr marL="285750" indent="-285750">
              <a:lnSpc>
                <a:spcPct val="114999"/>
              </a:lnSpc>
              <a:buFont typeface="Arial"/>
              <a:buChar char="•"/>
            </a:pPr>
            <a:r>
              <a:rPr lang="en-GB" sz="1200" b="1" noProof="0" dirty="0"/>
              <a:t>Evaluate the effects of blade length: </a:t>
            </a:r>
            <a:r>
              <a:rPr lang="en-GB" sz="1200" noProof="0" dirty="0"/>
              <a:t>See how longer blades can capture more wind and generate more power, but can also become too heavy, affecting performance</a:t>
            </a:r>
            <a:r>
              <a:rPr lang="en-GB" sz="1200" b="1" noProof="0" dirty="0"/>
              <a:t>.</a:t>
            </a:r>
          </a:p>
          <a:p>
            <a:pPr marL="285750" indent="-285750">
              <a:lnSpc>
                <a:spcPct val="114999"/>
              </a:lnSpc>
              <a:buFont typeface="Arial"/>
              <a:buChar char="•"/>
            </a:pPr>
            <a:r>
              <a:rPr lang="en-GB" sz="1200" b="1" noProof="0" dirty="0" err="1"/>
              <a:t>Analyze</a:t>
            </a:r>
            <a:r>
              <a:rPr lang="en-GB" sz="1200" b="1" noProof="0" dirty="0"/>
              <a:t> blade weight: </a:t>
            </a:r>
            <a:r>
              <a:rPr lang="en-GB" sz="1200" noProof="0" dirty="0"/>
              <a:t>Understand the consequences of blades that are too heavy and the importance of minimum wind speed for take-off.</a:t>
            </a:r>
          </a:p>
          <a:p>
            <a:pPr marL="285750" indent="-285750">
              <a:lnSpc>
                <a:spcPct val="114999"/>
              </a:lnSpc>
              <a:buFont typeface="Arial"/>
              <a:buChar char="•"/>
            </a:pPr>
            <a:r>
              <a:rPr lang="en-GB" sz="1200" b="1" noProof="0" dirty="0"/>
              <a:t>Compare the effects of blade count: </a:t>
            </a:r>
            <a:r>
              <a:rPr lang="en-GB" sz="1200" noProof="0" dirty="0"/>
              <a:t>Explore why three blades are often the optimal choice to balance performance and structural stability.</a:t>
            </a:r>
          </a:p>
          <a:p>
            <a:pPr marL="285750" indent="-285750">
              <a:lnSpc>
                <a:spcPct val="114999"/>
              </a:lnSpc>
              <a:buFont typeface="Arial"/>
              <a:buChar char="•"/>
            </a:pPr>
            <a:r>
              <a:rPr lang="en-GB" sz="1200" b="1" noProof="0" dirty="0"/>
              <a:t>Understand the limitations of single-blade designs: </a:t>
            </a:r>
            <a:r>
              <a:rPr lang="en-GB" sz="1200" noProof="0" dirty="0"/>
              <a:t>Learn how using only one blade results in unbalanced rotation and increased stress on the turbine structure.</a:t>
            </a:r>
          </a:p>
          <a:p>
            <a:pPr marL="285750" indent="-285750">
              <a:lnSpc>
                <a:spcPct val="114999"/>
              </a:lnSpc>
              <a:buFont typeface="Arial"/>
              <a:buChar char="•"/>
            </a:pPr>
            <a:r>
              <a:rPr lang="en-GB" sz="1200" b="1" noProof="0" dirty="0"/>
              <a:t>Introduction to the concept of maximum power point (MPP) in wind turbines: </a:t>
            </a:r>
            <a:r>
              <a:rPr lang="en-GB" sz="1200" noProof="0" dirty="0"/>
              <a:t>Briefly explore how turbine performance can be optimized by adjusting wind direction, blade pitch and design.</a:t>
            </a:r>
            <a:endParaRPr lang="en-GB" sz="1200" noProof="0" dirty="0">
              <a:highlight>
                <a:srgbClr val="FFFF00"/>
              </a:highlight>
            </a:endParaRPr>
          </a:p>
          <a:p>
            <a:pPr>
              <a:lnSpc>
                <a:spcPct val="114999"/>
              </a:lnSpc>
            </a:pPr>
            <a:endParaRPr lang="en-GB" sz="1200" noProof="0" dirty="0">
              <a:highlight>
                <a:srgbClr val="FFFF00"/>
              </a:highlight>
            </a:endParaRPr>
          </a:p>
          <a:p>
            <a:pPr>
              <a:lnSpc>
                <a:spcPct val="114999"/>
              </a:lnSpc>
            </a:pPr>
            <a:endParaRPr lang="en-GB" sz="1200" noProof="0" dirty="0">
              <a:highlight>
                <a:srgbClr val="FFFF00"/>
              </a:highlight>
            </a:endParaRPr>
          </a:p>
          <a:p>
            <a:pPr>
              <a:lnSpc>
                <a:spcPct val="114999"/>
              </a:lnSpc>
            </a:pPr>
            <a:endParaRPr lang="en-GB" sz="1200" noProof="0" dirty="0">
              <a:highlight>
                <a:srgbClr val="FFFF00"/>
              </a:highlight>
            </a:endParaRPr>
          </a:p>
        </p:txBody>
      </p:sp>
      <p:sp>
        <p:nvSpPr>
          <p:cNvPr id="15" name="Untertitel 5">
            <a:extLst>
              <a:ext uri="{FF2B5EF4-FFF2-40B4-BE49-F238E27FC236}">
                <a16:creationId xmlns:a16="http://schemas.microsoft.com/office/drawing/2014/main" id="{D11F5D38-E76B-2625-D4C9-29A036A7C2F9}"/>
              </a:ext>
            </a:extLst>
          </p:cNvPr>
          <p:cNvSpPr txBox="1">
            <a:spLocks/>
          </p:cNvSpPr>
          <p:nvPr/>
        </p:nvSpPr>
        <p:spPr>
          <a:xfrm>
            <a:off x="732794" y="4717151"/>
            <a:ext cx="4470879"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Learning objectives</a:t>
            </a:r>
          </a:p>
        </p:txBody>
      </p:sp>
    </p:spTree>
    <p:extLst>
      <p:ext uri="{BB962C8B-B14F-4D97-AF65-F5344CB8AC3E}">
        <p14:creationId xmlns:p14="http://schemas.microsoft.com/office/powerpoint/2010/main" val="17220669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a:xfrm>
            <a:off x="719138" y="1277938"/>
            <a:ext cx="6380088" cy="1197333"/>
          </a:xfrm>
        </p:spPr>
        <p:txBody>
          <a:bodyPr/>
          <a:lstStyle/>
          <a:p>
            <a:r>
              <a:rPr lang="en-GB" noProof="0" dirty="0"/>
              <a:t>1. How to measure the power of wind turbines</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4"/>
          </p:nvPr>
        </p:nvSpPr>
        <p:spPr/>
        <p:txBody>
          <a:bodyPr/>
          <a:lstStyle/>
          <a:p>
            <a:fld id="{DF7F771E-9578-4C04-B869-01AF4C35C90C}" type="slidenum">
              <a:rPr lang="en-GB" noProof="0" smtClean="0"/>
              <a:t>38</a:t>
            </a:fld>
            <a:endParaRPr lang="en-GB" noProof="0"/>
          </a:p>
        </p:txBody>
      </p:sp>
      <p:sp>
        <p:nvSpPr>
          <p:cNvPr id="18" name="Untertitel 3">
            <a:extLst>
              <a:ext uri="{FF2B5EF4-FFF2-40B4-BE49-F238E27FC236}">
                <a16:creationId xmlns:a16="http://schemas.microsoft.com/office/drawing/2014/main" id="{9D402FC9-B003-6ABB-29C8-CFE131F86AFE}"/>
              </a:ext>
            </a:extLst>
          </p:cNvPr>
          <p:cNvSpPr txBox="1">
            <a:spLocks/>
          </p:cNvSpPr>
          <p:nvPr/>
        </p:nvSpPr>
        <p:spPr>
          <a:xfrm>
            <a:off x="736556" y="2475271"/>
            <a:ext cx="5925502" cy="64372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To measure the power generated by the wind turbine, the experiments will use a </a:t>
            </a:r>
            <a:r>
              <a:rPr lang="en-GB" sz="1200" dirty="0" err="1"/>
              <a:t>multimeter</a:t>
            </a:r>
            <a:r>
              <a:rPr lang="en-GB" sz="1200" dirty="0"/>
              <a:t>. It is easy to handle and can measure electrical quantities like voltage, current, and resistance.  For our experiments we stick to the unit of voltage to measure energy. Why that?</a:t>
            </a:r>
          </a:p>
          <a:p>
            <a:pPr marL="0" indent="0">
              <a:lnSpc>
                <a:spcPct val="114999"/>
              </a:lnSpc>
            </a:pPr>
            <a:endParaRPr lang="en-GB" sz="1200" dirty="0"/>
          </a:p>
          <a:p>
            <a:pPr>
              <a:buSzPts val="1800"/>
            </a:pPr>
            <a:r>
              <a:rPr lang="en-GB" sz="1200" b="1" dirty="0">
                <a:solidFill>
                  <a:schemeClr val="accent2"/>
                </a:solidFill>
                <a:latin typeface="Epilogue"/>
                <a:sym typeface="Epilogue"/>
              </a:rPr>
              <a:t>What is power?</a:t>
            </a:r>
          </a:p>
          <a:p>
            <a:pPr marL="144000" indent="0"/>
            <a:r>
              <a:rPr lang="en-GB" sz="1200" dirty="0"/>
              <a:t>Power is the amount of energy that something can produce or use in a certain amount of time. For wind turbines, power means the energy they create by turning wind into electricity.</a:t>
            </a:r>
          </a:p>
          <a:p>
            <a:pPr marL="0" indent="0">
              <a:lnSpc>
                <a:spcPct val="114999"/>
              </a:lnSpc>
            </a:pPr>
            <a:endParaRPr lang="en-GB" sz="1200" dirty="0"/>
          </a:p>
          <a:p>
            <a:pPr>
              <a:buSzPts val="1800"/>
            </a:pPr>
            <a:r>
              <a:rPr lang="en-GB" sz="1200" b="1" dirty="0">
                <a:solidFill>
                  <a:schemeClr val="accent2"/>
                </a:solidFill>
                <a:latin typeface="Epilogue"/>
              </a:rPr>
              <a:t>How do we measure power?</a:t>
            </a:r>
          </a:p>
          <a:p>
            <a:pPr marL="144000" indent="0"/>
            <a:r>
              <a:rPr lang="en-GB" sz="1200" dirty="0"/>
              <a:t>Wind turbines generate electricity, and we need a way to measure how much power they produce. Normally, power is measured in units like watts (W). However, in some cases, we can use voltage to estimate power.</a:t>
            </a:r>
          </a:p>
          <a:p>
            <a:pPr indent="0">
              <a:lnSpc>
                <a:spcPct val="114999"/>
              </a:lnSpc>
            </a:pPr>
            <a:endParaRPr lang="en-GB" sz="1200" noProof="0" dirty="0"/>
          </a:p>
          <a:p>
            <a:pPr>
              <a:buSzPts val="1800"/>
            </a:pPr>
            <a:r>
              <a:rPr lang="en-GB" sz="1200" b="1" dirty="0">
                <a:solidFill>
                  <a:schemeClr val="accent2"/>
                </a:solidFill>
                <a:latin typeface="Epilogue"/>
              </a:rPr>
              <a:t>What is voltage?</a:t>
            </a:r>
          </a:p>
          <a:p>
            <a:pPr marL="144000" indent="0"/>
            <a:r>
              <a:rPr lang="en-GB" sz="1200" dirty="0"/>
              <a:t>Voltage is like the "pressure" in an electrical circuit. It tells us how strongly the electricity is being pushed through wires.</a:t>
            </a:r>
          </a:p>
          <a:p>
            <a:pPr>
              <a:lnSpc>
                <a:spcPct val="114999"/>
              </a:lnSpc>
              <a:buFont typeface="Arial" panose="020B0604020202020204" pitchFamily="34" charset="0"/>
              <a:buChar char="•"/>
            </a:pPr>
            <a:r>
              <a:rPr lang="en-GB" sz="1200" dirty="0"/>
              <a:t>Higher voltage means more electrical energy is moving.</a:t>
            </a:r>
          </a:p>
          <a:p>
            <a:pPr>
              <a:lnSpc>
                <a:spcPct val="114999"/>
              </a:lnSpc>
              <a:buFont typeface="Arial" panose="020B0604020202020204" pitchFamily="34" charset="0"/>
              <a:buChar char="•"/>
            </a:pPr>
            <a:r>
              <a:rPr lang="en-GB" sz="1200" dirty="0"/>
              <a:t>Lower voltage means less energy is being transferred.</a:t>
            </a:r>
          </a:p>
          <a:p>
            <a:pPr marL="0" indent="0">
              <a:lnSpc>
                <a:spcPct val="114999"/>
              </a:lnSpc>
            </a:pPr>
            <a:endParaRPr lang="en-GB" sz="1200" noProof="0" dirty="0"/>
          </a:p>
          <a:p>
            <a:pPr>
              <a:buSzPts val="1800"/>
            </a:pPr>
            <a:r>
              <a:rPr lang="en-GB" sz="1200" b="1" dirty="0">
                <a:solidFill>
                  <a:schemeClr val="accent2"/>
                </a:solidFill>
                <a:latin typeface="Epilogue"/>
              </a:rPr>
              <a:t>Why is voltage a good proxy for power?</a:t>
            </a:r>
          </a:p>
          <a:p>
            <a:pPr>
              <a:lnSpc>
                <a:spcPct val="114999"/>
              </a:lnSpc>
              <a:buFont typeface="Arial" panose="020B0604020202020204" pitchFamily="34" charset="0"/>
              <a:buChar char="•"/>
            </a:pPr>
            <a:r>
              <a:rPr lang="en-GB" sz="1200" dirty="0"/>
              <a:t>Voltage and power are closely related in wind turbines.</a:t>
            </a:r>
          </a:p>
          <a:p>
            <a:pPr>
              <a:lnSpc>
                <a:spcPct val="114999"/>
              </a:lnSpc>
              <a:buFont typeface="Arial" panose="020B0604020202020204" pitchFamily="34" charset="0"/>
              <a:buChar char="•"/>
            </a:pPr>
            <a:r>
              <a:rPr lang="en-GB" sz="1200" dirty="0"/>
              <a:t>When the wind turbine produces more power, the voltage often increases.</a:t>
            </a:r>
          </a:p>
          <a:p>
            <a:pPr>
              <a:lnSpc>
                <a:spcPct val="114999"/>
              </a:lnSpc>
              <a:buFont typeface="Arial" panose="020B0604020202020204" pitchFamily="34" charset="0"/>
              <a:buChar char="•"/>
            </a:pPr>
            <a:r>
              <a:rPr lang="en-GB" sz="1200" dirty="0"/>
              <a:t>You can think of it like water flowing in a pipe: higher water pressure (voltage) means more water (power) flows.</a:t>
            </a:r>
          </a:p>
          <a:p>
            <a:pPr marL="0" indent="0">
              <a:lnSpc>
                <a:spcPct val="114999"/>
              </a:lnSpc>
            </a:pPr>
            <a:endParaRPr lang="en-GB" sz="1200" noProof="0" dirty="0"/>
          </a:p>
          <a:p>
            <a:pPr>
              <a:buSzPts val="1800"/>
            </a:pPr>
            <a:r>
              <a:rPr lang="en-GB" sz="1200" b="1" dirty="0">
                <a:solidFill>
                  <a:schemeClr val="accent2"/>
                </a:solidFill>
                <a:latin typeface="Epilogue"/>
              </a:rPr>
              <a:t>In summary</a:t>
            </a:r>
          </a:p>
          <a:p>
            <a:pPr marL="144000" indent="0"/>
            <a:r>
              <a:rPr lang="en-GB" sz="1200" dirty="0"/>
              <a:t>Voltage is a helpful way to measure the power output of wind turbines because it directly reflects how much electrical energy is being produced at any moment.</a:t>
            </a:r>
          </a:p>
          <a:p>
            <a:pPr marL="114300" indent="25400">
              <a:lnSpc>
                <a:spcPct val="114999"/>
              </a:lnSpc>
            </a:pPr>
            <a:endParaRPr lang="en-GB" sz="1200" b="1" noProof="0" dirty="0"/>
          </a:p>
          <a:p>
            <a:endParaRPr lang="en-GB" sz="1200" noProof="0" dirty="0"/>
          </a:p>
        </p:txBody>
      </p:sp>
    </p:spTree>
    <p:extLst>
      <p:ext uri="{BB962C8B-B14F-4D97-AF65-F5344CB8AC3E}">
        <p14:creationId xmlns:p14="http://schemas.microsoft.com/office/powerpoint/2010/main" val="6569489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a:xfrm>
            <a:off x="742719" y="1277938"/>
            <a:ext cx="6369175" cy="1190474"/>
          </a:xfrm>
        </p:spPr>
        <p:txBody>
          <a:bodyPr/>
          <a:lstStyle/>
          <a:p>
            <a:r>
              <a:rPr lang="en-GB" noProof="0" dirty="0"/>
              <a:t>2. How to use a </a:t>
            </a:r>
            <a:r>
              <a:rPr lang="en-GB" noProof="0" dirty="0" err="1"/>
              <a:t>multimeter</a:t>
            </a:r>
            <a:endParaRPr lang="en-GB" noProof="0" dirty="0"/>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en-GB" noProof="0" smtClean="0"/>
              <a:t>39</a:t>
            </a:fld>
            <a:endParaRPr lang="en-GB" noProof="0"/>
          </a:p>
        </p:txBody>
      </p:sp>
      <p:grpSp>
        <p:nvGrpSpPr>
          <p:cNvPr id="4" name="Google Shape;736;p43">
            <a:extLst>
              <a:ext uri="{FF2B5EF4-FFF2-40B4-BE49-F238E27FC236}">
                <a16:creationId xmlns:a16="http://schemas.microsoft.com/office/drawing/2014/main" id="{B5C85380-1F79-1428-7E8B-6D4110420C15}"/>
              </a:ext>
            </a:extLst>
          </p:cNvPr>
          <p:cNvGrpSpPr/>
          <p:nvPr/>
        </p:nvGrpSpPr>
        <p:grpSpPr>
          <a:xfrm>
            <a:off x="719138" y="1973256"/>
            <a:ext cx="681823" cy="1083533"/>
            <a:chOff x="0" y="0"/>
            <a:chExt cx="789840" cy="1378440"/>
          </a:xfrm>
        </p:grpSpPr>
        <p:sp>
          <p:nvSpPr>
            <p:cNvPr id="5" name="Google Shape;737;p43">
              <a:extLst>
                <a:ext uri="{FF2B5EF4-FFF2-40B4-BE49-F238E27FC236}">
                  <a16:creationId xmlns:a16="http://schemas.microsoft.com/office/drawing/2014/main" id="{8B6CDC97-FD2E-E75A-FA82-08311065DAC7}"/>
                </a:ext>
              </a:extLst>
            </p:cNvPr>
            <p:cNvSpPr/>
            <p:nvPr/>
          </p:nvSpPr>
          <p:spPr>
            <a:xfrm>
              <a:off x="0" y="0"/>
              <a:ext cx="789840" cy="1106280"/>
            </a:xfrm>
            <a:custGeom>
              <a:avLst/>
              <a:gdLst/>
              <a:ahLst/>
              <a:cxnLst/>
              <a:rect l="l" t="t" r="r" b="b"/>
              <a:pathLst>
                <a:path w="2194" h="3073" extrusionOk="0">
                  <a:moveTo>
                    <a:pt x="263" y="1838"/>
                  </a:moveTo>
                  <a:lnTo>
                    <a:pt x="263" y="1838"/>
                  </a:lnTo>
                  <a:cubicBezTo>
                    <a:pt x="109" y="1653"/>
                    <a:pt x="0" y="1406"/>
                    <a:pt x="0" y="1128"/>
                  </a:cubicBezTo>
                  <a:cubicBezTo>
                    <a:pt x="0" y="525"/>
                    <a:pt x="465" y="46"/>
                    <a:pt x="1051" y="0"/>
                  </a:cubicBezTo>
                  <a:cubicBezTo>
                    <a:pt x="1144" y="0"/>
                    <a:pt x="1144" y="0"/>
                    <a:pt x="1144" y="0"/>
                  </a:cubicBezTo>
                  <a:cubicBezTo>
                    <a:pt x="1731" y="46"/>
                    <a:pt x="2194" y="525"/>
                    <a:pt x="2194" y="1128"/>
                  </a:cubicBezTo>
                  <a:cubicBezTo>
                    <a:pt x="2194" y="1406"/>
                    <a:pt x="2086" y="1653"/>
                    <a:pt x="1931" y="1838"/>
                  </a:cubicBezTo>
                  <a:lnTo>
                    <a:pt x="1931" y="1838"/>
                  </a:lnTo>
                  <a:cubicBezTo>
                    <a:pt x="1931" y="1838"/>
                    <a:pt x="1654" y="2563"/>
                    <a:pt x="1700" y="2857"/>
                  </a:cubicBezTo>
                  <a:cubicBezTo>
                    <a:pt x="1715" y="2873"/>
                    <a:pt x="1731" y="2902"/>
                    <a:pt x="1731" y="2919"/>
                  </a:cubicBezTo>
                  <a:cubicBezTo>
                    <a:pt x="1731" y="2950"/>
                    <a:pt x="1731" y="2950"/>
                    <a:pt x="1731" y="2950"/>
                  </a:cubicBezTo>
                  <a:cubicBezTo>
                    <a:pt x="1731" y="3027"/>
                    <a:pt x="1669" y="3073"/>
                    <a:pt x="1592" y="3073"/>
                  </a:cubicBezTo>
                  <a:cubicBezTo>
                    <a:pt x="1098" y="3073"/>
                    <a:pt x="1098" y="3073"/>
                    <a:pt x="1098" y="3073"/>
                  </a:cubicBezTo>
                  <a:lnTo>
                    <a:pt x="1098" y="3073"/>
                  </a:lnTo>
                  <a:cubicBezTo>
                    <a:pt x="603" y="3073"/>
                    <a:pt x="603" y="3073"/>
                    <a:pt x="603" y="3073"/>
                  </a:cubicBezTo>
                  <a:cubicBezTo>
                    <a:pt x="525" y="3073"/>
                    <a:pt x="465" y="3027"/>
                    <a:pt x="465" y="2950"/>
                  </a:cubicBezTo>
                  <a:cubicBezTo>
                    <a:pt x="465" y="2919"/>
                    <a:pt x="465" y="2919"/>
                    <a:pt x="465" y="2919"/>
                  </a:cubicBezTo>
                  <a:cubicBezTo>
                    <a:pt x="465" y="2902"/>
                    <a:pt x="480" y="2873"/>
                    <a:pt x="494" y="2857"/>
                  </a:cubicBezTo>
                  <a:cubicBezTo>
                    <a:pt x="542" y="2563"/>
                    <a:pt x="263" y="1838"/>
                    <a:pt x="263" y="1838"/>
                  </a:cubicBezTo>
                  <a:close/>
                </a:path>
              </a:pathLst>
            </a:custGeom>
            <a:solidFill>
              <a:srgbClr val="CEA634"/>
            </a:solidFill>
            <a:ln>
              <a:noFill/>
            </a:ln>
          </p:spPr>
          <p:txBody>
            <a:bodyPr spcFirstLastPara="1" wrap="square" lIns="90000" tIns="45000" rIns="90000" bIns="45000" anchor="ctr" anchorCtr="1">
              <a:noAutofit/>
            </a:bodyPr>
            <a:lstStyle/>
            <a:p>
              <a:endParaRPr lang="en-GB" noProof="0"/>
            </a:p>
          </p:txBody>
        </p:sp>
        <p:sp>
          <p:nvSpPr>
            <p:cNvPr id="6" name="Google Shape;738;p43">
              <a:extLst>
                <a:ext uri="{FF2B5EF4-FFF2-40B4-BE49-F238E27FC236}">
                  <a16:creationId xmlns:a16="http://schemas.microsoft.com/office/drawing/2014/main" id="{445B668E-D3C7-55FD-92C0-6ED22761E9FE}"/>
                </a:ext>
              </a:extLst>
            </p:cNvPr>
            <p:cNvSpPr/>
            <p:nvPr/>
          </p:nvSpPr>
          <p:spPr>
            <a:xfrm>
              <a:off x="306000" y="705960"/>
              <a:ext cx="177840" cy="433800"/>
            </a:xfrm>
            <a:custGeom>
              <a:avLst/>
              <a:gdLst/>
              <a:ahLst/>
              <a:cxnLst/>
              <a:rect l="l" t="t" r="r" b="b"/>
              <a:pathLst>
                <a:path w="494" h="1205" extrusionOk="0">
                  <a:moveTo>
                    <a:pt x="494" y="958"/>
                  </a:moveTo>
                  <a:lnTo>
                    <a:pt x="494" y="958"/>
                  </a:lnTo>
                  <a:cubicBezTo>
                    <a:pt x="494" y="1097"/>
                    <a:pt x="386" y="1205"/>
                    <a:pt x="248" y="1205"/>
                  </a:cubicBezTo>
                  <a:lnTo>
                    <a:pt x="248" y="1205"/>
                  </a:lnTo>
                  <a:cubicBezTo>
                    <a:pt x="109" y="1205"/>
                    <a:pt x="0" y="1097"/>
                    <a:pt x="0" y="958"/>
                  </a:cubicBezTo>
                  <a:cubicBezTo>
                    <a:pt x="0" y="247"/>
                    <a:pt x="0" y="247"/>
                    <a:pt x="0" y="247"/>
                  </a:cubicBezTo>
                  <a:cubicBezTo>
                    <a:pt x="0" y="108"/>
                    <a:pt x="109" y="0"/>
                    <a:pt x="248" y="0"/>
                  </a:cubicBezTo>
                  <a:lnTo>
                    <a:pt x="248" y="0"/>
                  </a:lnTo>
                  <a:cubicBezTo>
                    <a:pt x="386" y="0"/>
                    <a:pt x="494" y="108"/>
                    <a:pt x="494" y="247"/>
                  </a:cubicBezTo>
                  <a:lnTo>
                    <a:pt x="494" y="958"/>
                  </a:lnTo>
                  <a:close/>
                </a:path>
              </a:pathLst>
            </a:custGeom>
            <a:solidFill>
              <a:srgbClr val="F5F3EF"/>
            </a:solidFill>
            <a:ln>
              <a:noFill/>
            </a:ln>
          </p:spPr>
          <p:txBody>
            <a:bodyPr spcFirstLastPara="1" wrap="square" lIns="90000" tIns="45000" rIns="90000" bIns="45000" anchor="ctr" anchorCtr="1">
              <a:noAutofit/>
            </a:bodyPr>
            <a:lstStyle/>
            <a:p>
              <a:endParaRPr lang="en-GB" noProof="0"/>
            </a:p>
          </p:txBody>
        </p:sp>
        <p:sp>
          <p:nvSpPr>
            <p:cNvPr id="8" name="Google Shape;739;p43">
              <a:extLst>
                <a:ext uri="{FF2B5EF4-FFF2-40B4-BE49-F238E27FC236}">
                  <a16:creationId xmlns:a16="http://schemas.microsoft.com/office/drawing/2014/main" id="{3A987905-292E-A4F9-2E07-B4E9F0025B5D}"/>
                </a:ext>
              </a:extLst>
            </p:cNvPr>
            <p:cNvSpPr/>
            <p:nvPr/>
          </p:nvSpPr>
          <p:spPr>
            <a:xfrm>
              <a:off x="255960" y="1311840"/>
              <a:ext cx="278280" cy="66600"/>
            </a:xfrm>
            <a:custGeom>
              <a:avLst/>
              <a:gdLst/>
              <a:ahLst/>
              <a:cxnLst/>
              <a:rect l="l" t="t" r="r" b="b"/>
              <a:pathLst>
                <a:path w="773" h="185" extrusionOk="0">
                  <a:moveTo>
                    <a:pt x="0" y="93"/>
                  </a:moveTo>
                  <a:lnTo>
                    <a:pt x="0" y="93"/>
                  </a:lnTo>
                  <a:cubicBezTo>
                    <a:pt x="0" y="139"/>
                    <a:pt x="170" y="185"/>
                    <a:pt x="387" y="185"/>
                  </a:cubicBezTo>
                  <a:cubicBezTo>
                    <a:pt x="604" y="185"/>
                    <a:pt x="773" y="139"/>
                    <a:pt x="773" y="93"/>
                  </a:cubicBezTo>
                  <a:cubicBezTo>
                    <a:pt x="773" y="47"/>
                    <a:pt x="604" y="0"/>
                    <a:pt x="387" y="0"/>
                  </a:cubicBezTo>
                  <a:cubicBezTo>
                    <a:pt x="170" y="0"/>
                    <a:pt x="0" y="47"/>
                    <a:pt x="0" y="93"/>
                  </a:cubicBezTo>
                  <a:close/>
                </a:path>
              </a:pathLst>
            </a:custGeom>
            <a:solidFill>
              <a:srgbClr val="333333"/>
            </a:solidFill>
            <a:ln>
              <a:noFill/>
            </a:ln>
          </p:spPr>
          <p:txBody>
            <a:bodyPr spcFirstLastPara="1" wrap="square" lIns="90000" tIns="21600" rIns="90000" bIns="21600" anchor="ctr" anchorCtr="1">
              <a:noAutofit/>
            </a:bodyPr>
            <a:lstStyle/>
            <a:p>
              <a:endParaRPr lang="en-GB" noProof="0"/>
            </a:p>
          </p:txBody>
        </p:sp>
        <p:sp>
          <p:nvSpPr>
            <p:cNvPr id="9" name="Google Shape;740;p43">
              <a:extLst>
                <a:ext uri="{FF2B5EF4-FFF2-40B4-BE49-F238E27FC236}">
                  <a16:creationId xmlns:a16="http://schemas.microsoft.com/office/drawing/2014/main" id="{D89EDD80-F857-6FEB-FBF2-91AA507EF78B}"/>
                </a:ext>
              </a:extLst>
            </p:cNvPr>
            <p:cNvSpPr/>
            <p:nvPr/>
          </p:nvSpPr>
          <p:spPr>
            <a:xfrm>
              <a:off x="183960" y="1100880"/>
              <a:ext cx="422640" cy="77400"/>
            </a:xfrm>
            <a:custGeom>
              <a:avLst/>
              <a:gdLst/>
              <a:ahLst/>
              <a:cxnLst/>
              <a:rect l="l" t="t" r="r" b="b"/>
              <a:pathLst>
                <a:path w="1174" h="215" extrusionOk="0">
                  <a:moveTo>
                    <a:pt x="1174" y="108"/>
                  </a:moveTo>
                  <a:lnTo>
                    <a:pt x="1174" y="108"/>
                  </a:lnTo>
                  <a:cubicBezTo>
                    <a:pt x="1174" y="169"/>
                    <a:pt x="1127" y="215"/>
                    <a:pt x="1081" y="215"/>
                  </a:cubicBezTo>
                  <a:cubicBezTo>
                    <a:pt x="92" y="215"/>
                    <a:pt x="92" y="215"/>
                    <a:pt x="92" y="215"/>
                  </a:cubicBezTo>
                  <a:cubicBezTo>
                    <a:pt x="46" y="215"/>
                    <a:pt x="0" y="169"/>
                    <a:pt x="0" y="108"/>
                  </a:cubicBezTo>
                  <a:cubicBezTo>
                    <a:pt x="0" y="92"/>
                    <a:pt x="0" y="92"/>
                    <a:pt x="0" y="77"/>
                  </a:cubicBezTo>
                  <a:cubicBezTo>
                    <a:pt x="14" y="30"/>
                    <a:pt x="46" y="0"/>
                    <a:pt x="92" y="0"/>
                  </a:cubicBezTo>
                  <a:cubicBezTo>
                    <a:pt x="1081" y="0"/>
                    <a:pt x="1081" y="0"/>
                    <a:pt x="1081" y="0"/>
                  </a:cubicBezTo>
                  <a:cubicBezTo>
                    <a:pt x="1096" y="0"/>
                    <a:pt x="1127" y="15"/>
                    <a:pt x="1143" y="30"/>
                  </a:cubicBezTo>
                  <a:cubicBezTo>
                    <a:pt x="1158" y="46"/>
                    <a:pt x="1174" y="61"/>
                    <a:pt x="1174" y="77"/>
                  </a:cubicBezTo>
                  <a:cubicBezTo>
                    <a:pt x="1174" y="92"/>
                    <a:pt x="1174" y="92"/>
                    <a:pt x="1174" y="108"/>
                  </a:cubicBezTo>
                  <a:close/>
                </a:path>
              </a:pathLst>
            </a:custGeom>
            <a:solidFill>
              <a:srgbClr val="BDC1C5"/>
            </a:solidFill>
            <a:ln>
              <a:noFill/>
            </a:ln>
          </p:spPr>
          <p:txBody>
            <a:bodyPr spcFirstLastPara="1" wrap="square" lIns="90000" tIns="32400" rIns="90000" bIns="32400" anchor="ctr" anchorCtr="1">
              <a:noAutofit/>
            </a:bodyPr>
            <a:lstStyle/>
            <a:p>
              <a:endParaRPr lang="en-GB" noProof="0"/>
            </a:p>
          </p:txBody>
        </p:sp>
        <p:sp>
          <p:nvSpPr>
            <p:cNvPr id="10" name="Google Shape;741;p43">
              <a:extLst>
                <a:ext uri="{FF2B5EF4-FFF2-40B4-BE49-F238E27FC236}">
                  <a16:creationId xmlns:a16="http://schemas.microsoft.com/office/drawing/2014/main" id="{AD8FEF17-C7F3-860B-9468-44B1B3E50F00}"/>
                </a:ext>
              </a:extLst>
            </p:cNvPr>
            <p:cNvSpPr/>
            <p:nvPr/>
          </p:nvSpPr>
          <p:spPr>
            <a:xfrm>
              <a:off x="183960" y="1178280"/>
              <a:ext cx="422640" cy="78120"/>
            </a:xfrm>
            <a:custGeom>
              <a:avLst/>
              <a:gdLst/>
              <a:ahLst/>
              <a:cxnLst/>
              <a:rect l="l" t="t" r="r" b="b"/>
              <a:pathLst>
                <a:path w="1174" h="217" extrusionOk="0">
                  <a:moveTo>
                    <a:pt x="1174" y="108"/>
                  </a:moveTo>
                  <a:lnTo>
                    <a:pt x="1174" y="108"/>
                  </a:lnTo>
                  <a:cubicBezTo>
                    <a:pt x="1174" y="171"/>
                    <a:pt x="1127" y="217"/>
                    <a:pt x="1081" y="217"/>
                  </a:cubicBezTo>
                  <a:cubicBezTo>
                    <a:pt x="92" y="217"/>
                    <a:pt x="92" y="217"/>
                    <a:pt x="92" y="217"/>
                  </a:cubicBezTo>
                  <a:cubicBezTo>
                    <a:pt x="46" y="217"/>
                    <a:pt x="0" y="171"/>
                    <a:pt x="0" y="108"/>
                  </a:cubicBezTo>
                  <a:cubicBezTo>
                    <a:pt x="0" y="94"/>
                    <a:pt x="0" y="94"/>
                    <a:pt x="0" y="79"/>
                  </a:cubicBezTo>
                  <a:cubicBezTo>
                    <a:pt x="14" y="31"/>
                    <a:pt x="46" y="0"/>
                    <a:pt x="92" y="0"/>
                  </a:cubicBezTo>
                  <a:cubicBezTo>
                    <a:pt x="1081" y="0"/>
                    <a:pt x="1081" y="0"/>
                    <a:pt x="1081" y="0"/>
                  </a:cubicBezTo>
                  <a:cubicBezTo>
                    <a:pt x="1096" y="0"/>
                    <a:pt x="1127" y="17"/>
                    <a:pt x="1143" y="31"/>
                  </a:cubicBezTo>
                  <a:cubicBezTo>
                    <a:pt x="1158" y="48"/>
                    <a:pt x="1174" y="63"/>
                    <a:pt x="1174" y="79"/>
                  </a:cubicBezTo>
                  <a:cubicBezTo>
                    <a:pt x="1174" y="94"/>
                    <a:pt x="1174" y="94"/>
                    <a:pt x="1174" y="108"/>
                  </a:cubicBezTo>
                  <a:close/>
                </a:path>
              </a:pathLst>
            </a:custGeom>
            <a:solidFill>
              <a:srgbClr val="BDC1C5"/>
            </a:solidFill>
            <a:ln>
              <a:noFill/>
            </a:ln>
          </p:spPr>
          <p:txBody>
            <a:bodyPr spcFirstLastPara="1" wrap="square" lIns="90000" tIns="33100" rIns="90000" bIns="33100" anchor="ctr" anchorCtr="1">
              <a:noAutofit/>
            </a:bodyPr>
            <a:lstStyle/>
            <a:p>
              <a:endParaRPr lang="en-GB" noProof="0"/>
            </a:p>
          </p:txBody>
        </p:sp>
        <p:sp>
          <p:nvSpPr>
            <p:cNvPr id="11" name="Google Shape;742;p43">
              <a:extLst>
                <a:ext uri="{FF2B5EF4-FFF2-40B4-BE49-F238E27FC236}">
                  <a16:creationId xmlns:a16="http://schemas.microsoft.com/office/drawing/2014/main" id="{30B04ABB-B78A-D7D6-01DA-075101690E90}"/>
                </a:ext>
              </a:extLst>
            </p:cNvPr>
            <p:cNvSpPr/>
            <p:nvPr/>
          </p:nvSpPr>
          <p:spPr>
            <a:xfrm>
              <a:off x="183960" y="1256400"/>
              <a:ext cx="422640" cy="77760"/>
            </a:xfrm>
            <a:custGeom>
              <a:avLst/>
              <a:gdLst/>
              <a:ahLst/>
              <a:cxnLst/>
              <a:rect l="l" t="t" r="r" b="b"/>
              <a:pathLst>
                <a:path w="1174" h="216" extrusionOk="0">
                  <a:moveTo>
                    <a:pt x="1174" y="108"/>
                  </a:moveTo>
                  <a:lnTo>
                    <a:pt x="1174" y="108"/>
                  </a:lnTo>
                  <a:cubicBezTo>
                    <a:pt x="1174" y="170"/>
                    <a:pt x="1127" y="216"/>
                    <a:pt x="1081" y="216"/>
                  </a:cubicBezTo>
                  <a:cubicBezTo>
                    <a:pt x="92" y="216"/>
                    <a:pt x="92" y="216"/>
                    <a:pt x="92" y="216"/>
                  </a:cubicBezTo>
                  <a:cubicBezTo>
                    <a:pt x="46" y="216"/>
                    <a:pt x="0" y="170"/>
                    <a:pt x="0" y="108"/>
                  </a:cubicBezTo>
                  <a:cubicBezTo>
                    <a:pt x="0" y="93"/>
                    <a:pt x="0" y="93"/>
                    <a:pt x="0" y="77"/>
                  </a:cubicBezTo>
                  <a:cubicBezTo>
                    <a:pt x="14" y="31"/>
                    <a:pt x="46" y="0"/>
                    <a:pt x="92" y="0"/>
                  </a:cubicBezTo>
                  <a:cubicBezTo>
                    <a:pt x="1081" y="0"/>
                    <a:pt x="1081" y="0"/>
                    <a:pt x="1081" y="0"/>
                  </a:cubicBezTo>
                  <a:cubicBezTo>
                    <a:pt x="1096" y="0"/>
                    <a:pt x="1127" y="16"/>
                    <a:pt x="1143" y="31"/>
                  </a:cubicBezTo>
                  <a:cubicBezTo>
                    <a:pt x="1158" y="47"/>
                    <a:pt x="1174" y="62"/>
                    <a:pt x="1174" y="77"/>
                  </a:cubicBezTo>
                  <a:cubicBezTo>
                    <a:pt x="1174" y="93"/>
                    <a:pt x="1174" y="93"/>
                    <a:pt x="1174" y="108"/>
                  </a:cubicBezTo>
                  <a:close/>
                </a:path>
              </a:pathLst>
            </a:custGeom>
            <a:solidFill>
              <a:srgbClr val="BDC1C5"/>
            </a:solidFill>
            <a:ln>
              <a:noFill/>
            </a:ln>
          </p:spPr>
          <p:txBody>
            <a:bodyPr spcFirstLastPara="1" wrap="square" lIns="90000" tIns="32750" rIns="90000" bIns="32750" anchor="ctr" anchorCtr="1">
              <a:noAutofit/>
            </a:bodyPr>
            <a:lstStyle/>
            <a:p>
              <a:endParaRPr lang="en-GB" noProof="0"/>
            </a:p>
          </p:txBody>
        </p:sp>
        <p:sp>
          <p:nvSpPr>
            <p:cNvPr id="12" name="Google Shape;743;p43">
              <a:extLst>
                <a:ext uri="{FF2B5EF4-FFF2-40B4-BE49-F238E27FC236}">
                  <a16:creationId xmlns:a16="http://schemas.microsoft.com/office/drawing/2014/main" id="{11FB9F20-E237-063A-5F99-AE758BBF744D}"/>
                </a:ext>
              </a:extLst>
            </p:cNvPr>
            <p:cNvSpPr/>
            <p:nvPr/>
          </p:nvSpPr>
          <p:spPr>
            <a:xfrm>
              <a:off x="122400" y="333720"/>
              <a:ext cx="545040" cy="767160"/>
            </a:xfrm>
            <a:custGeom>
              <a:avLst/>
              <a:gdLst/>
              <a:ahLst/>
              <a:cxnLst/>
              <a:rect l="l" t="t" r="r" b="b"/>
              <a:pathLst>
                <a:path w="1514" h="2131" extrusionOk="0">
                  <a:moveTo>
                    <a:pt x="1020" y="2131"/>
                  </a:moveTo>
                  <a:lnTo>
                    <a:pt x="1020" y="2131"/>
                  </a:lnTo>
                  <a:cubicBezTo>
                    <a:pt x="958" y="2131"/>
                    <a:pt x="958" y="2131"/>
                    <a:pt x="958" y="2131"/>
                  </a:cubicBezTo>
                  <a:cubicBezTo>
                    <a:pt x="975" y="1157"/>
                    <a:pt x="975" y="1157"/>
                    <a:pt x="975" y="1157"/>
                  </a:cubicBezTo>
                  <a:cubicBezTo>
                    <a:pt x="1345" y="279"/>
                    <a:pt x="1345" y="279"/>
                    <a:pt x="1345" y="279"/>
                  </a:cubicBezTo>
                  <a:cubicBezTo>
                    <a:pt x="1206" y="279"/>
                    <a:pt x="989" y="231"/>
                    <a:pt x="943" y="185"/>
                  </a:cubicBezTo>
                  <a:cubicBezTo>
                    <a:pt x="927" y="170"/>
                    <a:pt x="912" y="154"/>
                    <a:pt x="912" y="139"/>
                  </a:cubicBezTo>
                  <a:cubicBezTo>
                    <a:pt x="866" y="154"/>
                    <a:pt x="804" y="154"/>
                    <a:pt x="773" y="154"/>
                  </a:cubicBezTo>
                  <a:cubicBezTo>
                    <a:pt x="727" y="154"/>
                    <a:pt x="665" y="154"/>
                    <a:pt x="604" y="139"/>
                  </a:cubicBezTo>
                  <a:cubicBezTo>
                    <a:pt x="604" y="154"/>
                    <a:pt x="587" y="170"/>
                    <a:pt x="573" y="185"/>
                  </a:cubicBezTo>
                  <a:cubicBezTo>
                    <a:pt x="525" y="231"/>
                    <a:pt x="310" y="279"/>
                    <a:pt x="171" y="279"/>
                  </a:cubicBezTo>
                  <a:cubicBezTo>
                    <a:pt x="556" y="1157"/>
                    <a:pt x="556" y="1157"/>
                    <a:pt x="556" y="1157"/>
                  </a:cubicBezTo>
                  <a:cubicBezTo>
                    <a:pt x="556" y="2131"/>
                    <a:pt x="556" y="2131"/>
                    <a:pt x="556" y="2131"/>
                  </a:cubicBezTo>
                  <a:cubicBezTo>
                    <a:pt x="495" y="2131"/>
                    <a:pt x="495" y="2131"/>
                    <a:pt x="495" y="2131"/>
                  </a:cubicBezTo>
                  <a:cubicBezTo>
                    <a:pt x="495" y="1173"/>
                    <a:pt x="495" y="1173"/>
                    <a:pt x="495" y="1173"/>
                  </a:cubicBezTo>
                  <a:cubicBezTo>
                    <a:pt x="108" y="279"/>
                    <a:pt x="108" y="279"/>
                    <a:pt x="108" y="279"/>
                  </a:cubicBezTo>
                  <a:cubicBezTo>
                    <a:pt x="77" y="279"/>
                    <a:pt x="62" y="262"/>
                    <a:pt x="48" y="262"/>
                  </a:cubicBezTo>
                  <a:cubicBezTo>
                    <a:pt x="16" y="247"/>
                    <a:pt x="0" y="216"/>
                    <a:pt x="0" y="201"/>
                  </a:cubicBezTo>
                  <a:cubicBezTo>
                    <a:pt x="16" y="185"/>
                    <a:pt x="16" y="139"/>
                    <a:pt x="48" y="139"/>
                  </a:cubicBezTo>
                  <a:cubicBezTo>
                    <a:pt x="77" y="123"/>
                    <a:pt x="108" y="170"/>
                    <a:pt x="125" y="185"/>
                  </a:cubicBezTo>
                  <a:cubicBezTo>
                    <a:pt x="140" y="231"/>
                    <a:pt x="140" y="231"/>
                    <a:pt x="140" y="231"/>
                  </a:cubicBezTo>
                  <a:cubicBezTo>
                    <a:pt x="279" y="231"/>
                    <a:pt x="495" y="185"/>
                    <a:pt x="541" y="139"/>
                  </a:cubicBezTo>
                  <a:lnTo>
                    <a:pt x="556" y="123"/>
                  </a:lnTo>
                  <a:cubicBezTo>
                    <a:pt x="525" y="108"/>
                    <a:pt x="495" y="93"/>
                    <a:pt x="495" y="77"/>
                  </a:cubicBezTo>
                  <a:cubicBezTo>
                    <a:pt x="479" y="62"/>
                    <a:pt x="495" y="46"/>
                    <a:pt x="510" y="31"/>
                  </a:cubicBezTo>
                  <a:cubicBezTo>
                    <a:pt x="525" y="0"/>
                    <a:pt x="556" y="0"/>
                    <a:pt x="573" y="0"/>
                  </a:cubicBezTo>
                  <a:cubicBezTo>
                    <a:pt x="604" y="0"/>
                    <a:pt x="619" y="31"/>
                    <a:pt x="619" y="62"/>
                  </a:cubicBezTo>
                  <a:cubicBezTo>
                    <a:pt x="619" y="62"/>
                    <a:pt x="619" y="77"/>
                    <a:pt x="619" y="93"/>
                  </a:cubicBezTo>
                  <a:cubicBezTo>
                    <a:pt x="665" y="93"/>
                    <a:pt x="711" y="108"/>
                    <a:pt x="773" y="108"/>
                  </a:cubicBezTo>
                  <a:cubicBezTo>
                    <a:pt x="819" y="108"/>
                    <a:pt x="850" y="93"/>
                    <a:pt x="896" y="93"/>
                  </a:cubicBezTo>
                  <a:cubicBezTo>
                    <a:pt x="896" y="77"/>
                    <a:pt x="896" y="62"/>
                    <a:pt x="896" y="62"/>
                  </a:cubicBezTo>
                  <a:cubicBezTo>
                    <a:pt x="896" y="31"/>
                    <a:pt x="912" y="0"/>
                    <a:pt x="943" y="0"/>
                  </a:cubicBezTo>
                  <a:cubicBezTo>
                    <a:pt x="958" y="0"/>
                    <a:pt x="989" y="0"/>
                    <a:pt x="1004" y="31"/>
                  </a:cubicBezTo>
                  <a:cubicBezTo>
                    <a:pt x="1035" y="46"/>
                    <a:pt x="1020" y="62"/>
                    <a:pt x="1020" y="77"/>
                  </a:cubicBezTo>
                  <a:cubicBezTo>
                    <a:pt x="1020" y="93"/>
                    <a:pt x="989" y="108"/>
                    <a:pt x="958" y="123"/>
                  </a:cubicBezTo>
                  <a:lnTo>
                    <a:pt x="975" y="139"/>
                  </a:lnTo>
                  <a:cubicBezTo>
                    <a:pt x="1020" y="185"/>
                    <a:pt x="1237" y="231"/>
                    <a:pt x="1375" y="231"/>
                  </a:cubicBezTo>
                  <a:cubicBezTo>
                    <a:pt x="1391" y="185"/>
                    <a:pt x="1391" y="185"/>
                    <a:pt x="1391" y="185"/>
                  </a:cubicBezTo>
                  <a:cubicBezTo>
                    <a:pt x="1406" y="170"/>
                    <a:pt x="1437" y="123"/>
                    <a:pt x="1468" y="139"/>
                  </a:cubicBezTo>
                  <a:cubicBezTo>
                    <a:pt x="1500" y="139"/>
                    <a:pt x="1500" y="185"/>
                    <a:pt x="1514" y="201"/>
                  </a:cubicBezTo>
                  <a:cubicBezTo>
                    <a:pt x="1514" y="216"/>
                    <a:pt x="1500" y="247"/>
                    <a:pt x="1468" y="262"/>
                  </a:cubicBezTo>
                  <a:cubicBezTo>
                    <a:pt x="1452" y="262"/>
                    <a:pt x="1437" y="279"/>
                    <a:pt x="1406" y="279"/>
                  </a:cubicBezTo>
                  <a:cubicBezTo>
                    <a:pt x="1020" y="1173"/>
                    <a:pt x="1020" y="1173"/>
                    <a:pt x="1020" y="1173"/>
                  </a:cubicBezTo>
                  <a:lnTo>
                    <a:pt x="1020" y="2131"/>
                  </a:lnTo>
                  <a:moveTo>
                    <a:pt x="1452" y="185"/>
                  </a:moveTo>
                  <a:lnTo>
                    <a:pt x="1452" y="185"/>
                  </a:lnTo>
                  <a:cubicBezTo>
                    <a:pt x="1452" y="201"/>
                    <a:pt x="1437" y="201"/>
                    <a:pt x="1437" y="216"/>
                  </a:cubicBezTo>
                  <a:cubicBezTo>
                    <a:pt x="1452" y="216"/>
                    <a:pt x="1452" y="201"/>
                    <a:pt x="1452" y="201"/>
                  </a:cubicBezTo>
                  <a:lnTo>
                    <a:pt x="1452" y="185"/>
                  </a:lnTo>
                  <a:moveTo>
                    <a:pt x="62" y="185"/>
                  </a:moveTo>
                  <a:lnTo>
                    <a:pt x="62" y="185"/>
                  </a:lnTo>
                  <a:cubicBezTo>
                    <a:pt x="62" y="201"/>
                    <a:pt x="62" y="201"/>
                    <a:pt x="62" y="201"/>
                  </a:cubicBezTo>
                  <a:cubicBezTo>
                    <a:pt x="62" y="201"/>
                    <a:pt x="62" y="216"/>
                    <a:pt x="77" y="216"/>
                  </a:cubicBezTo>
                  <a:lnTo>
                    <a:pt x="77" y="216"/>
                  </a:lnTo>
                  <a:cubicBezTo>
                    <a:pt x="77" y="201"/>
                    <a:pt x="62" y="201"/>
                    <a:pt x="62" y="185"/>
                  </a:cubicBezTo>
                  <a:moveTo>
                    <a:pt x="958" y="46"/>
                  </a:moveTo>
                  <a:lnTo>
                    <a:pt x="958" y="46"/>
                  </a:lnTo>
                  <a:lnTo>
                    <a:pt x="958" y="46"/>
                  </a:lnTo>
                  <a:lnTo>
                    <a:pt x="943" y="62"/>
                  </a:lnTo>
                  <a:cubicBezTo>
                    <a:pt x="943" y="77"/>
                    <a:pt x="943" y="77"/>
                    <a:pt x="943" y="77"/>
                  </a:cubicBezTo>
                  <a:cubicBezTo>
                    <a:pt x="958" y="62"/>
                    <a:pt x="958" y="62"/>
                    <a:pt x="975" y="62"/>
                  </a:cubicBezTo>
                  <a:cubicBezTo>
                    <a:pt x="958" y="62"/>
                    <a:pt x="958" y="46"/>
                    <a:pt x="958" y="46"/>
                  </a:cubicBezTo>
                  <a:moveTo>
                    <a:pt x="541" y="62"/>
                  </a:moveTo>
                  <a:lnTo>
                    <a:pt x="541" y="62"/>
                  </a:lnTo>
                  <a:cubicBezTo>
                    <a:pt x="556" y="62"/>
                    <a:pt x="556" y="62"/>
                    <a:pt x="573" y="77"/>
                  </a:cubicBezTo>
                  <a:lnTo>
                    <a:pt x="573" y="62"/>
                  </a:lnTo>
                  <a:lnTo>
                    <a:pt x="556" y="46"/>
                  </a:lnTo>
                  <a:lnTo>
                    <a:pt x="541" y="62"/>
                  </a:lnTo>
                  <a:close/>
                </a:path>
              </a:pathLst>
            </a:custGeom>
            <a:solidFill>
              <a:srgbClr val="A15315"/>
            </a:solidFill>
            <a:ln>
              <a:noFill/>
            </a:ln>
          </p:spPr>
          <p:txBody>
            <a:bodyPr spcFirstLastPara="1" wrap="square" lIns="90000" tIns="45000" rIns="90000" bIns="45000" anchor="ctr" anchorCtr="1">
              <a:noAutofit/>
            </a:bodyPr>
            <a:lstStyle/>
            <a:p>
              <a:endParaRPr lang="en-GB" noProof="0"/>
            </a:p>
          </p:txBody>
        </p:sp>
        <p:sp>
          <p:nvSpPr>
            <p:cNvPr id="13" name="Google Shape;744;p43">
              <a:extLst>
                <a:ext uri="{FF2B5EF4-FFF2-40B4-BE49-F238E27FC236}">
                  <a16:creationId xmlns:a16="http://schemas.microsoft.com/office/drawing/2014/main" id="{0C27C940-E319-86DB-9BDB-3A018703C337}"/>
                </a:ext>
              </a:extLst>
            </p:cNvPr>
            <p:cNvSpPr/>
            <p:nvPr/>
          </p:nvSpPr>
          <p:spPr>
            <a:xfrm>
              <a:off x="333720" y="378000"/>
              <a:ext cx="50400" cy="194760"/>
            </a:xfrm>
            <a:custGeom>
              <a:avLst/>
              <a:gdLst/>
              <a:ahLst/>
              <a:cxnLst/>
              <a:rect l="l" t="t" r="r" b="b"/>
              <a:pathLst>
                <a:path w="140" h="541" extrusionOk="0">
                  <a:moveTo>
                    <a:pt x="78" y="541"/>
                  </a:moveTo>
                  <a:lnTo>
                    <a:pt x="0" y="16"/>
                  </a:lnTo>
                  <a:lnTo>
                    <a:pt x="46" y="0"/>
                  </a:lnTo>
                  <a:lnTo>
                    <a:pt x="140" y="541"/>
                  </a:lnTo>
                  <a:lnTo>
                    <a:pt x="78" y="541"/>
                  </a:lnTo>
                  <a:close/>
                </a:path>
              </a:pathLst>
            </a:custGeom>
            <a:solidFill>
              <a:srgbClr val="A15315"/>
            </a:solidFill>
            <a:ln>
              <a:noFill/>
            </a:ln>
          </p:spPr>
          <p:txBody>
            <a:bodyPr spcFirstLastPara="1" wrap="square" lIns="90000" tIns="45000" rIns="90000" bIns="45000" anchor="ctr" anchorCtr="1">
              <a:noAutofit/>
            </a:bodyPr>
            <a:lstStyle/>
            <a:p>
              <a:endParaRPr lang="en-GB" noProof="0"/>
            </a:p>
          </p:txBody>
        </p:sp>
        <p:sp>
          <p:nvSpPr>
            <p:cNvPr id="14" name="Google Shape;745;p43">
              <a:extLst>
                <a:ext uri="{FF2B5EF4-FFF2-40B4-BE49-F238E27FC236}">
                  <a16:creationId xmlns:a16="http://schemas.microsoft.com/office/drawing/2014/main" id="{67FEBB0D-D345-75CE-2467-90862F8CD441}"/>
                </a:ext>
              </a:extLst>
            </p:cNvPr>
            <p:cNvSpPr/>
            <p:nvPr/>
          </p:nvSpPr>
          <p:spPr>
            <a:xfrm>
              <a:off x="406440" y="378000"/>
              <a:ext cx="49680" cy="194760"/>
            </a:xfrm>
            <a:custGeom>
              <a:avLst/>
              <a:gdLst/>
              <a:ahLst/>
              <a:cxnLst/>
              <a:rect l="l" t="t" r="r" b="b"/>
              <a:pathLst>
                <a:path w="138" h="541" extrusionOk="0">
                  <a:moveTo>
                    <a:pt x="61" y="541"/>
                  </a:moveTo>
                  <a:lnTo>
                    <a:pt x="0" y="541"/>
                  </a:lnTo>
                  <a:lnTo>
                    <a:pt x="92" y="0"/>
                  </a:lnTo>
                  <a:lnTo>
                    <a:pt x="138" y="16"/>
                  </a:lnTo>
                  <a:lnTo>
                    <a:pt x="61" y="541"/>
                  </a:lnTo>
                  <a:close/>
                </a:path>
              </a:pathLst>
            </a:custGeom>
            <a:solidFill>
              <a:srgbClr val="A15315"/>
            </a:solidFill>
            <a:ln>
              <a:noFill/>
            </a:ln>
          </p:spPr>
          <p:txBody>
            <a:bodyPr spcFirstLastPara="1" wrap="square" lIns="90000" tIns="45000" rIns="90000" bIns="45000" anchor="ctr" anchorCtr="1">
              <a:noAutofit/>
            </a:bodyPr>
            <a:lstStyle/>
            <a:p>
              <a:endParaRPr lang="en-GB" noProof="0"/>
            </a:p>
          </p:txBody>
        </p:sp>
        <p:sp>
          <p:nvSpPr>
            <p:cNvPr id="15" name="Google Shape;746;p43">
              <a:extLst>
                <a:ext uri="{FF2B5EF4-FFF2-40B4-BE49-F238E27FC236}">
                  <a16:creationId xmlns:a16="http://schemas.microsoft.com/office/drawing/2014/main" id="{F784B3E2-E9EE-4D58-BC57-429016C640F6}"/>
                </a:ext>
              </a:extLst>
            </p:cNvPr>
            <p:cNvSpPr/>
            <p:nvPr/>
          </p:nvSpPr>
          <p:spPr>
            <a:xfrm>
              <a:off x="333720" y="550440"/>
              <a:ext cx="122400" cy="38880"/>
            </a:xfrm>
            <a:custGeom>
              <a:avLst/>
              <a:gdLst/>
              <a:ahLst/>
              <a:cxnLst/>
              <a:rect l="l" t="t" r="r" b="b"/>
              <a:pathLst>
                <a:path w="340" h="108" extrusionOk="0">
                  <a:moveTo>
                    <a:pt x="340" y="47"/>
                  </a:moveTo>
                  <a:lnTo>
                    <a:pt x="340" y="47"/>
                  </a:lnTo>
                  <a:cubicBezTo>
                    <a:pt x="340" y="77"/>
                    <a:pt x="309" y="108"/>
                    <a:pt x="279" y="108"/>
                  </a:cubicBezTo>
                  <a:cubicBezTo>
                    <a:pt x="63" y="108"/>
                    <a:pt x="63" y="108"/>
                    <a:pt x="63" y="108"/>
                  </a:cubicBezTo>
                  <a:cubicBezTo>
                    <a:pt x="32" y="108"/>
                    <a:pt x="0" y="77"/>
                    <a:pt x="0" y="47"/>
                  </a:cubicBezTo>
                  <a:lnTo>
                    <a:pt x="0" y="47"/>
                  </a:lnTo>
                  <a:cubicBezTo>
                    <a:pt x="0" y="31"/>
                    <a:pt x="32" y="0"/>
                    <a:pt x="63" y="0"/>
                  </a:cubicBezTo>
                  <a:cubicBezTo>
                    <a:pt x="279" y="0"/>
                    <a:pt x="279" y="0"/>
                    <a:pt x="279" y="0"/>
                  </a:cubicBezTo>
                  <a:cubicBezTo>
                    <a:pt x="309" y="0"/>
                    <a:pt x="340" y="31"/>
                    <a:pt x="340" y="47"/>
                  </a:cubicBezTo>
                  <a:close/>
                </a:path>
              </a:pathLst>
            </a:custGeom>
            <a:solidFill>
              <a:srgbClr val="F5F3EF"/>
            </a:solidFill>
            <a:ln>
              <a:noFill/>
            </a:ln>
          </p:spPr>
          <p:txBody>
            <a:bodyPr spcFirstLastPara="1" wrap="square" lIns="90000" tIns="0" rIns="90000" bIns="0" anchor="ctr" anchorCtr="1">
              <a:noAutofit/>
            </a:bodyPr>
            <a:lstStyle/>
            <a:p>
              <a:endParaRPr lang="en-GB" noProof="0"/>
            </a:p>
          </p:txBody>
        </p:sp>
        <p:sp>
          <p:nvSpPr>
            <p:cNvPr id="16" name="Google Shape;747;p43">
              <a:extLst>
                <a:ext uri="{FF2B5EF4-FFF2-40B4-BE49-F238E27FC236}">
                  <a16:creationId xmlns:a16="http://schemas.microsoft.com/office/drawing/2014/main" id="{553BB643-8389-7718-52EA-0A379637AF0A}"/>
                </a:ext>
              </a:extLst>
            </p:cNvPr>
            <p:cNvSpPr/>
            <p:nvPr/>
          </p:nvSpPr>
          <p:spPr>
            <a:xfrm>
              <a:off x="367560" y="550440"/>
              <a:ext cx="55440" cy="272520"/>
            </a:xfrm>
            <a:custGeom>
              <a:avLst/>
              <a:gdLst/>
              <a:ahLst/>
              <a:cxnLst/>
              <a:rect l="l" t="t" r="r" b="b"/>
              <a:pathLst>
                <a:path w="154" h="757" extrusionOk="0">
                  <a:moveTo>
                    <a:pt x="154" y="648"/>
                  </a:moveTo>
                  <a:lnTo>
                    <a:pt x="154" y="648"/>
                  </a:lnTo>
                  <a:cubicBezTo>
                    <a:pt x="154" y="711"/>
                    <a:pt x="123" y="757"/>
                    <a:pt x="77" y="757"/>
                  </a:cubicBezTo>
                  <a:lnTo>
                    <a:pt x="77" y="757"/>
                  </a:lnTo>
                  <a:cubicBezTo>
                    <a:pt x="30" y="757"/>
                    <a:pt x="0" y="711"/>
                    <a:pt x="0" y="648"/>
                  </a:cubicBezTo>
                  <a:cubicBezTo>
                    <a:pt x="0" y="124"/>
                    <a:pt x="0" y="124"/>
                    <a:pt x="0" y="124"/>
                  </a:cubicBezTo>
                  <a:cubicBezTo>
                    <a:pt x="0" y="47"/>
                    <a:pt x="30" y="0"/>
                    <a:pt x="77" y="0"/>
                  </a:cubicBezTo>
                  <a:lnTo>
                    <a:pt x="77" y="0"/>
                  </a:lnTo>
                  <a:cubicBezTo>
                    <a:pt x="123" y="0"/>
                    <a:pt x="154" y="47"/>
                    <a:pt x="154" y="124"/>
                  </a:cubicBezTo>
                  <a:lnTo>
                    <a:pt x="154" y="648"/>
                  </a:lnTo>
                  <a:close/>
                </a:path>
              </a:pathLst>
            </a:custGeom>
            <a:solidFill>
              <a:srgbClr val="F5F3EF"/>
            </a:solidFill>
            <a:ln>
              <a:noFill/>
            </a:ln>
          </p:spPr>
          <p:txBody>
            <a:bodyPr spcFirstLastPara="1" wrap="square" lIns="90000" tIns="45000" rIns="90000" bIns="45000" anchor="ctr" anchorCtr="1">
              <a:noAutofit/>
            </a:bodyPr>
            <a:lstStyle/>
            <a:p>
              <a:endParaRPr lang="en-GB" noProof="0"/>
            </a:p>
          </p:txBody>
        </p:sp>
        <p:sp>
          <p:nvSpPr>
            <p:cNvPr id="17" name="Google Shape;748;p43">
              <a:extLst>
                <a:ext uri="{FF2B5EF4-FFF2-40B4-BE49-F238E27FC236}">
                  <a16:creationId xmlns:a16="http://schemas.microsoft.com/office/drawing/2014/main" id="{3A3055AE-062D-D121-3C04-58155D832958}"/>
                </a:ext>
              </a:extLst>
            </p:cNvPr>
            <p:cNvSpPr/>
            <p:nvPr/>
          </p:nvSpPr>
          <p:spPr>
            <a:xfrm>
              <a:off x="367560" y="806400"/>
              <a:ext cx="60840" cy="294480"/>
            </a:xfrm>
            <a:custGeom>
              <a:avLst/>
              <a:gdLst/>
              <a:ahLst/>
              <a:cxnLst/>
              <a:rect l="l" t="t" r="r" b="b"/>
              <a:pathLst>
                <a:path w="169" h="818" extrusionOk="0">
                  <a:moveTo>
                    <a:pt x="169" y="818"/>
                  </a:moveTo>
                  <a:lnTo>
                    <a:pt x="169" y="818"/>
                  </a:lnTo>
                  <a:cubicBezTo>
                    <a:pt x="169" y="92"/>
                    <a:pt x="169" y="92"/>
                    <a:pt x="169" y="92"/>
                  </a:cubicBezTo>
                  <a:cubicBezTo>
                    <a:pt x="169" y="46"/>
                    <a:pt x="138" y="0"/>
                    <a:pt x="77" y="0"/>
                  </a:cubicBezTo>
                  <a:cubicBezTo>
                    <a:pt x="30" y="0"/>
                    <a:pt x="0" y="46"/>
                    <a:pt x="0" y="92"/>
                  </a:cubicBezTo>
                  <a:cubicBezTo>
                    <a:pt x="0" y="818"/>
                    <a:pt x="0" y="818"/>
                    <a:pt x="0" y="818"/>
                  </a:cubicBezTo>
                  <a:lnTo>
                    <a:pt x="169" y="818"/>
                  </a:lnTo>
                  <a:close/>
                </a:path>
              </a:pathLst>
            </a:custGeom>
            <a:solidFill>
              <a:srgbClr val="A15315"/>
            </a:solidFill>
            <a:ln>
              <a:noFill/>
            </a:ln>
          </p:spPr>
          <p:txBody>
            <a:bodyPr spcFirstLastPara="1" wrap="square" lIns="90000" tIns="45000" rIns="90000" bIns="45000" anchor="ctr" anchorCtr="1">
              <a:noAutofit/>
            </a:bodyPr>
            <a:lstStyle/>
            <a:p>
              <a:endParaRPr lang="en-GB" noProof="0"/>
            </a:p>
          </p:txBody>
        </p:sp>
      </p:grpSp>
      <p:sp>
        <p:nvSpPr>
          <p:cNvPr id="18" name="Untertitel 3">
            <a:extLst>
              <a:ext uri="{FF2B5EF4-FFF2-40B4-BE49-F238E27FC236}">
                <a16:creationId xmlns:a16="http://schemas.microsoft.com/office/drawing/2014/main" id="{9D402FC9-B003-6ABB-29C8-CFE131F86AFE}"/>
              </a:ext>
            </a:extLst>
          </p:cNvPr>
          <p:cNvSpPr txBox="1">
            <a:spLocks/>
          </p:cNvSpPr>
          <p:nvPr/>
        </p:nvSpPr>
        <p:spPr>
          <a:xfrm>
            <a:off x="1651260" y="2384470"/>
            <a:ext cx="5301597" cy="10633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A </a:t>
            </a:r>
            <a:r>
              <a:rPr lang="en-GB" sz="1200" dirty="0" err="1"/>
              <a:t>multimeter</a:t>
            </a:r>
            <a:r>
              <a:rPr lang="en-GB" sz="1200" dirty="0"/>
              <a:t> is a handy tool that can measure electrical quantities like voltage, current, and resistance. Here’s a simple guide on how to use it, along with an explanation of its key parts and steps. For our experiments we stick to the unit of voltage to measure energy.</a:t>
            </a:r>
          </a:p>
          <a:p>
            <a:endParaRPr lang="en-GB" sz="1200" noProof="0" dirty="0"/>
          </a:p>
        </p:txBody>
      </p:sp>
      <p:sp>
        <p:nvSpPr>
          <p:cNvPr id="19" name="Untertitel 5">
            <a:extLst>
              <a:ext uri="{FF2B5EF4-FFF2-40B4-BE49-F238E27FC236}">
                <a16:creationId xmlns:a16="http://schemas.microsoft.com/office/drawing/2014/main" id="{14F227C7-A804-2912-72FE-C68256D689CF}"/>
              </a:ext>
            </a:extLst>
          </p:cNvPr>
          <p:cNvSpPr txBox="1">
            <a:spLocks/>
          </p:cNvSpPr>
          <p:nvPr/>
        </p:nvSpPr>
        <p:spPr>
          <a:xfrm>
            <a:off x="1651260" y="1970092"/>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What is a </a:t>
            </a:r>
            <a:r>
              <a:rPr lang="en-GB" sz="1200" noProof="0" err="1">
                <a:solidFill>
                  <a:schemeClr val="accent2"/>
                </a:solidFill>
              </a:rPr>
              <a:t>multimeter</a:t>
            </a:r>
            <a:r>
              <a:rPr lang="en-GB" sz="1200" noProof="0">
                <a:solidFill>
                  <a:schemeClr val="accent2"/>
                </a:solidFill>
              </a:rPr>
              <a:t>?</a:t>
            </a:r>
          </a:p>
        </p:txBody>
      </p:sp>
      <p:sp>
        <p:nvSpPr>
          <p:cNvPr id="20" name="Untertitel 3">
            <a:extLst>
              <a:ext uri="{FF2B5EF4-FFF2-40B4-BE49-F238E27FC236}">
                <a16:creationId xmlns:a16="http://schemas.microsoft.com/office/drawing/2014/main" id="{ADB275A6-C53A-7E16-0F8B-E7526A30BE8E}"/>
              </a:ext>
            </a:extLst>
          </p:cNvPr>
          <p:cNvSpPr txBox="1">
            <a:spLocks/>
          </p:cNvSpPr>
          <p:nvPr/>
        </p:nvSpPr>
        <p:spPr>
          <a:xfrm>
            <a:off x="719137" y="3779069"/>
            <a:ext cx="3878989"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a:pPr>
            <a:r>
              <a:rPr lang="en-GB" sz="1200" b="1" i="1" noProof="0" dirty="0"/>
              <a:t>Display: </a:t>
            </a:r>
            <a:r>
              <a:rPr lang="en-GB" sz="1200" noProof="0" dirty="0"/>
              <a:t>Shows the measurement results.</a:t>
            </a:r>
          </a:p>
          <a:p>
            <a:pPr>
              <a:buFont typeface="+mj-lt"/>
              <a:buAutoNum type="arabicPeriod"/>
            </a:pPr>
            <a:r>
              <a:rPr lang="en-GB" sz="1200" noProof="0" dirty="0"/>
              <a:t>Dial/Selector Switch: Used to select the quantity you want to measure (voltage, current, or resistance).</a:t>
            </a:r>
          </a:p>
          <a:p>
            <a:pPr>
              <a:buFont typeface="+mj-lt"/>
              <a:buAutoNum type="arabicPeriod"/>
            </a:pPr>
            <a:r>
              <a:rPr lang="en-GB" sz="1200" b="1" i="1" noProof="0" dirty="0"/>
              <a:t>Probes</a:t>
            </a:r>
            <a:r>
              <a:rPr lang="en-GB" sz="1200" noProof="0" dirty="0"/>
              <a:t>: Two wires with metal tips that you hold against the point you want to measure. The red probe is usually for positive connections, and the black probe is for negative connections.</a:t>
            </a:r>
          </a:p>
          <a:p>
            <a:pPr>
              <a:buFont typeface="+mj-lt"/>
              <a:buAutoNum type="arabicPeriod"/>
            </a:pPr>
            <a:r>
              <a:rPr lang="en-GB" sz="1200" b="1" i="1" noProof="0" dirty="0"/>
              <a:t>Ports</a:t>
            </a:r>
            <a:r>
              <a:rPr lang="en-GB" sz="1200" noProof="0" dirty="0"/>
              <a:t>: Sockets where you plug in the probes. There are usually three:</a:t>
            </a:r>
          </a:p>
          <a:p>
            <a:pPr lvl="1" algn="l">
              <a:buFont typeface="Arial" panose="020B0604020202020204" pitchFamily="34" charset="0"/>
              <a:buChar char="•"/>
            </a:pPr>
            <a:r>
              <a:rPr lang="en-GB" sz="1200" noProof="0" dirty="0"/>
              <a:t>COM: Common port, always for the black probe.</a:t>
            </a:r>
          </a:p>
          <a:p>
            <a:pPr lvl="1" algn="l">
              <a:buFont typeface="Arial" panose="020B0604020202020204" pitchFamily="34" charset="0"/>
              <a:buChar char="•"/>
            </a:pPr>
            <a:r>
              <a:rPr lang="en-GB" sz="1200" noProof="0" dirty="0" err="1"/>
              <a:t>VΩmA</a:t>
            </a:r>
            <a:r>
              <a:rPr lang="en-GB" sz="1200" noProof="0" dirty="0"/>
              <a:t>: For the red probe when measuring voltage, resistance, or small currents.</a:t>
            </a:r>
          </a:p>
          <a:p>
            <a:pPr lvl="1" algn="l">
              <a:buFont typeface="Arial" panose="020B0604020202020204" pitchFamily="34" charset="0"/>
              <a:buChar char="•"/>
            </a:pPr>
            <a:r>
              <a:rPr lang="en-GB" sz="1200" noProof="0" dirty="0"/>
              <a:t>10A: For the red probe when measuring high currents.</a:t>
            </a:r>
          </a:p>
          <a:p>
            <a:endParaRPr lang="en-GB" sz="1200" noProof="0" dirty="0"/>
          </a:p>
        </p:txBody>
      </p:sp>
      <p:sp>
        <p:nvSpPr>
          <p:cNvPr id="21" name="Untertitel 5">
            <a:extLst>
              <a:ext uri="{FF2B5EF4-FFF2-40B4-BE49-F238E27FC236}">
                <a16:creationId xmlns:a16="http://schemas.microsoft.com/office/drawing/2014/main" id="{E66736C9-2D9B-3583-01F1-392C5ADBE345}"/>
              </a:ext>
            </a:extLst>
          </p:cNvPr>
          <p:cNvSpPr txBox="1">
            <a:spLocks/>
          </p:cNvSpPr>
          <p:nvPr/>
        </p:nvSpPr>
        <p:spPr>
          <a:xfrm>
            <a:off x="719138" y="3398242"/>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Parts of a multimeter</a:t>
            </a:r>
          </a:p>
        </p:txBody>
      </p:sp>
      <p:pic>
        <p:nvPicPr>
          <p:cNvPr id="22" name="Picture 1" descr="A close-up of a digital multimeter&#10;&#10;Description automatically generated">
            <a:extLst>
              <a:ext uri="{FF2B5EF4-FFF2-40B4-BE49-F238E27FC236}">
                <a16:creationId xmlns:a16="http://schemas.microsoft.com/office/drawing/2014/main" id="{0D108504-4CE1-D8E9-1280-D9A916ABDF4F}"/>
              </a:ext>
            </a:extLst>
          </p:cNvPr>
          <p:cNvPicPr>
            <a:picLocks noChangeAspect="1"/>
          </p:cNvPicPr>
          <p:nvPr/>
        </p:nvPicPr>
        <p:blipFill rotWithShape="1">
          <a:blip r:embed="rId2">
            <a:extLst>
              <a:ext uri="{28A0092B-C50C-407E-A947-70E740481C1C}">
                <a14:useLocalDpi xmlns:a14="http://schemas.microsoft.com/office/drawing/2010/main" val="0"/>
              </a:ext>
            </a:extLst>
          </a:blip>
          <a:srcRect l="38507" t="3920" r="18131" b="5397"/>
          <a:stretch/>
        </p:blipFill>
        <p:spPr bwMode="auto">
          <a:xfrm>
            <a:off x="4841966" y="3607562"/>
            <a:ext cx="2198596" cy="2586064"/>
          </a:xfrm>
          <a:prstGeom prst="rect">
            <a:avLst/>
          </a:prstGeom>
          <a:ln>
            <a:noFill/>
          </a:ln>
          <a:extLst>
            <a:ext uri="{53640926-AAD7-44D8-BBD7-CCE9431645EC}">
              <a14:shadowObscured xmlns:a14="http://schemas.microsoft.com/office/drawing/2010/main"/>
            </a:ext>
          </a:extLst>
        </p:spPr>
      </p:pic>
      <p:sp>
        <p:nvSpPr>
          <p:cNvPr id="23" name="Untertitel 3">
            <a:extLst>
              <a:ext uri="{FF2B5EF4-FFF2-40B4-BE49-F238E27FC236}">
                <a16:creationId xmlns:a16="http://schemas.microsoft.com/office/drawing/2014/main" id="{2785BB2D-B0B1-8459-16E4-9FAEC5F1B39C}"/>
              </a:ext>
            </a:extLst>
          </p:cNvPr>
          <p:cNvSpPr txBox="1">
            <a:spLocks/>
          </p:cNvSpPr>
          <p:nvPr/>
        </p:nvSpPr>
        <p:spPr>
          <a:xfrm>
            <a:off x="742719" y="7781605"/>
            <a:ext cx="6030186"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a:pPr>
            <a:r>
              <a:rPr lang="en-GB" sz="1200" b="1" i="1" noProof="0"/>
              <a:t>Turn on the multimeter</a:t>
            </a:r>
            <a:r>
              <a:rPr lang="en-GB" sz="1200" noProof="0"/>
              <a:t>: Make sure the multimeter is on by turning the dial.</a:t>
            </a:r>
          </a:p>
          <a:p>
            <a:pPr>
              <a:buFont typeface="+mj-lt"/>
              <a:buAutoNum type="arabicPeriod"/>
            </a:pPr>
            <a:r>
              <a:rPr lang="en-GB" sz="1200" b="1" i="1" noProof="0"/>
              <a:t>Select the measurement type</a:t>
            </a:r>
            <a:r>
              <a:rPr lang="en-GB" sz="1200" noProof="0"/>
              <a:t>:</a:t>
            </a:r>
          </a:p>
          <a:p>
            <a:pPr lvl="1" algn="l">
              <a:buFont typeface="Arial" panose="020B0604020202020204" pitchFamily="34" charset="0"/>
              <a:buChar char="•"/>
            </a:pPr>
            <a:r>
              <a:rPr lang="en-GB" sz="1200" b="1" noProof="0"/>
              <a:t>Voltage (V)</a:t>
            </a:r>
            <a:r>
              <a:rPr lang="en-GB" sz="1200" noProof="0"/>
              <a:t>: To measure voltage, turn the dial to "V" with a straight line (for DC voltage) or a wavy line (for AC voltage).</a:t>
            </a:r>
          </a:p>
          <a:p>
            <a:pPr lvl="1" algn="l">
              <a:buFont typeface="Arial" panose="020B0604020202020204" pitchFamily="34" charset="0"/>
              <a:buChar char="•"/>
            </a:pPr>
            <a:r>
              <a:rPr lang="en-GB" sz="1200" i="1" noProof="0"/>
              <a:t>Just for complete information:</a:t>
            </a:r>
          </a:p>
          <a:p>
            <a:pPr lvl="1" algn="l">
              <a:lnSpc>
                <a:spcPct val="114999"/>
              </a:lnSpc>
              <a:buFont typeface="Arial" panose="020B0604020202020204" pitchFamily="34" charset="0"/>
              <a:buChar char="•"/>
            </a:pPr>
            <a:r>
              <a:rPr lang="en-GB" sz="1200" noProof="0"/>
              <a:t>Current (A): To measure current, turn the dial to "A" with the corresponding symbol. Choose between "mA" (milliamps) and "A" (amps) depending on the expected current.  we usually just use mA!</a:t>
            </a:r>
          </a:p>
          <a:p>
            <a:pPr lvl="1" algn="l">
              <a:buFont typeface="Arial" panose="020B0604020202020204" pitchFamily="34" charset="0"/>
              <a:buChar char="•"/>
            </a:pPr>
            <a:r>
              <a:rPr lang="en-GB" sz="1200" noProof="0"/>
              <a:t>Resistance (Ω): To measure resistance, turn the dial to the "Ω" symbol.</a:t>
            </a:r>
          </a:p>
        </p:txBody>
      </p:sp>
      <p:sp>
        <p:nvSpPr>
          <p:cNvPr id="24" name="Untertitel 5">
            <a:extLst>
              <a:ext uri="{FF2B5EF4-FFF2-40B4-BE49-F238E27FC236}">
                <a16:creationId xmlns:a16="http://schemas.microsoft.com/office/drawing/2014/main" id="{8BB4E438-D041-97D3-C1DF-91CB8C7B1078}"/>
              </a:ext>
            </a:extLst>
          </p:cNvPr>
          <p:cNvSpPr txBox="1">
            <a:spLocks/>
          </p:cNvSpPr>
          <p:nvPr/>
        </p:nvSpPr>
        <p:spPr>
          <a:xfrm>
            <a:off x="742720" y="7400778"/>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Important Steps to Use a </a:t>
            </a:r>
            <a:r>
              <a:rPr lang="en-GB" sz="1200" noProof="0" dirty="0" err="1">
                <a:solidFill>
                  <a:schemeClr val="accent2"/>
                </a:solidFill>
              </a:rPr>
              <a:t>multimeter</a:t>
            </a:r>
            <a:endParaRPr lang="en-GB" sz="1200" noProof="0" dirty="0">
              <a:solidFill>
                <a:schemeClr val="accent2"/>
              </a:solidFill>
            </a:endParaRPr>
          </a:p>
        </p:txBody>
      </p:sp>
    </p:spTree>
    <p:extLst>
      <p:ext uri="{BB962C8B-B14F-4D97-AF65-F5344CB8AC3E}">
        <p14:creationId xmlns:p14="http://schemas.microsoft.com/office/powerpoint/2010/main" val="1116173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5" name="Google Shape;345;p26"/>
          <p:cNvSpPr txBox="1">
            <a:spLocks noGrp="1"/>
          </p:cNvSpPr>
          <p:nvPr>
            <p:ph type="title"/>
          </p:nvPr>
        </p:nvSpPr>
        <p:spPr>
          <a:xfrm>
            <a:off x="744144" y="1298598"/>
            <a:ext cx="6369175" cy="473472"/>
          </a:xfrm>
          <a:prstGeom prst="rect">
            <a:avLst/>
          </a:prstGeom>
        </p:spPr>
        <p:txBody>
          <a:bodyPr spcFirstLastPara="1" wrap="square" lIns="75584" tIns="75584" rIns="75584" bIns="75584" anchor="t" anchorCtr="0">
            <a:noAutofit/>
          </a:bodyPr>
          <a:lstStyle/>
          <a:p>
            <a:r>
              <a:rPr lang="en-GB" dirty="0"/>
              <a:t>Table of contents</a:t>
            </a:r>
          </a:p>
        </p:txBody>
      </p:sp>
      <p:sp>
        <p:nvSpPr>
          <p:cNvPr id="45" name="Google Shape;343;p26">
            <a:extLst>
              <a:ext uri="{FF2B5EF4-FFF2-40B4-BE49-F238E27FC236}">
                <a16:creationId xmlns:a16="http://schemas.microsoft.com/office/drawing/2014/main" id="{FDA57636-E66E-F394-3E03-5D03159A3A34}"/>
              </a:ext>
            </a:extLst>
          </p:cNvPr>
          <p:cNvSpPr txBox="1">
            <a:spLocks/>
          </p:cNvSpPr>
          <p:nvPr/>
        </p:nvSpPr>
        <p:spPr>
          <a:xfrm>
            <a:off x="740795" y="2691576"/>
            <a:ext cx="6548940" cy="157529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dirty="0">
                <a:latin typeface="Sofia Sans"/>
              </a:rPr>
              <a:t>Chapter 1 – wind basics</a:t>
            </a:r>
          </a:p>
          <a:p>
            <a:pPr marL="342900" indent="-342900">
              <a:buSzPct val="115000"/>
              <a:buFont typeface="+mj-lt"/>
              <a:buAutoNum type="arabicPeriod"/>
              <a:tabLst>
                <a:tab pos="4214813" algn="l"/>
              </a:tabLst>
            </a:pPr>
            <a:r>
              <a:rPr lang="en-GB" sz="1450" b="0" noProof="0" dirty="0">
                <a:latin typeface="Sofia Sans"/>
              </a:rPr>
              <a:t>Wind, energy &amp; wind energy introduction			            10</a:t>
            </a:r>
          </a:p>
          <a:p>
            <a:pPr marL="342900" indent="-342900">
              <a:buSzPct val="115000"/>
              <a:buFont typeface="+mj-lt"/>
              <a:buAutoNum type="arabicPeriod"/>
            </a:pPr>
            <a:r>
              <a:rPr lang="en-GB" sz="1450" b="0" noProof="0" dirty="0">
                <a:latin typeface="Sofia Sans"/>
              </a:rPr>
              <a:t>Windy places					            14</a:t>
            </a:r>
          </a:p>
          <a:p>
            <a:pPr marL="342900" indent="-342900">
              <a:buSzPct val="115000"/>
              <a:buFont typeface="+mj-lt"/>
              <a:buAutoNum type="arabicPeriod"/>
            </a:pPr>
            <a:r>
              <a:rPr lang="en-GB" sz="1450" b="0" noProof="0" dirty="0">
                <a:latin typeface="Sofia Sans"/>
              </a:rPr>
              <a:t>The wind atlas					            16</a:t>
            </a:r>
          </a:p>
          <a:p>
            <a:pPr marL="342900" indent="-342900">
              <a:buSzPct val="115000"/>
              <a:buFont typeface="+mj-lt"/>
              <a:buAutoNum type="arabicPeriod"/>
            </a:pPr>
            <a:r>
              <a:rPr lang="en-GB" sz="1450" b="0" noProof="0" dirty="0">
                <a:latin typeface="Sofia Sans"/>
              </a:rPr>
              <a:t>Stakeholders in wind energy				            17</a:t>
            </a:r>
          </a:p>
        </p:txBody>
      </p:sp>
      <p:sp>
        <p:nvSpPr>
          <p:cNvPr id="47" name="Google Shape;343;p26">
            <a:extLst>
              <a:ext uri="{FF2B5EF4-FFF2-40B4-BE49-F238E27FC236}">
                <a16:creationId xmlns:a16="http://schemas.microsoft.com/office/drawing/2014/main" id="{B4038930-0E51-1F15-F0BF-04F535E1BD00}"/>
              </a:ext>
            </a:extLst>
          </p:cNvPr>
          <p:cNvSpPr txBox="1">
            <a:spLocks/>
          </p:cNvSpPr>
          <p:nvPr/>
        </p:nvSpPr>
        <p:spPr>
          <a:xfrm>
            <a:off x="718618" y="4104943"/>
            <a:ext cx="6441883" cy="1075190"/>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dirty="0">
                <a:latin typeface="Sofia Sans"/>
              </a:rPr>
              <a:t>Chapter 2 – Measuring and working with wind speed</a:t>
            </a:r>
          </a:p>
          <a:p>
            <a:pPr marL="342900" indent="-342900">
              <a:buSzPct val="115000"/>
              <a:buFont typeface="+mj-lt"/>
              <a:buAutoNum type="arabicPeriod"/>
            </a:pPr>
            <a:r>
              <a:rPr lang="en-GB" sz="1450" b="0" dirty="0">
                <a:latin typeface="Sofia Sans"/>
              </a:rPr>
              <a:t>Making a paper </a:t>
            </a:r>
            <a:r>
              <a:rPr lang="en-GB" sz="1450" b="0" dirty="0" err="1">
                <a:latin typeface="Sofia Sans"/>
              </a:rPr>
              <a:t>windrose</a:t>
            </a:r>
            <a:r>
              <a:rPr lang="en-GB" sz="1450" b="0" dirty="0">
                <a:latin typeface="Sofia Sans"/>
              </a:rPr>
              <a:t>				           22</a:t>
            </a:r>
          </a:p>
          <a:p>
            <a:pPr marL="342900" indent="-342900">
              <a:buSzPct val="115000"/>
              <a:buFont typeface="+mj-lt"/>
              <a:buAutoNum type="arabicPeriod"/>
            </a:pPr>
            <a:r>
              <a:rPr lang="en-GB" sz="1450" b="0" dirty="0">
                <a:latin typeface="Sofia Sans"/>
              </a:rPr>
              <a:t>Measuring wind speed				           24</a:t>
            </a:r>
          </a:p>
          <a:p>
            <a:pPr marL="342900" indent="-342900">
              <a:buSzPct val="115000"/>
              <a:buFont typeface="+mj-lt"/>
              <a:buAutoNum type="arabicPeriod"/>
            </a:pPr>
            <a:r>
              <a:rPr lang="en-GB" sz="1450" b="0" dirty="0">
                <a:latin typeface="Sofia Sans"/>
              </a:rPr>
              <a:t>Wind can do work					           26</a:t>
            </a:r>
          </a:p>
          <a:p>
            <a:pPr marL="0" indent="0">
              <a:buSzPct val="115000"/>
            </a:pPr>
            <a:r>
              <a:rPr lang="en-GB" sz="1450" b="0" dirty="0">
                <a:latin typeface="Sofia Sans"/>
              </a:rPr>
              <a:t>Short recap: Test your knowledge on generators and gearboxes</a:t>
            </a:r>
            <a:r>
              <a:rPr lang="en-GB" sz="1450" b="0" noProof="0" dirty="0">
                <a:latin typeface="Sofia Sans"/>
              </a:rPr>
              <a:t>	           28</a:t>
            </a:r>
          </a:p>
        </p:txBody>
      </p:sp>
      <p:sp>
        <p:nvSpPr>
          <p:cNvPr id="49" name="Google Shape;343;p26">
            <a:extLst>
              <a:ext uri="{FF2B5EF4-FFF2-40B4-BE49-F238E27FC236}">
                <a16:creationId xmlns:a16="http://schemas.microsoft.com/office/drawing/2014/main" id="{82127627-34E5-8BD9-1F2B-D74DDC96773B}"/>
              </a:ext>
            </a:extLst>
          </p:cNvPr>
          <p:cNvSpPr txBox="1">
            <a:spLocks/>
          </p:cNvSpPr>
          <p:nvPr/>
        </p:nvSpPr>
        <p:spPr>
          <a:xfrm>
            <a:off x="719138" y="1827685"/>
            <a:ext cx="6592773" cy="325794"/>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a:latin typeface="Sofia Sans"/>
              </a:rPr>
              <a:t>Why is wind important?		</a:t>
            </a:r>
            <a:r>
              <a:rPr lang="en-GB" sz="1450" b="0" noProof="0">
                <a:latin typeface="Sofia Sans"/>
              </a:rPr>
              <a:t>		             5</a:t>
            </a:r>
            <a:r>
              <a:rPr lang="en-GB" sz="1450" noProof="0">
                <a:latin typeface="Sofia Sans"/>
              </a:rPr>
              <a:t>		 </a:t>
            </a:r>
          </a:p>
        </p:txBody>
      </p:sp>
      <p:sp>
        <p:nvSpPr>
          <p:cNvPr id="2" name="Google Shape;343;p26">
            <a:extLst>
              <a:ext uri="{FF2B5EF4-FFF2-40B4-BE49-F238E27FC236}">
                <a16:creationId xmlns:a16="http://schemas.microsoft.com/office/drawing/2014/main" id="{78EF8FC4-C080-D74B-FA0A-DAA361DC6682}"/>
              </a:ext>
            </a:extLst>
          </p:cNvPr>
          <p:cNvSpPr txBox="1">
            <a:spLocks/>
          </p:cNvSpPr>
          <p:nvPr/>
        </p:nvSpPr>
        <p:spPr>
          <a:xfrm>
            <a:off x="740795" y="2211863"/>
            <a:ext cx="6571116" cy="421329"/>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a:latin typeface="Sofia Sans"/>
              </a:rPr>
              <a:t>Definitions </a:t>
            </a:r>
            <a:r>
              <a:rPr lang="en-GB" sz="1450" b="0" noProof="0">
                <a:latin typeface="Sofia Sans"/>
              </a:rPr>
              <a:t>					             6</a:t>
            </a:r>
            <a:endParaRPr lang="en-GB" sz="1450" noProof="0">
              <a:latin typeface="Sofia Sans"/>
            </a:endParaRPr>
          </a:p>
        </p:txBody>
      </p:sp>
      <p:sp>
        <p:nvSpPr>
          <p:cNvPr id="5" name="Google Shape;343;p26">
            <a:extLst>
              <a:ext uri="{FF2B5EF4-FFF2-40B4-BE49-F238E27FC236}">
                <a16:creationId xmlns:a16="http://schemas.microsoft.com/office/drawing/2014/main" id="{D4C413BD-98A7-F90F-8885-7185FB0495C4}"/>
              </a:ext>
            </a:extLst>
          </p:cNvPr>
          <p:cNvSpPr txBox="1">
            <a:spLocks/>
          </p:cNvSpPr>
          <p:nvPr/>
        </p:nvSpPr>
        <p:spPr>
          <a:xfrm>
            <a:off x="719138" y="5511680"/>
            <a:ext cx="6750759" cy="585515"/>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dirty="0">
                <a:latin typeface="Sofia Sans"/>
              </a:rPr>
              <a:t>Chapter 3 – </a:t>
            </a:r>
            <a:r>
              <a:rPr lang="en-GB" sz="1450" noProof="0" dirty="0" err="1">
                <a:latin typeface="Sofia Sans"/>
              </a:rPr>
              <a:t>Airfoils</a:t>
            </a:r>
            <a:endParaRPr lang="en-GB" sz="1450" noProof="0" dirty="0">
              <a:latin typeface="Sofia Sans"/>
            </a:endParaRPr>
          </a:p>
          <a:p>
            <a:pPr marL="342900" indent="-342900">
              <a:buFont typeface="+mj-lt"/>
              <a:buAutoNum type="arabicPeriod"/>
            </a:pPr>
            <a:r>
              <a:rPr lang="en-GB" sz="1450" b="0" noProof="0" dirty="0">
                <a:latin typeface="Sofia Sans"/>
              </a:rPr>
              <a:t>Let’s make an </a:t>
            </a:r>
            <a:r>
              <a:rPr lang="en-GB" sz="1450" b="0" noProof="0" dirty="0" err="1">
                <a:latin typeface="Sofia Sans"/>
              </a:rPr>
              <a:t>airfoil</a:t>
            </a:r>
            <a:r>
              <a:rPr lang="en-GB" sz="1450" b="0" noProof="0" dirty="0">
                <a:latin typeface="Sofia Sans"/>
              </a:rPr>
              <a:t>				          32	</a:t>
            </a:r>
          </a:p>
        </p:txBody>
      </p:sp>
      <p:sp>
        <p:nvSpPr>
          <p:cNvPr id="14" name="Google Shape;343;p26">
            <a:extLst>
              <a:ext uri="{FF2B5EF4-FFF2-40B4-BE49-F238E27FC236}">
                <a16:creationId xmlns:a16="http://schemas.microsoft.com/office/drawing/2014/main" id="{A1668B4A-6D4A-8D7F-025E-91402E10F567}"/>
              </a:ext>
            </a:extLst>
          </p:cNvPr>
          <p:cNvSpPr txBox="1">
            <a:spLocks/>
          </p:cNvSpPr>
          <p:nvPr/>
        </p:nvSpPr>
        <p:spPr>
          <a:xfrm>
            <a:off x="719138" y="6170947"/>
            <a:ext cx="6728584" cy="3748305"/>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en-GB" sz="1450" noProof="0" dirty="0">
                <a:latin typeface="Sofia Sans"/>
              </a:rPr>
              <a:t>Chapter 4 – Experiments with wind turbines</a:t>
            </a:r>
          </a:p>
          <a:p>
            <a:pPr marL="342900" indent="-342900">
              <a:buSzPct val="115000"/>
              <a:buFont typeface="+mj-lt"/>
              <a:buAutoNum type="arabicPeriod"/>
            </a:pPr>
            <a:r>
              <a:rPr lang="en-GB" sz="1450" b="0" dirty="0">
                <a:latin typeface="Sofia Sans"/>
              </a:rPr>
              <a:t>How to measure the power of wind turbines		           38</a:t>
            </a:r>
          </a:p>
          <a:p>
            <a:pPr marL="342900" indent="-342900">
              <a:buSzPct val="115000"/>
              <a:buFont typeface="+mj-lt"/>
              <a:buAutoNum type="arabicPeriod"/>
            </a:pPr>
            <a:r>
              <a:rPr lang="en-GB" sz="1450" b="0" dirty="0">
                <a:latin typeface="Sofia Sans"/>
              </a:rPr>
              <a:t>How to use a multimeter				           39</a:t>
            </a:r>
          </a:p>
          <a:p>
            <a:pPr marL="342900" indent="-342900">
              <a:buSzPct val="115000"/>
              <a:buFont typeface="+mj-lt"/>
              <a:buAutoNum type="arabicPeriod"/>
            </a:pPr>
            <a:r>
              <a:rPr lang="en-GB" sz="1450" b="0" dirty="0">
                <a:latin typeface="Sofia Sans"/>
              </a:rPr>
              <a:t>How to use the wind turbine kit			           41</a:t>
            </a:r>
          </a:p>
          <a:p>
            <a:pPr marL="342900" indent="-342900">
              <a:buSzPct val="115000"/>
              <a:buFont typeface="+mj-lt"/>
              <a:buAutoNum type="arabicPeriod"/>
            </a:pPr>
            <a:r>
              <a:rPr lang="en-GB" sz="1450" b="0" dirty="0">
                <a:latin typeface="Sofia Sans"/>
              </a:rPr>
              <a:t>Changing direction of wind				           42</a:t>
            </a:r>
          </a:p>
          <a:p>
            <a:pPr marL="342900" indent="-342900">
              <a:buSzPct val="115000"/>
              <a:buFont typeface="+mj-lt"/>
              <a:buAutoNum type="arabicPeriod"/>
            </a:pPr>
            <a:r>
              <a:rPr lang="en-GB" sz="1450" b="0" dirty="0">
                <a:latin typeface="Sofia Sans"/>
              </a:rPr>
              <a:t>Angle of attack				 	           46</a:t>
            </a:r>
          </a:p>
          <a:p>
            <a:pPr marL="342900" indent="-342900">
              <a:buSzPct val="115000"/>
              <a:buFont typeface="+mj-lt"/>
              <a:buAutoNum type="arabicPeriod"/>
            </a:pPr>
            <a:r>
              <a:rPr lang="en-GB" sz="1450" b="0" dirty="0">
                <a:latin typeface="Sofia Sans"/>
              </a:rPr>
              <a:t>Using a tail fin					           47</a:t>
            </a:r>
          </a:p>
          <a:p>
            <a:pPr marL="0" indent="0">
              <a:buSzPct val="115000"/>
            </a:pPr>
            <a:r>
              <a:rPr lang="en-GB" sz="1450" b="0" dirty="0">
                <a:latin typeface="Sofia Sans"/>
              </a:rPr>
              <a:t>Let`s test your knowledge!  				           49</a:t>
            </a:r>
          </a:p>
          <a:p>
            <a:pPr marL="342900" indent="-342900">
              <a:buSzPct val="115000"/>
              <a:buFont typeface="+mj-lt"/>
              <a:buAutoNum type="arabicPeriod" startAt="7"/>
            </a:pPr>
            <a:r>
              <a:rPr lang="en-GB" sz="1450" b="0" dirty="0">
                <a:latin typeface="Sofia Sans"/>
              </a:rPr>
              <a:t>Changing blade pitch				           50</a:t>
            </a:r>
          </a:p>
          <a:p>
            <a:pPr marL="342900" indent="-342900">
              <a:buSzPct val="115000"/>
              <a:buFont typeface="+mj-lt"/>
              <a:buAutoNum type="arabicPeriod" startAt="7"/>
            </a:pPr>
            <a:r>
              <a:rPr lang="en-GB" sz="1450" b="0" dirty="0">
                <a:latin typeface="Sofia Sans"/>
              </a:rPr>
              <a:t>Changing blade length				           52</a:t>
            </a:r>
          </a:p>
          <a:p>
            <a:pPr marL="342900" indent="-342900">
              <a:buSzPct val="115000"/>
              <a:buFont typeface="+mj-lt"/>
              <a:buAutoNum type="arabicPeriod" startAt="7"/>
            </a:pPr>
            <a:r>
              <a:rPr lang="en-GB" sz="1450" b="0" dirty="0">
                <a:latin typeface="Sofia Sans"/>
              </a:rPr>
              <a:t>Changing number of blades				           54</a:t>
            </a:r>
          </a:p>
          <a:p>
            <a:pPr marL="342900" indent="-342900">
              <a:buSzPct val="115000"/>
              <a:buFont typeface="+mj-lt"/>
              <a:buAutoNum type="arabicPeriod" startAt="7"/>
            </a:pPr>
            <a:r>
              <a:rPr lang="en-GB" sz="1450" b="0" dirty="0">
                <a:latin typeface="Sofia Sans"/>
              </a:rPr>
              <a:t>What happens with a wind turbine with only one blade?	           57</a:t>
            </a:r>
          </a:p>
          <a:p>
            <a:pPr marL="0" indent="0">
              <a:buSzPct val="115000"/>
            </a:pPr>
            <a:r>
              <a:rPr lang="en-GB" sz="1450" b="0" dirty="0">
                <a:latin typeface="Sofia Sans"/>
              </a:rPr>
              <a:t>Let`s test your knowledge on chapter 4!			           60</a:t>
            </a:r>
          </a:p>
          <a:p>
            <a:pPr marL="0" indent="0">
              <a:buSzPct val="115000"/>
            </a:pPr>
            <a:r>
              <a:rPr lang="en-GB" sz="1450" b="0" dirty="0">
                <a:latin typeface="Sofia Sans"/>
              </a:rPr>
              <a:t>Playtime</a:t>
            </a:r>
            <a:r>
              <a:rPr lang="en-GB" sz="1450" b="0" noProof="0" dirty="0">
                <a:latin typeface="Sofia Sans"/>
              </a:rPr>
              <a:t>	                              				           63</a:t>
            </a:r>
          </a:p>
          <a:p>
            <a:pPr marL="342900" indent="-342900">
              <a:buFont typeface="+mj-lt"/>
              <a:buAutoNum type="arabicPeriod" startAt="7"/>
            </a:pPr>
            <a:endParaRPr lang="en-GB" sz="1450" b="0" noProof="0" dirty="0">
              <a:latin typeface="Sofia Sans"/>
            </a:endParaRPr>
          </a:p>
          <a:p>
            <a:pPr marL="342900" indent="-342900">
              <a:buFont typeface="+mj-lt"/>
              <a:buAutoNum type="arabicPeriod" startAt="7"/>
            </a:pPr>
            <a:endParaRPr lang="en-GB" sz="1450" b="0" noProof="0" dirty="0">
              <a:latin typeface="Sofia Sans"/>
            </a:endParaRPr>
          </a:p>
          <a:p>
            <a:pPr marL="342900" indent="-342900">
              <a:buFont typeface="+mj-lt"/>
              <a:buAutoNum type="arabicPeriod" startAt="7"/>
            </a:pPr>
            <a:endParaRPr lang="en-GB" sz="1450" b="0" noProof="0" dirty="0">
              <a:latin typeface="Sofia Sans"/>
            </a:endParaRPr>
          </a:p>
        </p:txBody>
      </p:sp>
    </p:spTree>
    <p:extLst>
      <p:ext uri="{BB962C8B-B14F-4D97-AF65-F5344CB8AC3E}">
        <p14:creationId xmlns:p14="http://schemas.microsoft.com/office/powerpoint/2010/main" val="855508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1FD5-74D7-3DBD-AAD5-F2DE40DD9AC0}"/>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5683671F-B709-2722-C2D5-01D0DC15F77A}"/>
              </a:ext>
            </a:extLst>
          </p:cNvPr>
          <p:cNvSpPr>
            <a:spLocks noGrp="1"/>
          </p:cNvSpPr>
          <p:nvPr>
            <p:ph type="sldNum" sz="quarter" idx="4"/>
          </p:nvPr>
        </p:nvSpPr>
        <p:spPr/>
        <p:txBody>
          <a:bodyPr/>
          <a:lstStyle/>
          <a:p>
            <a:fld id="{DF7F771E-9578-4C04-B869-01AF4C35C90C}" type="slidenum">
              <a:rPr lang="en-GB" noProof="0" smtClean="0"/>
              <a:t>40</a:t>
            </a:fld>
            <a:endParaRPr lang="en-GB" noProof="0"/>
          </a:p>
        </p:txBody>
      </p:sp>
      <p:pic>
        <p:nvPicPr>
          <p:cNvPr id="25" name="Grafik 24" descr="Ein Bild, das Gerät, Messgerät, Text, Elektronik enthält.&#10;&#10;Automatisch generierte Beschreibung">
            <a:extLst>
              <a:ext uri="{FF2B5EF4-FFF2-40B4-BE49-F238E27FC236}">
                <a16:creationId xmlns:a16="http://schemas.microsoft.com/office/drawing/2014/main" id="{E600F2B1-58BA-E8D9-6E26-3DC46039CCDE}"/>
              </a:ext>
            </a:extLst>
          </p:cNvPr>
          <p:cNvPicPr>
            <a:picLocks noChangeAspect="1"/>
          </p:cNvPicPr>
          <p:nvPr/>
        </p:nvPicPr>
        <p:blipFill>
          <a:blip r:embed="rId2"/>
          <a:stretch>
            <a:fillRect/>
          </a:stretch>
        </p:blipFill>
        <p:spPr>
          <a:xfrm>
            <a:off x="1066438" y="1738800"/>
            <a:ext cx="2713400" cy="3617867"/>
          </a:xfrm>
          <a:prstGeom prst="rect">
            <a:avLst/>
          </a:prstGeom>
        </p:spPr>
      </p:pic>
      <p:pic>
        <p:nvPicPr>
          <p:cNvPr id="27" name="Grafik 26" descr="Ein Bild, das Text, Elektronik, Werkzeug, Messgerät enthält.&#10;&#10;Automatisch generierte Beschreibung">
            <a:extLst>
              <a:ext uri="{FF2B5EF4-FFF2-40B4-BE49-F238E27FC236}">
                <a16:creationId xmlns:a16="http://schemas.microsoft.com/office/drawing/2014/main" id="{D19E7DB3-6ED1-76D3-AC34-424507429107}"/>
              </a:ext>
            </a:extLst>
          </p:cNvPr>
          <p:cNvPicPr>
            <a:picLocks noChangeAspect="1"/>
          </p:cNvPicPr>
          <p:nvPr/>
        </p:nvPicPr>
        <p:blipFill>
          <a:blip r:embed="rId3"/>
          <a:stretch>
            <a:fillRect/>
          </a:stretch>
        </p:blipFill>
        <p:spPr>
          <a:xfrm>
            <a:off x="1066439" y="5987319"/>
            <a:ext cx="2713400" cy="3617868"/>
          </a:xfrm>
          <a:prstGeom prst="rect">
            <a:avLst/>
          </a:prstGeom>
        </p:spPr>
      </p:pic>
      <p:sp>
        <p:nvSpPr>
          <p:cNvPr id="28" name="TextBox 9">
            <a:extLst>
              <a:ext uri="{FF2B5EF4-FFF2-40B4-BE49-F238E27FC236}">
                <a16:creationId xmlns:a16="http://schemas.microsoft.com/office/drawing/2014/main" id="{E1A1C372-BFC7-A2DD-3B31-1DD6BBDA5EEF}"/>
              </a:ext>
            </a:extLst>
          </p:cNvPr>
          <p:cNvSpPr txBox="1"/>
          <p:nvPr/>
        </p:nvSpPr>
        <p:spPr>
          <a:xfrm>
            <a:off x="4413705" y="2437457"/>
            <a:ext cx="105334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latin typeface="Sofia Sans"/>
              </a:rPr>
              <a:t>S</a:t>
            </a:r>
            <a:r>
              <a:rPr lang="en-GB" noProof="0" dirty="0">
                <a:latin typeface="Sofia Sans"/>
              </a:rPr>
              <a:t>et it to AC </a:t>
            </a:r>
          </a:p>
        </p:txBody>
      </p:sp>
      <p:cxnSp>
        <p:nvCxnSpPr>
          <p:cNvPr id="29" name="Straight Arrow Connector 4">
            <a:extLst>
              <a:ext uri="{FF2B5EF4-FFF2-40B4-BE49-F238E27FC236}">
                <a16:creationId xmlns:a16="http://schemas.microsoft.com/office/drawing/2014/main" id="{7B429CE8-D605-57D1-7D72-E55B6953E635}"/>
              </a:ext>
            </a:extLst>
          </p:cNvPr>
          <p:cNvCxnSpPr>
            <a:cxnSpLocks/>
            <a:stCxn id="28" idx="1"/>
          </p:cNvCxnSpPr>
          <p:nvPr/>
        </p:nvCxnSpPr>
        <p:spPr>
          <a:xfrm flipH="1">
            <a:off x="2307772" y="2591346"/>
            <a:ext cx="2105933" cy="71406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9">
            <a:extLst>
              <a:ext uri="{FF2B5EF4-FFF2-40B4-BE49-F238E27FC236}">
                <a16:creationId xmlns:a16="http://schemas.microsoft.com/office/drawing/2014/main" id="{231C7506-DC96-5BA1-9803-0673B8B4F9B7}"/>
              </a:ext>
            </a:extLst>
          </p:cNvPr>
          <p:cNvSpPr txBox="1"/>
          <p:nvPr/>
        </p:nvSpPr>
        <p:spPr>
          <a:xfrm>
            <a:off x="4413705" y="6418302"/>
            <a:ext cx="231711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a:latin typeface="Sofia Sans"/>
              </a:rPr>
              <a:t>P</a:t>
            </a:r>
            <a:r>
              <a:rPr lang="en-GB" noProof="0" err="1">
                <a:latin typeface="Sofia Sans"/>
              </a:rPr>
              <a:t>ut</a:t>
            </a:r>
            <a:r>
              <a:rPr lang="en-GB" noProof="0">
                <a:latin typeface="Sofia Sans"/>
              </a:rPr>
              <a:t> in the cables like this</a:t>
            </a:r>
          </a:p>
        </p:txBody>
      </p:sp>
      <p:cxnSp>
        <p:nvCxnSpPr>
          <p:cNvPr id="10" name="Straight Arrow Connector 4">
            <a:extLst>
              <a:ext uri="{FF2B5EF4-FFF2-40B4-BE49-F238E27FC236}">
                <a16:creationId xmlns:a16="http://schemas.microsoft.com/office/drawing/2014/main" id="{62AB902F-883B-A93E-943D-380B8187DED4}"/>
              </a:ext>
            </a:extLst>
          </p:cNvPr>
          <p:cNvCxnSpPr>
            <a:cxnSpLocks/>
            <a:stCxn id="32" idx="1"/>
          </p:cNvCxnSpPr>
          <p:nvPr/>
        </p:nvCxnSpPr>
        <p:spPr>
          <a:xfrm flipH="1">
            <a:off x="3509554" y="6572191"/>
            <a:ext cx="904151" cy="104780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8916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3">
            <a:extLst>
              <a:ext uri="{FF2B5EF4-FFF2-40B4-BE49-F238E27FC236}">
                <a16:creationId xmlns:a16="http://schemas.microsoft.com/office/drawing/2014/main" id="{05F98F18-E122-0D7D-F115-4F947744DAF8}"/>
              </a:ext>
            </a:extLst>
          </p:cNvPr>
          <p:cNvSpPr txBox="1">
            <a:spLocks/>
          </p:cNvSpPr>
          <p:nvPr/>
        </p:nvSpPr>
        <p:spPr>
          <a:xfrm>
            <a:off x="719138" y="1948053"/>
            <a:ext cx="6321425" cy="16713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200" noProof="0" dirty="0"/>
              <a:t>It's time for you to gain hands-on experience with our wind turbine experiment kit! The kit replicates the basic functions of a real wind turbine and helps you to explore how it works and which factors influence its efficiency. </a:t>
            </a:r>
          </a:p>
          <a:p>
            <a:pPr marL="144000" indent="0">
              <a:lnSpc>
                <a:spcPct val="114999"/>
              </a:lnSpc>
            </a:pPr>
            <a:r>
              <a:rPr lang="en-US" sz="1200" noProof="0" dirty="0"/>
              <a:t>The picture below shows the different parts of the wind turbine and how to assemble it. Take a look before you start!</a:t>
            </a:r>
          </a:p>
          <a:p>
            <a:pPr marL="144000" indent="0">
              <a:lnSpc>
                <a:spcPct val="114999"/>
              </a:lnSpc>
            </a:pPr>
            <a:r>
              <a:rPr lang="en-US" sz="1200" noProof="0" dirty="0"/>
              <a:t>If you have any questions, don't hesitate to ask your teacher for help.</a:t>
            </a:r>
            <a:endParaRPr lang="en-GB" sz="1200" noProof="0" dirty="0"/>
          </a:p>
        </p:txBody>
      </p:sp>
      <p:sp>
        <p:nvSpPr>
          <p:cNvPr id="7" name="Foliennummernplatzhalter 6">
            <a:extLst>
              <a:ext uri="{FF2B5EF4-FFF2-40B4-BE49-F238E27FC236}">
                <a16:creationId xmlns:a16="http://schemas.microsoft.com/office/drawing/2014/main" id="{34DDB025-CF77-8FB2-D983-95379F7E3DA2}"/>
              </a:ext>
            </a:extLst>
          </p:cNvPr>
          <p:cNvSpPr>
            <a:spLocks noGrp="1"/>
          </p:cNvSpPr>
          <p:nvPr>
            <p:ph type="sldNum" sz="quarter" idx="10"/>
          </p:nvPr>
        </p:nvSpPr>
        <p:spPr/>
        <p:txBody>
          <a:bodyPr/>
          <a:lstStyle/>
          <a:p>
            <a:fld id="{DF7F771E-9578-4C04-B869-01AF4C35C90C}" type="slidenum">
              <a:rPr lang="en-GB" noProof="0" smtClean="0"/>
              <a:t>41</a:t>
            </a:fld>
            <a:endParaRPr lang="en-GB" noProof="0"/>
          </a:p>
        </p:txBody>
      </p:sp>
      <p:pic>
        <p:nvPicPr>
          <p:cNvPr id="3" name="Picture 2">
            <a:extLst>
              <a:ext uri="{FF2B5EF4-FFF2-40B4-BE49-F238E27FC236}">
                <a16:creationId xmlns:a16="http://schemas.microsoft.com/office/drawing/2014/main" id="{BE94C0F2-1A09-DDED-4BDE-B3708FCB8F1E}"/>
              </a:ext>
            </a:extLst>
          </p:cNvPr>
          <p:cNvPicPr>
            <a:picLocks noChangeAspect="1"/>
          </p:cNvPicPr>
          <p:nvPr/>
        </p:nvPicPr>
        <p:blipFill>
          <a:blip r:embed="rId2"/>
          <a:srcRect b="8832"/>
          <a:stretch/>
        </p:blipFill>
        <p:spPr>
          <a:xfrm>
            <a:off x="2314888" y="3778033"/>
            <a:ext cx="2567906" cy="3078201"/>
          </a:xfrm>
          <a:prstGeom prst="rect">
            <a:avLst/>
          </a:prstGeom>
        </p:spPr>
      </p:pic>
      <p:cxnSp>
        <p:nvCxnSpPr>
          <p:cNvPr id="5" name="Straight Arrow Connector 4">
            <a:extLst>
              <a:ext uri="{FF2B5EF4-FFF2-40B4-BE49-F238E27FC236}">
                <a16:creationId xmlns:a16="http://schemas.microsoft.com/office/drawing/2014/main" id="{E5329174-AC25-9D2F-5612-75B5A28BC1C2}"/>
              </a:ext>
            </a:extLst>
          </p:cNvPr>
          <p:cNvCxnSpPr>
            <a:cxnSpLocks/>
            <a:stCxn id="10" idx="1"/>
          </p:cNvCxnSpPr>
          <p:nvPr/>
        </p:nvCxnSpPr>
        <p:spPr>
          <a:xfrm flipH="1">
            <a:off x="4233789" y="4337130"/>
            <a:ext cx="843147" cy="73640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3DCE5C9-309C-EB72-77C5-9F9F7226E956}"/>
              </a:ext>
            </a:extLst>
          </p:cNvPr>
          <p:cNvSpPr txBox="1"/>
          <p:nvPr/>
        </p:nvSpPr>
        <p:spPr>
          <a:xfrm>
            <a:off x="5076936" y="4198630"/>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T</a:t>
            </a:r>
            <a:r>
              <a:rPr lang="en-GB" sz="1200" noProof="0" dirty="0">
                <a:latin typeface="Sofia Sans"/>
              </a:rPr>
              <a:t>ail fin </a:t>
            </a:r>
          </a:p>
        </p:txBody>
      </p:sp>
      <p:sp>
        <p:nvSpPr>
          <p:cNvPr id="11" name="TextBox 10">
            <a:extLst>
              <a:ext uri="{FF2B5EF4-FFF2-40B4-BE49-F238E27FC236}">
                <a16:creationId xmlns:a16="http://schemas.microsoft.com/office/drawing/2014/main" id="{15105156-EA42-4204-7CEA-2C34DDC9F965}"/>
              </a:ext>
            </a:extLst>
          </p:cNvPr>
          <p:cNvSpPr txBox="1"/>
          <p:nvPr/>
        </p:nvSpPr>
        <p:spPr>
          <a:xfrm>
            <a:off x="1329613" y="3956847"/>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noProof="0" dirty="0">
                <a:latin typeface="Sofia Sans"/>
              </a:rPr>
              <a:t>Blades</a:t>
            </a:r>
          </a:p>
        </p:txBody>
      </p:sp>
      <p:cxnSp>
        <p:nvCxnSpPr>
          <p:cNvPr id="13" name="Straight Arrow Connector 12">
            <a:extLst>
              <a:ext uri="{FF2B5EF4-FFF2-40B4-BE49-F238E27FC236}">
                <a16:creationId xmlns:a16="http://schemas.microsoft.com/office/drawing/2014/main" id="{C989B777-85BE-89BC-BAC0-E2ED8FDACA6A}"/>
              </a:ext>
            </a:extLst>
          </p:cNvPr>
          <p:cNvCxnSpPr>
            <a:cxnSpLocks/>
            <a:stCxn id="11" idx="3"/>
          </p:cNvCxnSpPr>
          <p:nvPr/>
        </p:nvCxnSpPr>
        <p:spPr>
          <a:xfrm>
            <a:off x="2045976" y="4095347"/>
            <a:ext cx="1143056" cy="46211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1E7AA92-D03B-CD29-C2DB-1BA4A448FFA5}"/>
              </a:ext>
            </a:extLst>
          </p:cNvPr>
          <p:cNvCxnSpPr>
            <a:cxnSpLocks/>
            <a:stCxn id="17" idx="3"/>
          </p:cNvCxnSpPr>
          <p:nvPr/>
        </p:nvCxnSpPr>
        <p:spPr>
          <a:xfrm>
            <a:off x="2045976" y="5662151"/>
            <a:ext cx="805617" cy="17933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134E2CA-A90D-40C8-A794-EA41F0EE2542}"/>
              </a:ext>
            </a:extLst>
          </p:cNvPr>
          <p:cNvCxnSpPr>
            <a:cxnSpLocks/>
            <a:stCxn id="16" idx="1"/>
          </p:cNvCxnSpPr>
          <p:nvPr/>
        </p:nvCxnSpPr>
        <p:spPr>
          <a:xfrm flipH="1" flipV="1">
            <a:off x="3757837" y="5440428"/>
            <a:ext cx="1324091" cy="59968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5575719-D2CF-61D5-E851-E011B87C7DE9}"/>
              </a:ext>
            </a:extLst>
          </p:cNvPr>
          <p:cNvSpPr txBox="1"/>
          <p:nvPr/>
        </p:nvSpPr>
        <p:spPr>
          <a:xfrm>
            <a:off x="5081928" y="5901616"/>
            <a:ext cx="99735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G</a:t>
            </a:r>
            <a:r>
              <a:rPr lang="en-GB" sz="1200" noProof="0" dirty="0" err="1">
                <a:latin typeface="Sofia Sans"/>
              </a:rPr>
              <a:t>enerator</a:t>
            </a:r>
            <a:endParaRPr lang="en-GB" sz="1200" noProof="0" dirty="0">
              <a:latin typeface="Sofia Sans"/>
            </a:endParaRPr>
          </a:p>
        </p:txBody>
      </p:sp>
      <p:sp>
        <p:nvSpPr>
          <p:cNvPr id="17" name="TextBox 16">
            <a:extLst>
              <a:ext uri="{FF2B5EF4-FFF2-40B4-BE49-F238E27FC236}">
                <a16:creationId xmlns:a16="http://schemas.microsoft.com/office/drawing/2014/main" id="{06BCB1F9-9216-DDAA-B85B-080B098309C0}"/>
              </a:ext>
            </a:extLst>
          </p:cNvPr>
          <p:cNvSpPr txBox="1"/>
          <p:nvPr/>
        </p:nvSpPr>
        <p:spPr>
          <a:xfrm>
            <a:off x="1329613" y="5523651"/>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C</a:t>
            </a:r>
            <a:r>
              <a:rPr lang="en-GB" sz="1200" noProof="0" dirty="0" err="1">
                <a:latin typeface="Sofia Sans"/>
              </a:rPr>
              <a:t>ables</a:t>
            </a:r>
            <a:r>
              <a:rPr lang="en-GB" sz="1200" noProof="0" dirty="0">
                <a:latin typeface="Sofia Sans"/>
              </a:rPr>
              <a:t> </a:t>
            </a:r>
          </a:p>
        </p:txBody>
      </p:sp>
      <p:cxnSp>
        <p:nvCxnSpPr>
          <p:cNvPr id="18" name="Straight Arrow Connector 17">
            <a:extLst>
              <a:ext uri="{FF2B5EF4-FFF2-40B4-BE49-F238E27FC236}">
                <a16:creationId xmlns:a16="http://schemas.microsoft.com/office/drawing/2014/main" id="{56E07693-FC01-2BF3-D345-A92FD5842606}"/>
              </a:ext>
            </a:extLst>
          </p:cNvPr>
          <p:cNvCxnSpPr>
            <a:cxnSpLocks/>
            <a:stCxn id="12" idx="1"/>
          </p:cNvCxnSpPr>
          <p:nvPr/>
        </p:nvCxnSpPr>
        <p:spPr>
          <a:xfrm flipH="1">
            <a:off x="3862181" y="5067013"/>
            <a:ext cx="1214755" cy="30379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9">
            <a:extLst>
              <a:ext uri="{FF2B5EF4-FFF2-40B4-BE49-F238E27FC236}">
                <a16:creationId xmlns:a16="http://schemas.microsoft.com/office/drawing/2014/main" id="{4365DAFF-7F0A-59DA-3DB5-ACA5E40F77D3}"/>
              </a:ext>
            </a:extLst>
          </p:cNvPr>
          <p:cNvSpPr txBox="1"/>
          <p:nvPr/>
        </p:nvSpPr>
        <p:spPr>
          <a:xfrm>
            <a:off x="5076936" y="4651514"/>
            <a:ext cx="135315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noProof="0" dirty="0">
                <a:latin typeface="Sofia Sans"/>
              </a:rPr>
              <a:t>Nacelle (hole can be used to fix generator with a screw)</a:t>
            </a:r>
          </a:p>
        </p:txBody>
      </p:sp>
      <p:sp>
        <p:nvSpPr>
          <p:cNvPr id="19" name="TextBox 9">
            <a:extLst>
              <a:ext uri="{FF2B5EF4-FFF2-40B4-BE49-F238E27FC236}">
                <a16:creationId xmlns:a16="http://schemas.microsoft.com/office/drawing/2014/main" id="{E5323FBE-D6B8-546D-A78E-764727B6D58A}"/>
              </a:ext>
            </a:extLst>
          </p:cNvPr>
          <p:cNvSpPr txBox="1"/>
          <p:nvPr/>
        </p:nvSpPr>
        <p:spPr>
          <a:xfrm>
            <a:off x="5076936" y="6333335"/>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T</a:t>
            </a:r>
            <a:r>
              <a:rPr lang="en-GB" sz="1200" noProof="0" dirty="0" err="1">
                <a:latin typeface="Sofia Sans"/>
              </a:rPr>
              <a:t>ower</a:t>
            </a:r>
            <a:endParaRPr lang="en-GB" sz="1200" noProof="0" dirty="0">
              <a:latin typeface="Sofia Sans"/>
            </a:endParaRPr>
          </a:p>
        </p:txBody>
      </p:sp>
      <p:cxnSp>
        <p:nvCxnSpPr>
          <p:cNvPr id="20" name="Straight Arrow Connector 17">
            <a:extLst>
              <a:ext uri="{FF2B5EF4-FFF2-40B4-BE49-F238E27FC236}">
                <a16:creationId xmlns:a16="http://schemas.microsoft.com/office/drawing/2014/main" id="{4DA86BB1-2E39-F0AE-78D3-448D2B83EE74}"/>
              </a:ext>
            </a:extLst>
          </p:cNvPr>
          <p:cNvCxnSpPr>
            <a:cxnSpLocks/>
            <a:stCxn id="19" idx="1"/>
          </p:cNvCxnSpPr>
          <p:nvPr/>
        </p:nvCxnSpPr>
        <p:spPr>
          <a:xfrm flipH="1" flipV="1">
            <a:off x="3757837" y="6339381"/>
            <a:ext cx="1319099" cy="13245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Untertitel 3">
            <a:extLst>
              <a:ext uri="{FF2B5EF4-FFF2-40B4-BE49-F238E27FC236}">
                <a16:creationId xmlns:a16="http://schemas.microsoft.com/office/drawing/2014/main" id="{734D938D-F272-CA10-147D-DE3A60800377}"/>
              </a:ext>
            </a:extLst>
          </p:cNvPr>
          <p:cNvSpPr txBox="1">
            <a:spLocks/>
          </p:cNvSpPr>
          <p:nvPr/>
        </p:nvSpPr>
        <p:spPr>
          <a:xfrm>
            <a:off x="719138" y="7568710"/>
            <a:ext cx="2899273" cy="7382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71450" indent="0">
              <a:lnSpc>
                <a:spcPct val="114999"/>
              </a:lnSpc>
            </a:pPr>
            <a:r>
              <a:rPr lang="en-US" sz="1200" noProof="0" dirty="0"/>
              <a:t>You can adjust the blade angles, as shown in the picture. For most experiments, we’ll use the blades in a flat position—unless stated otherwise.</a:t>
            </a:r>
            <a:endParaRPr lang="en-GB" sz="1200" b="1" i="1" noProof="0" dirty="0"/>
          </a:p>
        </p:txBody>
      </p:sp>
      <p:pic>
        <p:nvPicPr>
          <p:cNvPr id="35" name="Grafik 34" descr="Ein Bild, das Werkzeug, Im Haus, Boden, hölzern enthält.&#10;&#10;Automatisch generierte Beschreibung">
            <a:extLst>
              <a:ext uri="{FF2B5EF4-FFF2-40B4-BE49-F238E27FC236}">
                <a16:creationId xmlns:a16="http://schemas.microsoft.com/office/drawing/2014/main" id="{58EABD8B-D3AA-061C-3201-28A0B4F28C75}"/>
              </a:ext>
            </a:extLst>
          </p:cNvPr>
          <p:cNvPicPr>
            <a:picLocks noChangeAspect="1"/>
          </p:cNvPicPr>
          <p:nvPr/>
        </p:nvPicPr>
        <p:blipFill>
          <a:blip r:embed="rId3"/>
          <a:srcRect l="519" t="9889" r="-519" b="26058"/>
          <a:stretch/>
        </p:blipFill>
        <p:spPr>
          <a:xfrm>
            <a:off x="4026823" y="7467942"/>
            <a:ext cx="2027303" cy="2538207"/>
          </a:xfrm>
          <a:prstGeom prst="rect">
            <a:avLst/>
          </a:prstGeom>
        </p:spPr>
      </p:pic>
      <p:sp>
        <p:nvSpPr>
          <p:cNvPr id="40" name="TextBox 9">
            <a:extLst>
              <a:ext uri="{FF2B5EF4-FFF2-40B4-BE49-F238E27FC236}">
                <a16:creationId xmlns:a16="http://schemas.microsoft.com/office/drawing/2014/main" id="{4E6D9957-4097-7A69-2FB5-866BD7458012}"/>
              </a:ext>
            </a:extLst>
          </p:cNvPr>
          <p:cNvSpPr txBox="1"/>
          <p:nvPr/>
        </p:nvSpPr>
        <p:spPr>
          <a:xfrm>
            <a:off x="6145900" y="7095361"/>
            <a:ext cx="71636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Angle of 90° </a:t>
            </a:r>
            <a:endParaRPr lang="en-GB" sz="1200" noProof="0" dirty="0">
              <a:latin typeface="Sofia Sans"/>
            </a:endParaRPr>
          </a:p>
        </p:txBody>
      </p:sp>
      <p:cxnSp>
        <p:nvCxnSpPr>
          <p:cNvPr id="41" name="Straight Arrow Connector 17">
            <a:extLst>
              <a:ext uri="{FF2B5EF4-FFF2-40B4-BE49-F238E27FC236}">
                <a16:creationId xmlns:a16="http://schemas.microsoft.com/office/drawing/2014/main" id="{9756E366-3231-05FA-73B2-1B930B79D8DA}"/>
              </a:ext>
            </a:extLst>
          </p:cNvPr>
          <p:cNvCxnSpPr>
            <a:cxnSpLocks/>
            <a:stCxn id="40" idx="1"/>
          </p:cNvCxnSpPr>
          <p:nvPr/>
        </p:nvCxnSpPr>
        <p:spPr>
          <a:xfrm flipH="1">
            <a:off x="5116816" y="7326194"/>
            <a:ext cx="1029084" cy="93452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9">
            <a:extLst>
              <a:ext uri="{FF2B5EF4-FFF2-40B4-BE49-F238E27FC236}">
                <a16:creationId xmlns:a16="http://schemas.microsoft.com/office/drawing/2014/main" id="{28641160-0E33-2B23-29D4-77AE5F363B3B}"/>
              </a:ext>
            </a:extLst>
          </p:cNvPr>
          <p:cNvSpPr txBox="1"/>
          <p:nvPr/>
        </p:nvSpPr>
        <p:spPr>
          <a:xfrm>
            <a:off x="6145900" y="8682032"/>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Flat</a:t>
            </a:r>
            <a:endParaRPr lang="en-GB" sz="1200" noProof="0" dirty="0">
              <a:latin typeface="Sofia Sans"/>
            </a:endParaRPr>
          </a:p>
        </p:txBody>
      </p:sp>
      <p:cxnSp>
        <p:nvCxnSpPr>
          <p:cNvPr id="45" name="Straight Arrow Connector 17">
            <a:extLst>
              <a:ext uri="{FF2B5EF4-FFF2-40B4-BE49-F238E27FC236}">
                <a16:creationId xmlns:a16="http://schemas.microsoft.com/office/drawing/2014/main" id="{82ECCD0D-DF02-111E-4657-E1D264A1D881}"/>
              </a:ext>
            </a:extLst>
          </p:cNvPr>
          <p:cNvCxnSpPr>
            <a:cxnSpLocks/>
            <a:stCxn id="44" idx="1"/>
          </p:cNvCxnSpPr>
          <p:nvPr/>
        </p:nvCxnSpPr>
        <p:spPr>
          <a:xfrm flipH="1">
            <a:off x="5656217" y="8820532"/>
            <a:ext cx="489683" cy="25911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9">
            <a:extLst>
              <a:ext uri="{FF2B5EF4-FFF2-40B4-BE49-F238E27FC236}">
                <a16:creationId xmlns:a16="http://schemas.microsoft.com/office/drawing/2014/main" id="{16A49EC7-8ED2-8493-61B8-FDA4A81843C5}"/>
              </a:ext>
            </a:extLst>
          </p:cNvPr>
          <p:cNvSpPr txBox="1"/>
          <p:nvPr/>
        </p:nvSpPr>
        <p:spPr>
          <a:xfrm>
            <a:off x="2902048" y="9081110"/>
            <a:ext cx="71636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Angle of 45°</a:t>
            </a:r>
          </a:p>
        </p:txBody>
      </p:sp>
      <p:cxnSp>
        <p:nvCxnSpPr>
          <p:cNvPr id="51" name="Straight Arrow Connector 17">
            <a:extLst>
              <a:ext uri="{FF2B5EF4-FFF2-40B4-BE49-F238E27FC236}">
                <a16:creationId xmlns:a16="http://schemas.microsoft.com/office/drawing/2014/main" id="{E8170481-1D1B-7FA7-8D9B-9D4239D4A81B}"/>
              </a:ext>
            </a:extLst>
          </p:cNvPr>
          <p:cNvCxnSpPr>
            <a:cxnSpLocks/>
          </p:cNvCxnSpPr>
          <p:nvPr/>
        </p:nvCxnSpPr>
        <p:spPr>
          <a:xfrm flipV="1">
            <a:off x="3618411" y="9215846"/>
            <a:ext cx="685800" cy="15291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itel 1">
            <a:extLst>
              <a:ext uri="{FF2B5EF4-FFF2-40B4-BE49-F238E27FC236}">
                <a16:creationId xmlns:a16="http://schemas.microsoft.com/office/drawing/2014/main" id="{0B775031-F62F-2AEE-99B3-CF324293D5D2}"/>
              </a:ext>
            </a:extLst>
          </p:cNvPr>
          <p:cNvSpPr>
            <a:spLocks noGrp="1"/>
          </p:cNvSpPr>
          <p:nvPr>
            <p:ph type="title"/>
          </p:nvPr>
        </p:nvSpPr>
        <p:spPr>
          <a:xfrm>
            <a:off x="719138" y="1302973"/>
            <a:ext cx="6369175" cy="1190474"/>
          </a:xfrm>
        </p:spPr>
        <p:txBody>
          <a:bodyPr/>
          <a:lstStyle/>
          <a:p>
            <a:r>
              <a:rPr lang="en-GB" dirty="0"/>
              <a:t>3</a:t>
            </a:r>
            <a:r>
              <a:rPr lang="en-GB" noProof="0" dirty="0"/>
              <a:t>. How to use the wind turbine kit</a:t>
            </a:r>
          </a:p>
        </p:txBody>
      </p:sp>
    </p:spTree>
    <p:extLst>
      <p:ext uri="{BB962C8B-B14F-4D97-AF65-F5344CB8AC3E}">
        <p14:creationId xmlns:p14="http://schemas.microsoft.com/office/powerpoint/2010/main" val="21615426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E08FECA-0BAF-9D0E-C810-D24DA73619EB}"/>
              </a:ext>
            </a:extLst>
          </p:cNvPr>
          <p:cNvSpPr>
            <a:spLocks noGrp="1"/>
          </p:cNvSpPr>
          <p:nvPr>
            <p:ph type="sldNum" sz="quarter" idx="4"/>
          </p:nvPr>
        </p:nvSpPr>
        <p:spPr>
          <a:xfrm>
            <a:off x="5371664" y="10139358"/>
            <a:ext cx="1701800" cy="569913"/>
          </a:xfrm>
        </p:spPr>
        <p:txBody>
          <a:bodyPr/>
          <a:lstStyle/>
          <a:p>
            <a:fld id="{DF7F771E-9578-4C04-B869-01AF4C35C90C}" type="slidenum">
              <a:rPr lang="en-GB" noProof="0" smtClean="0"/>
              <a:t>42</a:t>
            </a:fld>
            <a:endParaRPr lang="en-GB" noProof="0"/>
          </a:p>
        </p:txBody>
      </p:sp>
      <p:pic>
        <p:nvPicPr>
          <p:cNvPr id="12" name="Grafik 11" descr="All You Want to Know about Kite Surfing - SportyciouS">
            <a:extLst>
              <a:ext uri="{FF2B5EF4-FFF2-40B4-BE49-F238E27FC236}">
                <a16:creationId xmlns:a16="http://schemas.microsoft.com/office/drawing/2014/main" id="{E58B577C-CAF2-2048-5111-DEEFDA708E31}"/>
              </a:ext>
            </a:extLst>
          </p:cNvPr>
          <p:cNvPicPr>
            <a:picLocks noChangeAspect="1"/>
          </p:cNvPicPr>
          <p:nvPr/>
        </p:nvPicPr>
        <p:blipFill>
          <a:blip r:embed="rId2"/>
          <a:stretch>
            <a:fillRect/>
          </a:stretch>
        </p:blipFill>
        <p:spPr>
          <a:xfrm>
            <a:off x="970808" y="4712886"/>
            <a:ext cx="2835177" cy="1865484"/>
          </a:xfrm>
          <a:prstGeom prst="rect">
            <a:avLst/>
          </a:prstGeom>
        </p:spPr>
      </p:pic>
      <p:pic>
        <p:nvPicPr>
          <p:cNvPr id="13" name="Grafik 12" descr="70+ Fotos, Bilder und lizenzfreie Bilder zu Windsack Schlaff - iStock">
            <a:extLst>
              <a:ext uri="{FF2B5EF4-FFF2-40B4-BE49-F238E27FC236}">
                <a16:creationId xmlns:a16="http://schemas.microsoft.com/office/drawing/2014/main" id="{50D6FC7E-BFA5-8D16-02AC-4BC9BC529B47}"/>
              </a:ext>
            </a:extLst>
          </p:cNvPr>
          <p:cNvPicPr>
            <a:picLocks noChangeAspect="1"/>
          </p:cNvPicPr>
          <p:nvPr/>
        </p:nvPicPr>
        <p:blipFill>
          <a:blip r:embed="rId3"/>
          <a:srcRect b="24548"/>
          <a:stretch/>
        </p:blipFill>
        <p:spPr>
          <a:xfrm>
            <a:off x="4263880" y="4712886"/>
            <a:ext cx="1958684" cy="1871772"/>
          </a:xfrm>
          <a:prstGeom prst="rect">
            <a:avLst/>
          </a:prstGeom>
        </p:spPr>
      </p:pic>
      <p:pic>
        <p:nvPicPr>
          <p:cNvPr id="15" name="Grafik 14" descr="Flygande Drake - Presenttips, lek &amp; accessoarer - BARN">
            <a:extLst>
              <a:ext uri="{FF2B5EF4-FFF2-40B4-BE49-F238E27FC236}">
                <a16:creationId xmlns:a16="http://schemas.microsoft.com/office/drawing/2014/main" id="{96986701-2623-81B2-9EE0-88CBD377EF04}"/>
              </a:ext>
            </a:extLst>
          </p:cNvPr>
          <p:cNvPicPr>
            <a:picLocks noChangeAspect="1"/>
          </p:cNvPicPr>
          <p:nvPr/>
        </p:nvPicPr>
        <p:blipFill>
          <a:blip r:embed="rId4"/>
          <a:stretch>
            <a:fillRect/>
          </a:stretch>
        </p:blipFill>
        <p:spPr>
          <a:xfrm>
            <a:off x="2562874" y="6798165"/>
            <a:ext cx="2433925" cy="2433925"/>
          </a:xfrm>
          <a:prstGeom prst="rect">
            <a:avLst/>
          </a:prstGeom>
        </p:spPr>
      </p:pic>
      <p:cxnSp>
        <p:nvCxnSpPr>
          <p:cNvPr id="20" name="Gerade Verbindung mit Pfeil 19">
            <a:extLst>
              <a:ext uri="{FF2B5EF4-FFF2-40B4-BE49-F238E27FC236}">
                <a16:creationId xmlns:a16="http://schemas.microsoft.com/office/drawing/2014/main" id="{71B10211-6E0A-B76D-CAAD-EF889FF33EC3}"/>
              </a:ext>
            </a:extLst>
          </p:cNvPr>
          <p:cNvCxnSpPr>
            <a:cxnSpLocks/>
          </p:cNvCxnSpPr>
          <p:nvPr/>
        </p:nvCxnSpPr>
        <p:spPr>
          <a:xfrm flipH="1" flipV="1">
            <a:off x="2523476" y="5250521"/>
            <a:ext cx="414191" cy="3951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9D2EFFD8-D8C8-9661-4999-9B5BF07DDD95}"/>
              </a:ext>
            </a:extLst>
          </p:cNvPr>
          <p:cNvCxnSpPr>
            <a:cxnSpLocks/>
          </p:cNvCxnSpPr>
          <p:nvPr/>
        </p:nvCxnSpPr>
        <p:spPr>
          <a:xfrm>
            <a:off x="4071885" y="5353321"/>
            <a:ext cx="696525" cy="1069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29F35381-D905-69F2-AC17-476B748F005A}"/>
              </a:ext>
            </a:extLst>
          </p:cNvPr>
          <p:cNvCxnSpPr>
            <a:cxnSpLocks/>
          </p:cNvCxnSpPr>
          <p:nvPr/>
        </p:nvCxnSpPr>
        <p:spPr>
          <a:xfrm flipH="1" flipV="1">
            <a:off x="3781766" y="7869050"/>
            <a:ext cx="502862" cy="3871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Untertitel 5">
            <a:extLst>
              <a:ext uri="{FF2B5EF4-FFF2-40B4-BE49-F238E27FC236}">
                <a16:creationId xmlns:a16="http://schemas.microsoft.com/office/drawing/2014/main" id="{A91118FE-A261-8DE7-223C-62E76010DC92}"/>
              </a:ext>
            </a:extLst>
          </p:cNvPr>
          <p:cNvSpPr txBox="1">
            <a:spLocks/>
          </p:cNvSpPr>
          <p:nvPr/>
        </p:nvSpPr>
        <p:spPr>
          <a:xfrm>
            <a:off x="1188319" y="208509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0" name="Ellipse 9">
            <a:extLst>
              <a:ext uri="{FF2B5EF4-FFF2-40B4-BE49-F238E27FC236}">
                <a16:creationId xmlns:a16="http://schemas.microsoft.com/office/drawing/2014/main" id="{C0B36AA4-1247-BF13-E0C0-9C9E8E9EA4A7}"/>
              </a:ext>
            </a:extLst>
          </p:cNvPr>
          <p:cNvSpPr>
            <a:spLocks noChangeAspect="1"/>
          </p:cNvSpPr>
          <p:nvPr/>
        </p:nvSpPr>
        <p:spPr>
          <a:xfrm>
            <a:off x="769678" y="207916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1" name="Grafik 10" descr="Skizze mit einfarbiger Füllung">
            <a:extLst>
              <a:ext uri="{FF2B5EF4-FFF2-40B4-BE49-F238E27FC236}">
                <a16:creationId xmlns:a16="http://schemas.microsoft.com/office/drawing/2014/main" id="{74BB7865-3B38-E6DA-9D02-1723462AD9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4154" y="2142895"/>
            <a:ext cx="379044" cy="379044"/>
          </a:xfrm>
          <a:prstGeom prst="rect">
            <a:avLst/>
          </a:prstGeom>
        </p:spPr>
      </p:pic>
      <p:sp>
        <p:nvSpPr>
          <p:cNvPr id="16" name="Untertitel 5">
            <a:extLst>
              <a:ext uri="{FF2B5EF4-FFF2-40B4-BE49-F238E27FC236}">
                <a16:creationId xmlns:a16="http://schemas.microsoft.com/office/drawing/2014/main" id="{59FE6BE6-CBD9-013E-6F22-2A3BAA2545A5}"/>
              </a:ext>
            </a:extLst>
          </p:cNvPr>
          <p:cNvSpPr txBox="1">
            <a:spLocks/>
          </p:cNvSpPr>
          <p:nvPr/>
        </p:nvSpPr>
        <p:spPr>
          <a:xfrm>
            <a:off x="758287" y="267405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17" name="Untertitel 3">
            <a:extLst>
              <a:ext uri="{FF2B5EF4-FFF2-40B4-BE49-F238E27FC236}">
                <a16:creationId xmlns:a16="http://schemas.microsoft.com/office/drawing/2014/main" id="{BDC8A6CB-F00E-F93D-737E-1C1FD241D494}"/>
              </a:ext>
            </a:extLst>
          </p:cNvPr>
          <p:cNvSpPr txBox="1">
            <a:spLocks/>
          </p:cNvSpPr>
          <p:nvPr/>
        </p:nvSpPr>
        <p:spPr>
          <a:xfrm>
            <a:off x="760782" y="3094802"/>
            <a:ext cx="6023346" cy="14973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nSpc>
                <a:spcPct val="114999"/>
              </a:lnSpc>
              <a:buClr>
                <a:srgbClr val="A15315"/>
              </a:buClr>
            </a:pPr>
            <a:r>
              <a:rPr lang="en-US" sz="1200" noProof="0" dirty="0"/>
              <a:t>Look at the pictures below and draw the arrows of the wind direction so that the objects move as fast or as well as possible!</a:t>
            </a:r>
          </a:p>
          <a:p>
            <a:pPr marL="139700" indent="0">
              <a:lnSpc>
                <a:spcPct val="114999"/>
              </a:lnSpc>
              <a:buClr>
                <a:srgbClr val="A15315"/>
              </a:buClr>
            </a:pPr>
            <a:endParaRPr lang="en-US" sz="1200" noProof="0" dirty="0"/>
          </a:p>
          <a:p>
            <a:pPr marL="139700" indent="0">
              <a:lnSpc>
                <a:spcPct val="114999"/>
              </a:lnSpc>
              <a:buClr>
                <a:srgbClr val="A15315"/>
              </a:buClr>
            </a:pPr>
            <a:r>
              <a:rPr lang="en-US" sz="1200" noProof="0" dirty="0"/>
              <a:t>What do they all have in common?</a:t>
            </a:r>
          </a:p>
          <a:p>
            <a:pPr marL="139700" indent="0">
              <a:lnSpc>
                <a:spcPct val="114999"/>
              </a:lnSpc>
              <a:buClr>
                <a:srgbClr val="A15315"/>
              </a:buClr>
            </a:pPr>
            <a:endParaRPr lang="en-US" sz="1200" noProof="0" dirty="0"/>
          </a:p>
          <a:p>
            <a:pPr marL="139700" indent="0">
              <a:lnSpc>
                <a:spcPct val="114999"/>
              </a:lnSpc>
              <a:buClr>
                <a:srgbClr val="A15315"/>
              </a:buClr>
            </a:pPr>
            <a:r>
              <a:rPr lang="en-US" sz="1200" noProof="0" dirty="0"/>
              <a:t>If you are finished, compare your answers in a group of 3-4 students. </a:t>
            </a:r>
          </a:p>
          <a:p>
            <a:pPr marL="139700" indent="0">
              <a:lnSpc>
                <a:spcPct val="114999"/>
              </a:lnSpc>
            </a:pPr>
            <a:endParaRPr lang="en-GB" sz="1200" noProof="0" dirty="0"/>
          </a:p>
        </p:txBody>
      </p:sp>
      <p:sp>
        <p:nvSpPr>
          <p:cNvPr id="33" name="Titel 1">
            <a:extLst>
              <a:ext uri="{FF2B5EF4-FFF2-40B4-BE49-F238E27FC236}">
                <a16:creationId xmlns:a16="http://schemas.microsoft.com/office/drawing/2014/main" id="{88D91EA2-74A1-2DB0-57A7-3457990195EF}"/>
              </a:ext>
            </a:extLst>
          </p:cNvPr>
          <p:cNvSpPr>
            <a:spLocks noGrp="1"/>
          </p:cNvSpPr>
          <p:nvPr>
            <p:ph type="title"/>
          </p:nvPr>
        </p:nvSpPr>
        <p:spPr>
          <a:xfrm>
            <a:off x="719138" y="1296867"/>
            <a:ext cx="6380336" cy="672245"/>
          </a:xfrm>
        </p:spPr>
        <p:txBody>
          <a:bodyPr/>
          <a:lstStyle/>
          <a:p>
            <a:r>
              <a:rPr lang="en-GB" noProof="0" dirty="0"/>
              <a:t>4. Changing direction of wind</a:t>
            </a:r>
          </a:p>
        </p:txBody>
      </p:sp>
      <p:sp>
        <p:nvSpPr>
          <p:cNvPr id="2" name="Textfeld 11">
            <a:extLst>
              <a:ext uri="{FF2B5EF4-FFF2-40B4-BE49-F238E27FC236}">
                <a16:creationId xmlns:a16="http://schemas.microsoft.com/office/drawing/2014/main" id="{5A8A5A9A-0737-638D-FAF8-54A054A85B51}"/>
              </a:ext>
            </a:extLst>
          </p:cNvPr>
          <p:cNvSpPr txBox="1"/>
          <p:nvPr/>
        </p:nvSpPr>
        <p:spPr>
          <a:xfrm>
            <a:off x="970808" y="9546478"/>
            <a:ext cx="5461095" cy="34832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dirty="0">
                <a:solidFill>
                  <a:srgbClr val="FF0000"/>
                </a:solidFill>
                <a:effectLst/>
                <a:latin typeface="Sofia Sans"/>
                <a:ea typeface="Times New Roman" panose="02020603050405020304" pitchFamily="18" charset="0"/>
              </a:rPr>
              <a:t>Direct wind has most power to move the objects. </a:t>
            </a:r>
          </a:p>
        </p:txBody>
      </p:sp>
    </p:spTree>
    <p:extLst>
      <p:ext uri="{BB962C8B-B14F-4D97-AF65-F5344CB8AC3E}">
        <p14:creationId xmlns:p14="http://schemas.microsoft.com/office/powerpoint/2010/main" val="3807813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68AF-DFC4-87F3-D4F3-113595ABE75D}"/>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E720F74-6C21-BE3B-855D-75E2441BE21D}"/>
              </a:ext>
            </a:extLst>
          </p:cNvPr>
          <p:cNvSpPr>
            <a:spLocks noGrp="1"/>
          </p:cNvSpPr>
          <p:nvPr>
            <p:ph type="sldNum" sz="quarter" idx="4"/>
          </p:nvPr>
        </p:nvSpPr>
        <p:spPr/>
        <p:txBody>
          <a:bodyPr/>
          <a:lstStyle/>
          <a:p>
            <a:fld id="{DF7F771E-9578-4C04-B869-01AF4C35C90C}" type="slidenum">
              <a:rPr lang="en-GB" noProof="0" smtClean="0"/>
              <a:t>43</a:t>
            </a:fld>
            <a:endParaRPr lang="en-GB" noProof="0"/>
          </a:p>
        </p:txBody>
      </p:sp>
      <p:sp>
        <p:nvSpPr>
          <p:cNvPr id="7" name="Untertitel 3">
            <a:extLst>
              <a:ext uri="{FF2B5EF4-FFF2-40B4-BE49-F238E27FC236}">
                <a16:creationId xmlns:a16="http://schemas.microsoft.com/office/drawing/2014/main" id="{07040397-228E-6D70-AECA-AD5770BA7339}"/>
              </a:ext>
            </a:extLst>
          </p:cNvPr>
          <p:cNvSpPr txBox="1">
            <a:spLocks/>
          </p:cNvSpPr>
          <p:nvPr/>
        </p:nvSpPr>
        <p:spPr>
          <a:xfrm>
            <a:off x="741493" y="3726518"/>
            <a:ext cx="6016494" cy="31350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conduct the experiment</a:t>
            </a:r>
          </a:p>
          <a:p>
            <a:pPr algn="just">
              <a:lnSpc>
                <a:spcPct val="114999"/>
              </a:lnSpc>
            </a:pPr>
            <a:endParaRPr lang="en-GB" sz="1200" b="1" noProof="0" dirty="0"/>
          </a:p>
          <a:p>
            <a:pPr algn="just">
              <a:buAutoNum type="arabicPeriod"/>
            </a:pPr>
            <a:r>
              <a:rPr lang="en-GB" sz="1200" noProof="0" dirty="0"/>
              <a:t>Take your wind set and prepare it so that it contains three blades and place it in one position. Make sure that this position remains the same to ensure that the results are not affected by a different distance from the fan.</a:t>
            </a:r>
          </a:p>
          <a:p>
            <a:pPr algn="just">
              <a:buAutoNum type="arabicPeriod"/>
            </a:pPr>
            <a:r>
              <a:rPr lang="en-GB" sz="1200" noProof="0" dirty="0"/>
              <a:t>Place your wind set in front of the fan. Attach the nacelle with a screw (there are various holes you can use). The angle of the blades should be flat. </a:t>
            </a:r>
          </a:p>
          <a:p>
            <a:pPr algn="just">
              <a:buAutoNum type="arabicPeriod"/>
            </a:pPr>
            <a:r>
              <a:rPr lang="en-GB" sz="1200" noProof="0" dirty="0"/>
              <a:t>Now measure the voltage with the </a:t>
            </a:r>
            <a:r>
              <a:rPr lang="en-GB" sz="1200" noProof="0" dirty="0" err="1"/>
              <a:t>multimeter</a:t>
            </a:r>
            <a:r>
              <a:rPr lang="en-GB" sz="1200" noProof="0" dirty="0"/>
              <a:t> for low, medium and high speed with your fan for the following directions (maybe give a first push): </a:t>
            </a:r>
          </a:p>
          <a:p>
            <a:pPr lvl="1" algn="just">
              <a:lnSpc>
                <a:spcPct val="114999"/>
              </a:lnSpc>
              <a:buFont typeface="Courier New"/>
              <a:buChar char="o"/>
            </a:pPr>
            <a:r>
              <a:rPr lang="en-GB" sz="1200" noProof="0" dirty="0"/>
              <a:t>Front view</a:t>
            </a:r>
          </a:p>
          <a:p>
            <a:pPr lvl="1" algn="just">
              <a:lnSpc>
                <a:spcPct val="114999"/>
              </a:lnSpc>
              <a:buFont typeface="Courier New"/>
              <a:buChar char="o"/>
            </a:pPr>
            <a:r>
              <a:rPr lang="en-GB" sz="1200" noProof="0" dirty="0"/>
              <a:t>Turn it to the side (45°)</a:t>
            </a:r>
          </a:p>
          <a:p>
            <a:pPr lvl="1" algn="just">
              <a:lnSpc>
                <a:spcPct val="114999"/>
              </a:lnSpc>
              <a:buClr>
                <a:srgbClr val="333333"/>
              </a:buClr>
              <a:buFont typeface="Courier New"/>
              <a:buChar char="o"/>
            </a:pPr>
            <a:r>
              <a:rPr lang="en-GB" sz="1200" noProof="0" dirty="0"/>
              <a:t>Turn it to the side (90°)</a:t>
            </a:r>
          </a:p>
          <a:p>
            <a:pPr algn="just">
              <a:lnSpc>
                <a:spcPct val="114999"/>
              </a:lnSpc>
              <a:buAutoNum type="arabicPeriod"/>
            </a:pPr>
            <a:r>
              <a:rPr lang="en-GB" sz="1200" noProof="0" dirty="0"/>
              <a:t>Look at the pictures below to see what the directions mean and try the same with your wind kit. </a:t>
            </a:r>
          </a:p>
          <a:p>
            <a:pPr algn="just">
              <a:lnSpc>
                <a:spcPct val="114999"/>
              </a:lnSpc>
              <a:buAutoNum type="arabicPeriod"/>
            </a:pPr>
            <a:r>
              <a:rPr lang="en-GB" sz="1200" noProof="0" dirty="0"/>
              <a:t>Report your answers in the observation table.</a:t>
            </a:r>
          </a:p>
        </p:txBody>
      </p:sp>
      <p:sp>
        <p:nvSpPr>
          <p:cNvPr id="17" name="Untertitel 3">
            <a:extLst>
              <a:ext uri="{FF2B5EF4-FFF2-40B4-BE49-F238E27FC236}">
                <a16:creationId xmlns:a16="http://schemas.microsoft.com/office/drawing/2014/main" id="{95B4223F-CAFF-D66C-4B7C-D1F3986CE40C}"/>
              </a:ext>
            </a:extLst>
          </p:cNvPr>
          <p:cNvSpPr txBox="1">
            <a:spLocks/>
          </p:cNvSpPr>
          <p:nvPr/>
        </p:nvSpPr>
        <p:spPr>
          <a:xfrm>
            <a:off x="719137" y="7402827"/>
            <a:ext cx="6038849" cy="4801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14300" indent="0">
              <a:lnSpc>
                <a:spcPct val="114999"/>
              </a:lnSpc>
            </a:pPr>
            <a:r>
              <a:rPr lang="en-GB" sz="1200" b="1" noProof="0">
                <a:solidFill>
                  <a:srgbClr val="333333"/>
                </a:solidFill>
              </a:rPr>
              <a:t>Look at the pictures on the next page to see what the different angles mean in execution.</a:t>
            </a:r>
            <a:endParaRPr lang="en-GB" sz="1200" b="1" noProof="0">
              <a:solidFill>
                <a:srgbClr val="FF0000"/>
              </a:solidFill>
            </a:endParaRPr>
          </a:p>
          <a:p>
            <a:pPr>
              <a:lnSpc>
                <a:spcPct val="114999"/>
              </a:lnSpc>
            </a:pPr>
            <a:endParaRPr lang="en-GB" sz="1200" b="1" noProof="0"/>
          </a:p>
        </p:txBody>
      </p:sp>
      <p:sp>
        <p:nvSpPr>
          <p:cNvPr id="29" name="Untertitel 5">
            <a:extLst>
              <a:ext uri="{FF2B5EF4-FFF2-40B4-BE49-F238E27FC236}">
                <a16:creationId xmlns:a16="http://schemas.microsoft.com/office/drawing/2014/main" id="{88B1E8D9-37D3-3F1F-DE2A-EDE78129D40E}"/>
              </a:ext>
            </a:extLst>
          </p:cNvPr>
          <p:cNvSpPr txBox="1">
            <a:spLocks/>
          </p:cNvSpPr>
          <p:nvPr/>
        </p:nvSpPr>
        <p:spPr>
          <a:xfrm>
            <a:off x="1104692" y="132752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30" name="Ellipse 29">
            <a:extLst>
              <a:ext uri="{FF2B5EF4-FFF2-40B4-BE49-F238E27FC236}">
                <a16:creationId xmlns:a16="http://schemas.microsoft.com/office/drawing/2014/main" id="{16BE239E-AC64-4B4F-8F21-59622B62EF1C}"/>
              </a:ext>
            </a:extLst>
          </p:cNvPr>
          <p:cNvSpPr>
            <a:spLocks noChangeAspect="1"/>
          </p:cNvSpPr>
          <p:nvPr/>
        </p:nvSpPr>
        <p:spPr>
          <a:xfrm>
            <a:off x="730528" y="129803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2" name="Grafik 31" descr="Lupe mit einfarbiger Füllung">
            <a:extLst>
              <a:ext uri="{FF2B5EF4-FFF2-40B4-BE49-F238E27FC236}">
                <a16:creationId xmlns:a16="http://schemas.microsoft.com/office/drawing/2014/main" id="{89811C3F-5D05-0FC2-2D5C-86E4A41244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1361711"/>
            <a:ext cx="333865" cy="333865"/>
          </a:xfrm>
          <a:prstGeom prst="rect">
            <a:avLst/>
          </a:prstGeom>
        </p:spPr>
      </p:pic>
      <p:sp>
        <p:nvSpPr>
          <p:cNvPr id="33" name="Rechteck 32">
            <a:extLst>
              <a:ext uri="{FF2B5EF4-FFF2-40B4-BE49-F238E27FC236}">
                <a16:creationId xmlns:a16="http://schemas.microsoft.com/office/drawing/2014/main" id="{30EE6C56-2356-B6A7-48AA-4D6544E3BCEA}"/>
              </a:ext>
            </a:extLst>
          </p:cNvPr>
          <p:cNvSpPr/>
          <p:nvPr/>
        </p:nvSpPr>
        <p:spPr>
          <a:xfrm>
            <a:off x="729094" y="2040189"/>
            <a:ext cx="6028893" cy="1347359"/>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Untertitel 2">
            <a:extLst>
              <a:ext uri="{FF2B5EF4-FFF2-40B4-BE49-F238E27FC236}">
                <a16:creationId xmlns:a16="http://schemas.microsoft.com/office/drawing/2014/main" id="{FB0BB605-A574-39B7-D8B3-E5286C3B21FF}"/>
              </a:ext>
            </a:extLst>
          </p:cNvPr>
          <p:cNvSpPr txBox="1">
            <a:spLocks/>
          </p:cNvSpPr>
          <p:nvPr/>
        </p:nvSpPr>
        <p:spPr>
          <a:xfrm>
            <a:off x="1075653" y="2407819"/>
            <a:ext cx="4027570"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rgbClr val="315544"/>
              </a:buClr>
              <a:buFont typeface="Arial,Sans-Serif"/>
              <a:buChar char="•"/>
            </a:pPr>
            <a:r>
              <a:rPr lang="en-GB" sz="1200" noProof="0"/>
              <a:t>Wind kit with 3 blades, medium size</a:t>
            </a:r>
            <a:endParaRPr lang="en-GB" sz="1200" noProof="0" dirty="0"/>
          </a:p>
          <a:p>
            <a:pPr marL="285750" indent="-285750">
              <a:lnSpc>
                <a:spcPct val="114999"/>
              </a:lnSpc>
              <a:buClr>
                <a:srgbClr val="315544"/>
              </a:buClr>
              <a:buFont typeface="Arial,Sans-Serif"/>
              <a:buChar char="•"/>
            </a:pPr>
            <a:r>
              <a:rPr lang="en-GB" sz="1200" noProof="0"/>
              <a:t>Fan</a:t>
            </a:r>
            <a:endParaRPr lang="en-GB" sz="1200" noProof="0" dirty="0"/>
          </a:p>
          <a:p>
            <a:pPr marL="285750" indent="-285750">
              <a:lnSpc>
                <a:spcPct val="114999"/>
              </a:lnSpc>
              <a:buClr>
                <a:srgbClr val="315544"/>
              </a:buClr>
              <a:buFont typeface="Arial,Sans-Serif"/>
              <a:buChar char="•"/>
            </a:pPr>
            <a:r>
              <a:rPr lang="en-GB" sz="1200" noProof="0" err="1"/>
              <a:t>Multimeter</a:t>
            </a:r>
            <a:endParaRPr lang="en-GB" sz="1200" noProof="0" dirty="0"/>
          </a:p>
        </p:txBody>
      </p:sp>
      <p:sp>
        <p:nvSpPr>
          <p:cNvPr id="35" name="Untertitel 5">
            <a:extLst>
              <a:ext uri="{FF2B5EF4-FFF2-40B4-BE49-F238E27FC236}">
                <a16:creationId xmlns:a16="http://schemas.microsoft.com/office/drawing/2014/main" id="{1DBB5545-8CCF-59B3-4A90-BFF7D12DEAB3}"/>
              </a:ext>
            </a:extLst>
          </p:cNvPr>
          <p:cNvSpPr txBox="1">
            <a:spLocks/>
          </p:cNvSpPr>
          <p:nvPr/>
        </p:nvSpPr>
        <p:spPr>
          <a:xfrm>
            <a:off x="896027" y="206884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36" name="Gruppieren 35">
            <a:extLst>
              <a:ext uri="{FF2B5EF4-FFF2-40B4-BE49-F238E27FC236}">
                <a16:creationId xmlns:a16="http://schemas.microsoft.com/office/drawing/2014/main" id="{65B92FC9-2A9E-55CA-042C-CCD67408425F}"/>
              </a:ext>
            </a:extLst>
          </p:cNvPr>
          <p:cNvGrpSpPr/>
          <p:nvPr/>
        </p:nvGrpSpPr>
        <p:grpSpPr>
          <a:xfrm>
            <a:off x="6445483" y="1757468"/>
            <a:ext cx="402475" cy="419630"/>
            <a:chOff x="6140368" y="3097011"/>
            <a:chExt cx="660145" cy="660145"/>
          </a:xfrm>
        </p:grpSpPr>
        <p:sp>
          <p:nvSpPr>
            <p:cNvPr id="37" name="Ellipse 36">
              <a:extLst>
                <a:ext uri="{FF2B5EF4-FFF2-40B4-BE49-F238E27FC236}">
                  <a16:creationId xmlns:a16="http://schemas.microsoft.com/office/drawing/2014/main" id="{6B864C80-39C4-9E1B-3362-D931CB23DD66}"/>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38" name="Grafik 37" descr="Inventar mit einfarbiger Füllung">
              <a:extLst>
                <a:ext uri="{FF2B5EF4-FFF2-40B4-BE49-F238E27FC236}">
                  <a16:creationId xmlns:a16="http://schemas.microsoft.com/office/drawing/2014/main" id="{04146092-3429-4350-24A9-B3AECB1F58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1246978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1EA9F-6A1D-A699-982D-63EA805A4A11}"/>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F1929B6-EDD8-D763-5C76-B4B2EA32FA4A}"/>
              </a:ext>
            </a:extLst>
          </p:cNvPr>
          <p:cNvSpPr>
            <a:spLocks noGrp="1"/>
          </p:cNvSpPr>
          <p:nvPr>
            <p:ph type="sldNum" sz="quarter" idx="4"/>
          </p:nvPr>
        </p:nvSpPr>
        <p:spPr/>
        <p:txBody>
          <a:bodyPr/>
          <a:lstStyle/>
          <a:p>
            <a:fld id="{DF7F771E-9578-4C04-B869-01AF4C35C90C}" type="slidenum">
              <a:rPr lang="en-GB" noProof="0" smtClean="0"/>
              <a:t>44</a:t>
            </a:fld>
            <a:endParaRPr lang="en-GB" noProof="0"/>
          </a:p>
        </p:txBody>
      </p:sp>
      <p:sp>
        <p:nvSpPr>
          <p:cNvPr id="16" name="Untertitel 2">
            <a:extLst>
              <a:ext uri="{FF2B5EF4-FFF2-40B4-BE49-F238E27FC236}">
                <a16:creationId xmlns:a16="http://schemas.microsoft.com/office/drawing/2014/main" id="{6726D0D0-5B8E-F8B0-0329-5C211C4F0241}"/>
              </a:ext>
            </a:extLst>
          </p:cNvPr>
          <p:cNvSpPr txBox="1">
            <a:spLocks/>
          </p:cNvSpPr>
          <p:nvPr/>
        </p:nvSpPr>
        <p:spPr>
          <a:xfrm>
            <a:off x="4562350" y="3342704"/>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pic>
        <p:nvPicPr>
          <p:cNvPr id="18" name="Grafik 17" descr="Ein Bild, das Gerät, Im Haus, Ventilator, Fan enthält.&#10;&#10;Automatisch generierte Beschreibung">
            <a:extLst>
              <a:ext uri="{FF2B5EF4-FFF2-40B4-BE49-F238E27FC236}">
                <a16:creationId xmlns:a16="http://schemas.microsoft.com/office/drawing/2014/main" id="{D588EE99-F29E-4384-DB68-BEACFE5ABBA6}"/>
              </a:ext>
            </a:extLst>
          </p:cNvPr>
          <p:cNvPicPr>
            <a:picLocks noChangeAspect="1"/>
          </p:cNvPicPr>
          <p:nvPr/>
        </p:nvPicPr>
        <p:blipFill>
          <a:blip r:embed="rId2"/>
          <a:stretch>
            <a:fillRect/>
          </a:stretch>
        </p:blipFill>
        <p:spPr>
          <a:xfrm>
            <a:off x="2696649" y="1652512"/>
            <a:ext cx="3731401" cy="2098913"/>
          </a:xfrm>
          <a:prstGeom prst="rect">
            <a:avLst/>
          </a:prstGeom>
        </p:spPr>
      </p:pic>
      <p:pic>
        <p:nvPicPr>
          <p:cNvPr id="20" name="Grafik 19" descr="Ein Bild, das Gerät, Ventilator, Elektronik, Im Haus enthält.&#10;&#10;Automatisch generierte Beschreibung">
            <a:extLst>
              <a:ext uri="{FF2B5EF4-FFF2-40B4-BE49-F238E27FC236}">
                <a16:creationId xmlns:a16="http://schemas.microsoft.com/office/drawing/2014/main" id="{0BE8353B-B64C-F631-E4B9-7B1C1F9ECD0F}"/>
              </a:ext>
            </a:extLst>
          </p:cNvPr>
          <p:cNvPicPr>
            <a:picLocks noChangeAspect="1"/>
          </p:cNvPicPr>
          <p:nvPr/>
        </p:nvPicPr>
        <p:blipFill>
          <a:blip r:embed="rId3"/>
          <a:stretch>
            <a:fillRect/>
          </a:stretch>
        </p:blipFill>
        <p:spPr>
          <a:xfrm>
            <a:off x="2696649" y="4315308"/>
            <a:ext cx="3731401" cy="2098913"/>
          </a:xfrm>
          <a:prstGeom prst="rect">
            <a:avLst/>
          </a:prstGeom>
        </p:spPr>
      </p:pic>
      <p:pic>
        <p:nvPicPr>
          <p:cNvPr id="22" name="Grafik 21" descr="Ein Bild, das Im Haus, Ventilator, Elektronik, Fan enthält.&#10;&#10;Automatisch generierte Beschreibung">
            <a:extLst>
              <a:ext uri="{FF2B5EF4-FFF2-40B4-BE49-F238E27FC236}">
                <a16:creationId xmlns:a16="http://schemas.microsoft.com/office/drawing/2014/main" id="{75DA66B4-0365-5DBC-B3A9-6FE4999C048F}"/>
              </a:ext>
            </a:extLst>
          </p:cNvPr>
          <p:cNvPicPr>
            <a:picLocks noChangeAspect="1"/>
          </p:cNvPicPr>
          <p:nvPr/>
        </p:nvPicPr>
        <p:blipFill>
          <a:blip r:embed="rId4"/>
          <a:stretch>
            <a:fillRect/>
          </a:stretch>
        </p:blipFill>
        <p:spPr>
          <a:xfrm>
            <a:off x="2696648" y="6906206"/>
            <a:ext cx="3731401" cy="2098913"/>
          </a:xfrm>
          <a:prstGeom prst="rect">
            <a:avLst/>
          </a:prstGeom>
        </p:spPr>
      </p:pic>
      <p:sp>
        <p:nvSpPr>
          <p:cNvPr id="11" name="Textfeld 10">
            <a:extLst>
              <a:ext uri="{FF2B5EF4-FFF2-40B4-BE49-F238E27FC236}">
                <a16:creationId xmlns:a16="http://schemas.microsoft.com/office/drawing/2014/main" id="{9FD96AF6-9C28-0307-4D9C-14AC1D3EBEAE}"/>
              </a:ext>
            </a:extLst>
          </p:cNvPr>
          <p:cNvSpPr txBox="1"/>
          <p:nvPr/>
        </p:nvSpPr>
        <p:spPr>
          <a:xfrm>
            <a:off x="1205249" y="2440358"/>
            <a:ext cx="828675" cy="461665"/>
          </a:xfrm>
          <a:prstGeom prst="rect">
            <a:avLst/>
          </a:prstGeom>
          <a:noFill/>
        </p:spPr>
        <p:txBody>
          <a:bodyPr wrap="square" rtlCol="0">
            <a:spAutoFit/>
          </a:bodyPr>
          <a:lstStyle/>
          <a:p>
            <a:r>
              <a:rPr lang="en-GB" sz="1200" b="1">
                <a:solidFill>
                  <a:schemeClr val="accent2"/>
                </a:solidFill>
                <a:latin typeface="Epilogue"/>
                <a:sym typeface="Sofia Sans"/>
              </a:rPr>
              <a:t>Front view</a:t>
            </a:r>
          </a:p>
        </p:txBody>
      </p:sp>
      <p:sp>
        <p:nvSpPr>
          <p:cNvPr id="7" name="Textfeld 6">
            <a:extLst>
              <a:ext uri="{FF2B5EF4-FFF2-40B4-BE49-F238E27FC236}">
                <a16:creationId xmlns:a16="http://schemas.microsoft.com/office/drawing/2014/main" id="{03266AE5-196F-4351-4A2D-FD79BC825F1B}"/>
              </a:ext>
            </a:extLst>
          </p:cNvPr>
          <p:cNvSpPr txBox="1"/>
          <p:nvPr/>
        </p:nvSpPr>
        <p:spPr>
          <a:xfrm>
            <a:off x="1205249" y="5133931"/>
            <a:ext cx="1037934" cy="461665"/>
          </a:xfrm>
          <a:prstGeom prst="rect">
            <a:avLst/>
          </a:prstGeom>
          <a:noFill/>
        </p:spPr>
        <p:txBody>
          <a:bodyPr wrap="square" rtlCol="0">
            <a:spAutoFit/>
          </a:bodyPr>
          <a:lstStyle/>
          <a:p>
            <a:r>
              <a:rPr lang="en-GB" sz="1200" b="1">
                <a:solidFill>
                  <a:schemeClr val="accent2"/>
                </a:solidFill>
                <a:latin typeface="Epilogue"/>
                <a:sym typeface="Sofia Sans"/>
              </a:rPr>
              <a:t>Side view (45°)</a:t>
            </a:r>
          </a:p>
        </p:txBody>
      </p:sp>
      <p:sp>
        <p:nvSpPr>
          <p:cNvPr id="8" name="Textfeld 7">
            <a:extLst>
              <a:ext uri="{FF2B5EF4-FFF2-40B4-BE49-F238E27FC236}">
                <a16:creationId xmlns:a16="http://schemas.microsoft.com/office/drawing/2014/main" id="{ED1B2F6D-110A-A737-5909-C280C1ABDB6A}"/>
              </a:ext>
            </a:extLst>
          </p:cNvPr>
          <p:cNvSpPr txBox="1"/>
          <p:nvPr/>
        </p:nvSpPr>
        <p:spPr>
          <a:xfrm>
            <a:off x="1205249" y="7724829"/>
            <a:ext cx="1037934" cy="461665"/>
          </a:xfrm>
          <a:prstGeom prst="rect">
            <a:avLst/>
          </a:prstGeom>
          <a:noFill/>
        </p:spPr>
        <p:txBody>
          <a:bodyPr wrap="square" rtlCol="0">
            <a:spAutoFit/>
          </a:bodyPr>
          <a:lstStyle/>
          <a:p>
            <a:r>
              <a:rPr lang="en-GB" sz="1200" b="1">
                <a:solidFill>
                  <a:schemeClr val="accent2"/>
                </a:solidFill>
                <a:latin typeface="Epilogue"/>
                <a:sym typeface="Sofia Sans"/>
              </a:rPr>
              <a:t>Side view (90°)</a:t>
            </a:r>
          </a:p>
        </p:txBody>
      </p:sp>
    </p:spTree>
    <p:extLst>
      <p:ext uri="{BB962C8B-B14F-4D97-AF65-F5344CB8AC3E}">
        <p14:creationId xmlns:p14="http://schemas.microsoft.com/office/powerpoint/2010/main" val="4245375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68AF-DFC4-87F3-D4F3-113595ABE75D}"/>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E720F74-6C21-BE3B-855D-75E2441BE21D}"/>
              </a:ext>
            </a:extLst>
          </p:cNvPr>
          <p:cNvSpPr>
            <a:spLocks noGrp="1"/>
          </p:cNvSpPr>
          <p:nvPr>
            <p:ph type="sldNum" sz="quarter" idx="4"/>
          </p:nvPr>
        </p:nvSpPr>
        <p:spPr/>
        <p:txBody>
          <a:bodyPr/>
          <a:lstStyle/>
          <a:p>
            <a:fld id="{DF7F771E-9578-4C04-B869-01AF4C35C90C}" type="slidenum">
              <a:rPr lang="en-GB" noProof="0" smtClean="0"/>
              <a:t>45</a:t>
            </a:fld>
            <a:endParaRPr lang="en-GB" noProof="0"/>
          </a:p>
        </p:txBody>
      </p:sp>
      <p:sp>
        <p:nvSpPr>
          <p:cNvPr id="16" name="Untertitel 2">
            <a:extLst>
              <a:ext uri="{FF2B5EF4-FFF2-40B4-BE49-F238E27FC236}">
                <a16:creationId xmlns:a16="http://schemas.microsoft.com/office/drawing/2014/main" id="{73BC4713-A009-DDD6-7159-AB65EAED2BE8}"/>
              </a:ext>
            </a:extLst>
          </p:cNvPr>
          <p:cNvSpPr txBox="1">
            <a:spLocks/>
          </p:cNvSpPr>
          <p:nvPr/>
        </p:nvSpPr>
        <p:spPr>
          <a:xfrm>
            <a:off x="4716174" y="3359795"/>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graphicFrame>
        <p:nvGraphicFramePr>
          <p:cNvPr id="6" name="Google Shape;630;p38">
            <a:extLst>
              <a:ext uri="{FF2B5EF4-FFF2-40B4-BE49-F238E27FC236}">
                <a16:creationId xmlns:a16="http://schemas.microsoft.com/office/drawing/2014/main" id="{BB12A092-1811-8CE6-30C0-20D7061E4525}"/>
              </a:ext>
            </a:extLst>
          </p:cNvPr>
          <p:cNvGraphicFramePr/>
          <p:nvPr>
            <p:extLst>
              <p:ext uri="{D42A27DB-BD31-4B8C-83A1-F6EECF244321}">
                <p14:modId xmlns:p14="http://schemas.microsoft.com/office/powerpoint/2010/main" val="2845606804"/>
              </p:ext>
            </p:extLst>
          </p:nvPr>
        </p:nvGraphicFramePr>
        <p:xfrm>
          <a:off x="737584" y="1279848"/>
          <a:ext cx="5919009" cy="346776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Direction</a:t>
                      </a:r>
                      <a:r>
                        <a:rPr lang="de-DE" sz="1000" b="1">
                          <a:solidFill>
                            <a:schemeClr val="dk1"/>
                          </a:solidFill>
                          <a:latin typeface="Epilogue"/>
                          <a:ea typeface="Epilogue"/>
                          <a:cs typeface="Epilogue"/>
                          <a:sym typeface="Epilogue"/>
                        </a:rPr>
                        <a:t> </a:t>
                      </a:r>
                      <a:r>
                        <a:rPr lang="de-DE" sz="1000" b="1" err="1">
                          <a:solidFill>
                            <a:schemeClr val="dk1"/>
                          </a:solidFill>
                          <a:latin typeface="Epilogue"/>
                          <a:ea typeface="Epilogue"/>
                          <a:cs typeface="Epilogue"/>
                          <a:sym typeface="Epilogue"/>
                        </a:rPr>
                        <a:t>of</a:t>
                      </a:r>
                      <a:r>
                        <a:rPr lang="de-DE" sz="1000" b="1">
                          <a:solidFill>
                            <a:schemeClr val="dk1"/>
                          </a:solidFill>
                          <a:latin typeface="Epilogue"/>
                          <a:ea typeface="Epilogue"/>
                          <a:cs typeface="Epilogue"/>
                          <a:sym typeface="Epilogue"/>
                        </a:rPr>
                        <a:t> fan</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Wind </a:t>
                      </a:r>
                      <a:r>
                        <a:rPr lang="de-DE" sz="1000" b="1" err="1">
                          <a:solidFill>
                            <a:schemeClr val="dk1"/>
                          </a:solidFill>
                          <a:latin typeface="Epilogue"/>
                          <a:ea typeface="Epilogue"/>
                          <a:cs typeface="Epilogue"/>
                          <a:sym typeface="Epilogue"/>
                        </a:rPr>
                        <a:t>str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mV (AC)</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Front </a:t>
                      </a:r>
                      <a:r>
                        <a:rPr lang="de-DE" sz="1000" b="0" i="0" u="none" strike="noStrike" cap="none" err="1">
                          <a:solidFill>
                            <a:schemeClr val="dk1"/>
                          </a:solidFill>
                          <a:latin typeface="Sofia Sans"/>
                          <a:ea typeface="Epilogue"/>
                          <a:cs typeface="Epilogue"/>
                          <a:sym typeface="Epilogue"/>
                        </a:rPr>
                        <a:t>view</a:t>
                      </a:r>
                      <a:endParaRPr lang="de-DE"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48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Front </a:t>
                      </a:r>
                      <a:r>
                        <a:rPr lang="de-DE" sz="1000" b="0" i="0" u="none" strike="noStrike" cap="none" err="1">
                          <a:solidFill>
                            <a:schemeClr val="dk1"/>
                          </a:solidFill>
                          <a:latin typeface="Sofia Sans"/>
                          <a:ea typeface="Epilogue"/>
                          <a:cs typeface="Epilogue"/>
                          <a:sym typeface="Epilogue"/>
                        </a:rPr>
                        <a:t>vie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Medium</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77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Front </a:t>
                      </a:r>
                      <a:r>
                        <a:rPr lang="de-DE" sz="1000" b="0" i="0" u="none" strike="noStrike" cap="none" err="1">
                          <a:solidFill>
                            <a:schemeClr val="dk1"/>
                          </a:solidFill>
                          <a:latin typeface="Sofia Sans"/>
                          <a:ea typeface="Epilogue"/>
                          <a:cs typeface="Epilogue"/>
                          <a:sym typeface="Epilogue"/>
                        </a:rPr>
                        <a:t>vie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120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984261142"/>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Side </a:t>
                      </a:r>
                      <a:r>
                        <a:rPr lang="de-DE" sz="1000" b="0" i="0" u="none" strike="noStrike" cap="none" err="1">
                          <a:solidFill>
                            <a:schemeClr val="dk1"/>
                          </a:solidFill>
                          <a:latin typeface="Sofia Sans"/>
                          <a:ea typeface="Epilogue"/>
                          <a:cs typeface="Epilogue"/>
                          <a:sym typeface="Epilogue"/>
                        </a:rPr>
                        <a:t>view</a:t>
                      </a:r>
                      <a:r>
                        <a:rPr lang="de-DE" sz="1000" b="0" i="0" u="none" strike="noStrike" cap="none">
                          <a:solidFill>
                            <a:schemeClr val="dk1"/>
                          </a:solidFill>
                          <a:latin typeface="Sofia Sans"/>
                          <a:ea typeface="Epilogue"/>
                          <a:cs typeface="Epilogue"/>
                          <a:sym typeface="Epilogue"/>
                        </a:rPr>
                        <a:t> (45°)</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16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461739846"/>
                  </a:ext>
                </a:extLst>
              </a:tr>
              <a:tr h="345813">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Sofia Sans"/>
                          <a:cs typeface="Sofia Sans"/>
                          <a:sym typeface="Sofia Sans"/>
                        </a:rPr>
                        <a:t>Side </a:t>
                      </a:r>
                      <a:r>
                        <a:rPr lang="de-DE" sz="1000" b="0" i="0" u="none" strike="noStrike" cap="none" err="1">
                          <a:solidFill>
                            <a:schemeClr val="dk1"/>
                          </a:solidFill>
                          <a:latin typeface="Sofia Sans"/>
                          <a:ea typeface="Sofia Sans"/>
                          <a:cs typeface="Sofia Sans"/>
                          <a:sym typeface="Sofia Sans"/>
                        </a:rPr>
                        <a:t>view</a:t>
                      </a:r>
                      <a:r>
                        <a:rPr lang="de-DE" sz="1000" b="0" i="0" u="none" strike="noStrike" cap="none">
                          <a:solidFill>
                            <a:schemeClr val="dk1"/>
                          </a:solidFill>
                          <a:latin typeface="Sofia Sans"/>
                          <a:ea typeface="Sofia Sans"/>
                          <a:cs typeface="Sofia Sans"/>
                          <a:sym typeface="Sofia Sans"/>
                        </a:rPr>
                        <a:t> (45°)</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25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Sofia Sans"/>
                          <a:cs typeface="Sofia Sans"/>
                          <a:sym typeface="Sofia Sans"/>
                        </a:rPr>
                        <a:t>Side </a:t>
                      </a:r>
                      <a:r>
                        <a:rPr lang="de-DE" sz="1000" b="0" i="0" u="none" strike="noStrike" cap="none" err="1">
                          <a:solidFill>
                            <a:schemeClr val="dk1"/>
                          </a:solidFill>
                          <a:latin typeface="Sofia Sans"/>
                          <a:ea typeface="Sofia Sans"/>
                          <a:cs typeface="Sofia Sans"/>
                          <a:sym typeface="Sofia Sans"/>
                        </a:rPr>
                        <a:t>view</a:t>
                      </a:r>
                      <a:r>
                        <a:rPr lang="de-DE" sz="1000" b="0" i="0" u="none" strike="noStrike" cap="none">
                          <a:solidFill>
                            <a:schemeClr val="dk1"/>
                          </a:solidFill>
                          <a:latin typeface="Sofia Sans"/>
                          <a:ea typeface="Sofia Sans"/>
                          <a:cs typeface="Sofia Sans"/>
                          <a:sym typeface="Sofia Sans"/>
                        </a:rPr>
                        <a:t> (45°)</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 </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41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Sofia Sans"/>
                          <a:cs typeface="Sofia Sans"/>
                          <a:sym typeface="Sofia Sans"/>
                        </a:rPr>
                        <a:t>Side </a:t>
                      </a:r>
                      <a:r>
                        <a:rPr lang="de-DE" sz="1000" b="0" i="0" u="none" strike="noStrike" cap="none" err="1">
                          <a:solidFill>
                            <a:schemeClr val="dk1"/>
                          </a:solidFill>
                          <a:latin typeface="Sofia Sans"/>
                          <a:ea typeface="Sofia Sans"/>
                          <a:cs typeface="Sofia Sans"/>
                          <a:sym typeface="Sofia Sans"/>
                        </a:rPr>
                        <a:t>view</a:t>
                      </a:r>
                      <a:r>
                        <a:rPr lang="de-DE" sz="1000" b="0" i="0" u="none" strike="noStrike" cap="none">
                          <a:solidFill>
                            <a:schemeClr val="dk1"/>
                          </a:solidFill>
                          <a:latin typeface="Sofia Sans"/>
                          <a:ea typeface="Sofia Sans"/>
                          <a:cs typeface="Sofia Sans"/>
                          <a:sym typeface="Sofia Sans"/>
                        </a:rPr>
                        <a:t> (90°)</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Low</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295059867"/>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Side </a:t>
                      </a:r>
                      <a:r>
                        <a:rPr lang="de-DE" sz="1000" b="0" i="0" u="none" strike="noStrike" cap="none" err="1">
                          <a:solidFill>
                            <a:schemeClr val="dk1"/>
                          </a:solidFill>
                          <a:latin typeface="Sofia Sans"/>
                          <a:ea typeface="Sofia Sans"/>
                          <a:cs typeface="Sofia Sans"/>
                          <a:sym typeface="Sofia Sans"/>
                        </a:rPr>
                        <a:t>view</a:t>
                      </a:r>
                      <a:r>
                        <a:rPr lang="de-DE" sz="1000" b="0" i="0" u="none" strike="noStrike" cap="none">
                          <a:solidFill>
                            <a:schemeClr val="dk1"/>
                          </a:solidFill>
                          <a:latin typeface="Sofia Sans"/>
                          <a:ea typeface="Sofia Sans"/>
                          <a:cs typeface="Sofia Sans"/>
                          <a:sym typeface="Sofia Sans"/>
                        </a:rPr>
                        <a:t> (90°)</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457672796"/>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Side </a:t>
                      </a:r>
                      <a:r>
                        <a:rPr lang="de-DE" sz="1000" b="0" i="0" u="none" strike="noStrike" cap="none" err="1">
                          <a:solidFill>
                            <a:schemeClr val="dk1"/>
                          </a:solidFill>
                          <a:latin typeface="Sofia Sans"/>
                          <a:ea typeface="Sofia Sans"/>
                          <a:cs typeface="Sofia Sans"/>
                          <a:sym typeface="Sofia Sans"/>
                        </a:rPr>
                        <a:t>view</a:t>
                      </a:r>
                      <a:r>
                        <a:rPr lang="de-DE" sz="1000" b="0" i="0" u="none" strike="noStrike" cap="none">
                          <a:solidFill>
                            <a:schemeClr val="dk1"/>
                          </a:solidFill>
                          <a:latin typeface="Sofia Sans"/>
                          <a:ea typeface="Sofia Sans"/>
                          <a:cs typeface="Sofia Sans"/>
                          <a:sym typeface="Sofia Sans"/>
                        </a:rPr>
                        <a:t> (90°)</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334281"/>
                  </a:ext>
                </a:extLst>
              </a:tr>
            </a:tbl>
          </a:graphicData>
        </a:graphic>
      </p:graphicFrame>
      <p:sp>
        <p:nvSpPr>
          <p:cNvPr id="8" name="Untertitel 5">
            <a:extLst>
              <a:ext uri="{FF2B5EF4-FFF2-40B4-BE49-F238E27FC236}">
                <a16:creationId xmlns:a16="http://schemas.microsoft.com/office/drawing/2014/main" id="{BD1090D1-9F70-1974-E855-F1D67A8044FF}"/>
              </a:ext>
            </a:extLst>
          </p:cNvPr>
          <p:cNvSpPr txBox="1">
            <a:spLocks/>
          </p:cNvSpPr>
          <p:nvPr/>
        </p:nvSpPr>
        <p:spPr>
          <a:xfrm>
            <a:off x="1104692" y="531230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9" name="Ellipse 8">
            <a:extLst>
              <a:ext uri="{FF2B5EF4-FFF2-40B4-BE49-F238E27FC236}">
                <a16:creationId xmlns:a16="http://schemas.microsoft.com/office/drawing/2014/main" id="{35B3D283-268E-C499-803E-BDCB808EAE02}"/>
              </a:ext>
            </a:extLst>
          </p:cNvPr>
          <p:cNvSpPr>
            <a:spLocks noChangeAspect="1"/>
          </p:cNvSpPr>
          <p:nvPr/>
        </p:nvSpPr>
        <p:spPr>
          <a:xfrm>
            <a:off x="730528" y="5282806"/>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 name="Grafik 9" descr="Skizze mit einfarbiger Füllung">
            <a:extLst>
              <a:ext uri="{FF2B5EF4-FFF2-40B4-BE49-F238E27FC236}">
                <a16:creationId xmlns:a16="http://schemas.microsoft.com/office/drawing/2014/main" id="{E237EB81-56B8-04C5-E3AB-FAFCEEAADF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069" y="5348393"/>
            <a:ext cx="379044" cy="379044"/>
          </a:xfrm>
          <a:prstGeom prst="rect">
            <a:avLst/>
          </a:prstGeom>
        </p:spPr>
      </p:pic>
      <p:sp>
        <p:nvSpPr>
          <p:cNvPr id="12" name="Untertitel 3">
            <a:extLst>
              <a:ext uri="{FF2B5EF4-FFF2-40B4-BE49-F238E27FC236}">
                <a16:creationId xmlns:a16="http://schemas.microsoft.com/office/drawing/2014/main" id="{D5C3C06F-FDAE-D38B-F384-875235F6AE3F}"/>
              </a:ext>
            </a:extLst>
          </p:cNvPr>
          <p:cNvSpPr txBox="1">
            <a:spLocks/>
          </p:cNvSpPr>
          <p:nvPr/>
        </p:nvSpPr>
        <p:spPr>
          <a:xfrm>
            <a:off x="719138" y="6312049"/>
            <a:ext cx="5870944"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dirty="0"/>
              <a:t>What did you observe? What does that mean?</a:t>
            </a:r>
            <a:endParaRPr lang="en-GB" sz="1200" noProof="0" dirty="0">
              <a:solidFill>
                <a:srgbClr val="333333"/>
              </a:solidFill>
            </a:endParaRPr>
          </a:p>
        </p:txBody>
      </p:sp>
      <p:sp>
        <p:nvSpPr>
          <p:cNvPr id="13" name="Untertitel 5">
            <a:extLst>
              <a:ext uri="{FF2B5EF4-FFF2-40B4-BE49-F238E27FC236}">
                <a16:creationId xmlns:a16="http://schemas.microsoft.com/office/drawing/2014/main" id="{6998F017-BEC8-2D1B-9D4F-372C0AE95952}"/>
              </a:ext>
            </a:extLst>
          </p:cNvPr>
          <p:cNvSpPr txBox="1">
            <a:spLocks/>
          </p:cNvSpPr>
          <p:nvPr/>
        </p:nvSpPr>
        <p:spPr>
          <a:xfrm>
            <a:off x="719138" y="5925330"/>
            <a:ext cx="440478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2</a:t>
            </a:r>
          </a:p>
        </p:txBody>
      </p:sp>
      <p:sp>
        <p:nvSpPr>
          <p:cNvPr id="14" name="Textfeld 11">
            <a:extLst>
              <a:ext uri="{FF2B5EF4-FFF2-40B4-BE49-F238E27FC236}">
                <a16:creationId xmlns:a16="http://schemas.microsoft.com/office/drawing/2014/main" id="{96D02769-BE21-8E78-7ED1-CAD577B2D5AC}"/>
              </a:ext>
            </a:extLst>
          </p:cNvPr>
          <p:cNvSpPr txBox="1"/>
          <p:nvPr/>
        </p:nvSpPr>
        <p:spPr>
          <a:xfrm>
            <a:off x="876817" y="6834325"/>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ea typeface="Times New Roman" panose="02020603050405020304" pitchFamily="18" charset="0"/>
              </a:rPr>
              <a:t>The front view has the highest outcome, so direct wind has more power!</a:t>
            </a:r>
            <a:endParaRPr lang="en-GB" sz="1100" noProof="0">
              <a:solidFill>
                <a:srgbClr val="FF0000"/>
              </a:solidFill>
              <a:effectLst/>
              <a:latin typeface="Sofia Sans"/>
              <a:ea typeface="Times New Roman" panose="02020603050405020304" pitchFamily="18" charset="0"/>
            </a:endParaRPr>
          </a:p>
        </p:txBody>
      </p:sp>
    </p:spTree>
    <p:extLst>
      <p:ext uri="{BB962C8B-B14F-4D97-AF65-F5344CB8AC3E}">
        <p14:creationId xmlns:p14="http://schemas.microsoft.com/office/powerpoint/2010/main" val="21737680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E08FECA-0BAF-9D0E-C810-D24DA73619EB}"/>
              </a:ext>
            </a:extLst>
          </p:cNvPr>
          <p:cNvSpPr>
            <a:spLocks noGrp="1"/>
          </p:cNvSpPr>
          <p:nvPr>
            <p:ph type="sldNum" sz="quarter" idx="4"/>
          </p:nvPr>
        </p:nvSpPr>
        <p:spPr>
          <a:xfrm>
            <a:off x="5371664" y="10139358"/>
            <a:ext cx="1701800" cy="569913"/>
          </a:xfrm>
        </p:spPr>
        <p:txBody>
          <a:bodyPr/>
          <a:lstStyle/>
          <a:p>
            <a:fld id="{DF7F771E-9578-4C04-B869-01AF4C35C90C}" type="slidenum">
              <a:rPr lang="en-GB" noProof="0" smtClean="0"/>
              <a:t>46</a:t>
            </a:fld>
            <a:endParaRPr lang="en-GB" noProof="0"/>
          </a:p>
        </p:txBody>
      </p:sp>
      <p:pic>
        <p:nvPicPr>
          <p:cNvPr id="2" name="Grafik 1" descr="Mini-Windrad fürs eigene Haus: Diese 7 Fakten muss man kennen ...">
            <a:extLst>
              <a:ext uri="{FF2B5EF4-FFF2-40B4-BE49-F238E27FC236}">
                <a16:creationId xmlns:a16="http://schemas.microsoft.com/office/drawing/2014/main" id="{4B66E856-76B2-DF2D-4095-D9A43D3D9FA0}"/>
              </a:ext>
            </a:extLst>
          </p:cNvPr>
          <p:cNvPicPr>
            <a:picLocks noChangeAspect="1"/>
          </p:cNvPicPr>
          <p:nvPr/>
        </p:nvPicPr>
        <p:blipFill>
          <a:blip r:embed="rId2"/>
          <a:stretch>
            <a:fillRect/>
          </a:stretch>
        </p:blipFill>
        <p:spPr>
          <a:xfrm>
            <a:off x="1003676" y="5345907"/>
            <a:ext cx="2961334" cy="2251838"/>
          </a:xfrm>
          <a:prstGeom prst="rect">
            <a:avLst/>
          </a:prstGeom>
        </p:spPr>
      </p:pic>
      <p:cxnSp>
        <p:nvCxnSpPr>
          <p:cNvPr id="7" name="Gerade Verbindung mit Pfeil 6">
            <a:extLst>
              <a:ext uri="{FF2B5EF4-FFF2-40B4-BE49-F238E27FC236}">
                <a16:creationId xmlns:a16="http://schemas.microsoft.com/office/drawing/2014/main" id="{09A89F02-4D33-1036-DEC9-54EF6879E466}"/>
              </a:ext>
            </a:extLst>
          </p:cNvPr>
          <p:cNvCxnSpPr>
            <a:cxnSpLocks/>
          </p:cNvCxnSpPr>
          <p:nvPr/>
        </p:nvCxnSpPr>
        <p:spPr>
          <a:xfrm flipH="1">
            <a:off x="2961259" y="6122881"/>
            <a:ext cx="309769" cy="28191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23CC8457-06D3-D223-AEA0-721518433E75}"/>
              </a:ext>
            </a:extLst>
          </p:cNvPr>
          <p:cNvSpPr txBox="1"/>
          <p:nvPr/>
        </p:nvSpPr>
        <p:spPr>
          <a:xfrm>
            <a:off x="3226093" y="5812643"/>
            <a:ext cx="108590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noProof="0">
                <a:solidFill>
                  <a:srgbClr val="FF0000"/>
                </a:solidFill>
              </a:rPr>
              <a:t>Tail fin</a:t>
            </a:r>
          </a:p>
        </p:txBody>
      </p:sp>
      <p:pic>
        <p:nvPicPr>
          <p:cNvPr id="12" name="Picture 11">
            <a:extLst>
              <a:ext uri="{FF2B5EF4-FFF2-40B4-BE49-F238E27FC236}">
                <a16:creationId xmlns:a16="http://schemas.microsoft.com/office/drawing/2014/main" id="{AB676831-8CBF-27A6-EC02-458C9D8256E8}"/>
              </a:ext>
            </a:extLst>
          </p:cNvPr>
          <p:cNvPicPr>
            <a:picLocks noChangeAspect="1"/>
          </p:cNvPicPr>
          <p:nvPr/>
        </p:nvPicPr>
        <p:blipFill>
          <a:blip r:embed="rId3"/>
          <a:stretch>
            <a:fillRect/>
          </a:stretch>
        </p:blipFill>
        <p:spPr>
          <a:xfrm>
            <a:off x="4435286" y="5345113"/>
            <a:ext cx="1872756" cy="2251838"/>
          </a:xfrm>
          <a:prstGeom prst="rect">
            <a:avLst/>
          </a:prstGeom>
        </p:spPr>
      </p:pic>
      <p:sp>
        <p:nvSpPr>
          <p:cNvPr id="13" name="Textfeld 10">
            <a:extLst>
              <a:ext uri="{FF2B5EF4-FFF2-40B4-BE49-F238E27FC236}">
                <a16:creationId xmlns:a16="http://schemas.microsoft.com/office/drawing/2014/main" id="{C4327A5A-CA25-443E-3790-CA71A4612C94}"/>
              </a:ext>
            </a:extLst>
          </p:cNvPr>
          <p:cNvSpPr txBox="1"/>
          <p:nvPr/>
        </p:nvSpPr>
        <p:spPr>
          <a:xfrm>
            <a:off x="5325255" y="5389211"/>
            <a:ext cx="108590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noProof="0">
                <a:solidFill>
                  <a:srgbClr val="FF0000"/>
                </a:solidFill>
              </a:rPr>
              <a:t>Tail Fin</a:t>
            </a:r>
          </a:p>
        </p:txBody>
      </p:sp>
      <p:cxnSp>
        <p:nvCxnSpPr>
          <p:cNvPr id="14" name="Gerade Verbindung mit Pfeil 6">
            <a:extLst>
              <a:ext uri="{FF2B5EF4-FFF2-40B4-BE49-F238E27FC236}">
                <a16:creationId xmlns:a16="http://schemas.microsoft.com/office/drawing/2014/main" id="{07FE6EDD-0CD9-2626-9727-E2D79F34A0DA}"/>
              </a:ext>
            </a:extLst>
          </p:cNvPr>
          <p:cNvCxnSpPr>
            <a:cxnSpLocks/>
          </p:cNvCxnSpPr>
          <p:nvPr/>
        </p:nvCxnSpPr>
        <p:spPr>
          <a:xfrm flipH="1">
            <a:off x="5780215" y="5682850"/>
            <a:ext cx="10036" cy="34275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Untertitel 5">
            <a:extLst>
              <a:ext uri="{FF2B5EF4-FFF2-40B4-BE49-F238E27FC236}">
                <a16:creationId xmlns:a16="http://schemas.microsoft.com/office/drawing/2014/main" id="{E548A658-8600-B9F5-A29C-F28DBE09F7DA}"/>
              </a:ext>
            </a:extLst>
          </p:cNvPr>
          <p:cNvSpPr txBox="1">
            <a:spLocks/>
          </p:cNvSpPr>
          <p:nvPr/>
        </p:nvSpPr>
        <p:spPr>
          <a:xfrm>
            <a:off x="1188319" y="208510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6" name="Ellipse 15">
            <a:extLst>
              <a:ext uri="{FF2B5EF4-FFF2-40B4-BE49-F238E27FC236}">
                <a16:creationId xmlns:a16="http://schemas.microsoft.com/office/drawing/2014/main" id="{86B785D2-1F14-9085-2B09-DE9AD66A0EDC}"/>
              </a:ext>
            </a:extLst>
          </p:cNvPr>
          <p:cNvSpPr>
            <a:spLocks noChangeAspect="1"/>
          </p:cNvSpPr>
          <p:nvPr/>
        </p:nvSpPr>
        <p:spPr>
          <a:xfrm>
            <a:off x="769678" y="207916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7" name="Grafik 16" descr="Skizze mit einfarbiger Füllung">
            <a:extLst>
              <a:ext uri="{FF2B5EF4-FFF2-40B4-BE49-F238E27FC236}">
                <a16:creationId xmlns:a16="http://schemas.microsoft.com/office/drawing/2014/main" id="{F71EBE87-8E8B-1FD1-0A65-F8A9BA03BD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154" y="2142896"/>
            <a:ext cx="379044" cy="379044"/>
          </a:xfrm>
          <a:prstGeom prst="rect">
            <a:avLst/>
          </a:prstGeom>
        </p:spPr>
      </p:pic>
      <p:sp>
        <p:nvSpPr>
          <p:cNvPr id="18" name="Untertitel 5">
            <a:extLst>
              <a:ext uri="{FF2B5EF4-FFF2-40B4-BE49-F238E27FC236}">
                <a16:creationId xmlns:a16="http://schemas.microsoft.com/office/drawing/2014/main" id="{C0F7339B-E2DD-461B-54AE-2CCA49BF28A0}"/>
              </a:ext>
            </a:extLst>
          </p:cNvPr>
          <p:cNvSpPr txBox="1">
            <a:spLocks/>
          </p:cNvSpPr>
          <p:nvPr/>
        </p:nvSpPr>
        <p:spPr>
          <a:xfrm>
            <a:off x="758287" y="267405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20" name="Titel 1">
            <a:extLst>
              <a:ext uri="{FF2B5EF4-FFF2-40B4-BE49-F238E27FC236}">
                <a16:creationId xmlns:a16="http://schemas.microsoft.com/office/drawing/2014/main" id="{6605FA36-BADC-1217-9C53-C1D3AD0BBA39}"/>
              </a:ext>
            </a:extLst>
          </p:cNvPr>
          <p:cNvSpPr txBox="1">
            <a:spLocks/>
          </p:cNvSpPr>
          <p:nvPr/>
        </p:nvSpPr>
        <p:spPr>
          <a:xfrm>
            <a:off x="736673" y="1300977"/>
            <a:ext cx="6380336" cy="672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4800"/>
              <a:buFont typeface="Epilogue"/>
              <a:buNone/>
              <a:defRPr sz="3059"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9pPr>
          </a:lstStyle>
          <a:p>
            <a:r>
              <a:rPr lang="en-GB" sz="2800" dirty="0"/>
              <a:t>5. Angle of attack</a:t>
            </a:r>
          </a:p>
        </p:txBody>
      </p:sp>
      <p:sp>
        <p:nvSpPr>
          <p:cNvPr id="21" name="Untertitel 3">
            <a:extLst>
              <a:ext uri="{FF2B5EF4-FFF2-40B4-BE49-F238E27FC236}">
                <a16:creationId xmlns:a16="http://schemas.microsoft.com/office/drawing/2014/main" id="{8EF1CBC8-C5B4-938F-2E0A-921052B59EAA}"/>
              </a:ext>
            </a:extLst>
          </p:cNvPr>
          <p:cNvSpPr txBox="1">
            <a:spLocks/>
          </p:cNvSpPr>
          <p:nvPr/>
        </p:nvSpPr>
        <p:spPr>
          <a:xfrm>
            <a:off x="760782" y="3094803"/>
            <a:ext cx="6023346" cy="14973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28600" indent="0">
              <a:lnSpc>
                <a:spcPct val="114999"/>
              </a:lnSpc>
            </a:pPr>
            <a:r>
              <a:rPr lang="en-GB" sz="1200" noProof="0" dirty="0"/>
              <a:t>Since we now know that the wind turbine must face directly into the wind AND the wind changes throughout the day, the wind turbine must adjust its direction.</a:t>
            </a:r>
          </a:p>
          <a:p>
            <a:pPr marL="228600" indent="0">
              <a:lnSpc>
                <a:spcPct val="114999"/>
              </a:lnSpc>
            </a:pPr>
            <a:endParaRPr lang="en-GB" sz="1200" noProof="0" dirty="0"/>
          </a:p>
          <a:p>
            <a:pPr marL="228600" indent="0">
              <a:lnSpc>
                <a:spcPct val="114999"/>
              </a:lnSpc>
            </a:pPr>
            <a:r>
              <a:rPr lang="en-GB" sz="1200" noProof="0" dirty="0"/>
              <a:t>How can we align a wind turbine so that it faces directly into the wind?</a:t>
            </a:r>
          </a:p>
          <a:p>
            <a:pPr marL="228600" indent="0">
              <a:lnSpc>
                <a:spcPct val="114999"/>
              </a:lnSpc>
            </a:pPr>
            <a:endParaRPr lang="en-GB" sz="1200" noProof="0" dirty="0"/>
          </a:p>
          <a:p>
            <a:pPr indent="-228600">
              <a:lnSpc>
                <a:spcPct val="114999"/>
              </a:lnSpc>
              <a:buAutoNum type="arabicParenR"/>
            </a:pPr>
            <a:r>
              <a:rPr lang="en-GB" sz="1200" noProof="0" dirty="0"/>
              <a:t>Look at the pictures below and think of a part that could be a solution. </a:t>
            </a:r>
          </a:p>
          <a:p>
            <a:pPr indent="-228600">
              <a:lnSpc>
                <a:spcPct val="114999"/>
              </a:lnSpc>
              <a:buAutoNum type="arabicParenR"/>
            </a:pPr>
            <a:r>
              <a:rPr lang="en-GB" sz="1200" noProof="0" dirty="0"/>
              <a:t>Talk to your </a:t>
            </a:r>
            <a:r>
              <a:rPr lang="en-GB" sz="1200" noProof="0" dirty="0" err="1"/>
              <a:t>neighbor</a:t>
            </a:r>
            <a:r>
              <a:rPr lang="en-GB" sz="1200" noProof="0" dirty="0"/>
              <a:t> and think about your ideas.</a:t>
            </a:r>
          </a:p>
          <a:p>
            <a:pPr indent="-228600">
              <a:lnSpc>
                <a:spcPct val="114999"/>
              </a:lnSpc>
              <a:buAutoNum type="arabicParenR"/>
            </a:pPr>
            <a:r>
              <a:rPr lang="en-GB" sz="1200" noProof="0" dirty="0"/>
              <a:t>Write your solution in the box below. </a:t>
            </a:r>
          </a:p>
        </p:txBody>
      </p:sp>
      <p:sp>
        <p:nvSpPr>
          <p:cNvPr id="23" name="Textfeld 11">
            <a:extLst>
              <a:ext uri="{FF2B5EF4-FFF2-40B4-BE49-F238E27FC236}">
                <a16:creationId xmlns:a16="http://schemas.microsoft.com/office/drawing/2014/main" id="{F6FE830C-012D-AD08-29DF-338146506CC3}"/>
              </a:ext>
            </a:extLst>
          </p:cNvPr>
          <p:cNvSpPr txBox="1"/>
          <p:nvPr/>
        </p:nvSpPr>
        <p:spPr>
          <a:xfrm>
            <a:off x="876817" y="7983618"/>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In order to make a wind turbine face the wind, a tail fin is attached.</a:t>
            </a:r>
            <a:endParaRPr lang="en-GB" sz="1100" noProof="0">
              <a:solidFill>
                <a:srgbClr val="FF0000"/>
              </a:solidFill>
              <a:effectLst/>
              <a:latin typeface="Sofia Sans"/>
              <a:ea typeface="Times New Roman" panose="02020603050405020304" pitchFamily="18" charset="0"/>
            </a:endParaRPr>
          </a:p>
        </p:txBody>
      </p:sp>
    </p:spTree>
    <p:extLst>
      <p:ext uri="{BB962C8B-B14F-4D97-AF65-F5344CB8AC3E}">
        <p14:creationId xmlns:p14="http://schemas.microsoft.com/office/powerpoint/2010/main" val="42059098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68AF-DFC4-87F3-D4F3-113595ABE75D}"/>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E720F74-6C21-BE3B-855D-75E2441BE21D}"/>
              </a:ext>
            </a:extLst>
          </p:cNvPr>
          <p:cNvSpPr>
            <a:spLocks noGrp="1"/>
          </p:cNvSpPr>
          <p:nvPr>
            <p:ph type="sldNum" sz="quarter" idx="4"/>
          </p:nvPr>
        </p:nvSpPr>
        <p:spPr/>
        <p:txBody>
          <a:bodyPr/>
          <a:lstStyle/>
          <a:p>
            <a:fld id="{DF7F771E-9578-4C04-B869-01AF4C35C90C}" type="slidenum">
              <a:rPr lang="en-GB" noProof="0" smtClean="0"/>
              <a:t>47</a:t>
            </a:fld>
            <a:endParaRPr lang="en-GB" noProof="0"/>
          </a:p>
        </p:txBody>
      </p:sp>
      <p:sp>
        <p:nvSpPr>
          <p:cNvPr id="7" name="Untertitel 3">
            <a:extLst>
              <a:ext uri="{FF2B5EF4-FFF2-40B4-BE49-F238E27FC236}">
                <a16:creationId xmlns:a16="http://schemas.microsoft.com/office/drawing/2014/main" id="{07040397-228E-6D70-AECA-AD5770BA7339}"/>
              </a:ext>
            </a:extLst>
          </p:cNvPr>
          <p:cNvSpPr txBox="1">
            <a:spLocks/>
          </p:cNvSpPr>
          <p:nvPr/>
        </p:nvSpPr>
        <p:spPr>
          <a:xfrm>
            <a:off x="719138" y="4390207"/>
            <a:ext cx="6028893" cy="26856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conduct the experiment</a:t>
            </a:r>
          </a:p>
          <a:p>
            <a:pPr algn="just">
              <a:lnSpc>
                <a:spcPct val="114999"/>
              </a:lnSpc>
            </a:pPr>
            <a:endParaRPr lang="en-GB" sz="1200" b="1" noProof="0" dirty="0"/>
          </a:p>
          <a:p>
            <a:pPr algn="just">
              <a:buAutoNum type="arabicPeriod"/>
            </a:pPr>
            <a:r>
              <a:rPr lang="en-GB" sz="1200" noProof="0" dirty="0"/>
              <a:t>Take your wind set and prepare it so that it contains three blades and place it in one position. Make sure that this position remains the same to ensure that the results are not affected by a different distance from the fan.</a:t>
            </a:r>
          </a:p>
          <a:p>
            <a:pPr algn="just">
              <a:buAutoNum type="arabicPeriod"/>
            </a:pPr>
            <a:r>
              <a:rPr lang="en-GB" sz="1200" noProof="0" dirty="0"/>
              <a:t>Place your wind set in front of a fan. The angle of the blades should be flat. </a:t>
            </a:r>
            <a:r>
              <a:rPr lang="en-GB" sz="1200" b="1" noProof="0" dirty="0"/>
              <a:t>Do not fasten the nacelle with a screw!</a:t>
            </a:r>
          </a:p>
          <a:p>
            <a:pPr algn="just">
              <a:buAutoNum type="arabicPeriod"/>
            </a:pPr>
            <a:r>
              <a:rPr lang="en-GB" sz="1200" noProof="0" dirty="0"/>
              <a:t>Now measure the voltage with the </a:t>
            </a:r>
            <a:r>
              <a:rPr lang="en-GB" sz="1200" noProof="0" dirty="0" err="1"/>
              <a:t>multimeter</a:t>
            </a:r>
            <a:r>
              <a:rPr lang="en-GB" sz="1200" noProof="0" dirty="0"/>
              <a:t> for high speed with your fan for the following directions:</a:t>
            </a:r>
          </a:p>
          <a:p>
            <a:pPr lvl="1" algn="just">
              <a:lnSpc>
                <a:spcPct val="114999"/>
              </a:lnSpc>
              <a:buFont typeface="Courier New"/>
              <a:buChar char="o"/>
            </a:pPr>
            <a:r>
              <a:rPr lang="en-GB" sz="1200" noProof="0" dirty="0"/>
              <a:t>Tail fin in work = vertical</a:t>
            </a:r>
          </a:p>
          <a:p>
            <a:pPr lvl="1" algn="just">
              <a:lnSpc>
                <a:spcPct val="114999"/>
              </a:lnSpc>
              <a:buFont typeface="Courier New"/>
              <a:buChar char="o"/>
            </a:pPr>
            <a:r>
              <a:rPr lang="en-GB" sz="1200" noProof="0" dirty="0"/>
              <a:t>Tail fin not in work = horizontal</a:t>
            </a:r>
          </a:p>
          <a:p>
            <a:pPr algn="just">
              <a:lnSpc>
                <a:spcPct val="114999"/>
              </a:lnSpc>
              <a:buAutoNum type="arabicPeriod"/>
            </a:pPr>
            <a:r>
              <a:rPr lang="en-GB" sz="1200" noProof="0" dirty="0"/>
              <a:t>What did you observe? Write down your answers in the free text space!</a:t>
            </a:r>
          </a:p>
        </p:txBody>
      </p:sp>
      <p:pic>
        <p:nvPicPr>
          <p:cNvPr id="18" name="Grafik 17" descr="Ein Bild, das Elektronik, Werkzeug, Kabel, Computer enthält.&#10;&#10;Automatisch generierte Beschreibung">
            <a:extLst>
              <a:ext uri="{FF2B5EF4-FFF2-40B4-BE49-F238E27FC236}">
                <a16:creationId xmlns:a16="http://schemas.microsoft.com/office/drawing/2014/main" id="{08B5F847-9091-BAEC-60BE-D408D73E5947}"/>
              </a:ext>
            </a:extLst>
          </p:cNvPr>
          <p:cNvPicPr>
            <a:picLocks noChangeAspect="1"/>
          </p:cNvPicPr>
          <p:nvPr/>
        </p:nvPicPr>
        <p:blipFill>
          <a:blip r:embed="rId2"/>
          <a:stretch>
            <a:fillRect/>
          </a:stretch>
        </p:blipFill>
        <p:spPr>
          <a:xfrm>
            <a:off x="1075917" y="7718091"/>
            <a:ext cx="2598883" cy="1461872"/>
          </a:xfrm>
          <a:prstGeom prst="rect">
            <a:avLst/>
          </a:prstGeom>
        </p:spPr>
      </p:pic>
      <p:pic>
        <p:nvPicPr>
          <p:cNvPr id="21" name="Grafik 20" descr="Ein Bild, das Im Haus, Elektronik, Kabel, Computer enthält.&#10;&#10;Automatisch generierte Beschreibung">
            <a:extLst>
              <a:ext uri="{FF2B5EF4-FFF2-40B4-BE49-F238E27FC236}">
                <a16:creationId xmlns:a16="http://schemas.microsoft.com/office/drawing/2014/main" id="{9507CA95-70C2-518D-D37D-990F195973BA}"/>
              </a:ext>
            </a:extLst>
          </p:cNvPr>
          <p:cNvPicPr>
            <a:picLocks noChangeAspect="1"/>
          </p:cNvPicPr>
          <p:nvPr/>
        </p:nvPicPr>
        <p:blipFill>
          <a:blip r:embed="rId3"/>
          <a:stretch>
            <a:fillRect/>
          </a:stretch>
        </p:blipFill>
        <p:spPr>
          <a:xfrm>
            <a:off x="4039321" y="7718091"/>
            <a:ext cx="2598883" cy="1461872"/>
          </a:xfrm>
          <a:prstGeom prst="rect">
            <a:avLst/>
          </a:prstGeom>
        </p:spPr>
      </p:pic>
      <p:sp>
        <p:nvSpPr>
          <p:cNvPr id="2" name="Titel 1">
            <a:extLst>
              <a:ext uri="{FF2B5EF4-FFF2-40B4-BE49-F238E27FC236}">
                <a16:creationId xmlns:a16="http://schemas.microsoft.com/office/drawing/2014/main" id="{E4BEE234-0181-4CDF-4B9C-30D8BBDC3893}"/>
              </a:ext>
            </a:extLst>
          </p:cNvPr>
          <p:cNvSpPr txBox="1">
            <a:spLocks/>
          </p:cNvSpPr>
          <p:nvPr/>
        </p:nvSpPr>
        <p:spPr>
          <a:xfrm>
            <a:off x="723925" y="1305083"/>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a:t>6. Using a tail fin</a:t>
            </a:r>
          </a:p>
        </p:txBody>
      </p:sp>
      <p:sp>
        <p:nvSpPr>
          <p:cNvPr id="11" name="Untertitel 5">
            <a:extLst>
              <a:ext uri="{FF2B5EF4-FFF2-40B4-BE49-F238E27FC236}">
                <a16:creationId xmlns:a16="http://schemas.microsoft.com/office/drawing/2014/main" id="{26D2C7C1-BD28-11E7-AF0A-F425C5E6AC9E}"/>
              </a:ext>
            </a:extLst>
          </p:cNvPr>
          <p:cNvSpPr txBox="1">
            <a:spLocks/>
          </p:cNvSpPr>
          <p:nvPr/>
        </p:nvSpPr>
        <p:spPr>
          <a:xfrm>
            <a:off x="1128025" y="220241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17" name="Ellipse 16">
            <a:extLst>
              <a:ext uri="{FF2B5EF4-FFF2-40B4-BE49-F238E27FC236}">
                <a16:creationId xmlns:a16="http://schemas.microsoft.com/office/drawing/2014/main" id="{F2920F26-A097-8C1A-B954-06672661E69E}"/>
              </a:ext>
            </a:extLst>
          </p:cNvPr>
          <p:cNvSpPr>
            <a:spLocks noChangeAspect="1"/>
          </p:cNvSpPr>
          <p:nvPr/>
        </p:nvSpPr>
        <p:spPr>
          <a:xfrm>
            <a:off x="697798" y="2122077"/>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Grafik 18" descr="Lupe mit einfarbiger Füllung">
            <a:extLst>
              <a:ext uri="{FF2B5EF4-FFF2-40B4-BE49-F238E27FC236}">
                <a16:creationId xmlns:a16="http://schemas.microsoft.com/office/drawing/2014/main" id="{7AB31A8B-835F-AFBB-A160-30B7C754DC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639" y="2204709"/>
            <a:ext cx="333865" cy="333865"/>
          </a:xfrm>
          <a:prstGeom prst="rect">
            <a:avLst/>
          </a:prstGeom>
        </p:spPr>
      </p:pic>
      <p:sp>
        <p:nvSpPr>
          <p:cNvPr id="20" name="Rechteck 19">
            <a:extLst>
              <a:ext uri="{FF2B5EF4-FFF2-40B4-BE49-F238E27FC236}">
                <a16:creationId xmlns:a16="http://schemas.microsoft.com/office/drawing/2014/main" id="{C2C0C8CF-1DF9-8889-7D91-BDE71E748980}"/>
              </a:ext>
            </a:extLst>
          </p:cNvPr>
          <p:cNvSpPr/>
          <p:nvPr/>
        </p:nvSpPr>
        <p:spPr>
          <a:xfrm>
            <a:off x="729094" y="3032970"/>
            <a:ext cx="6028893" cy="1024077"/>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Untertitel 2">
            <a:extLst>
              <a:ext uri="{FF2B5EF4-FFF2-40B4-BE49-F238E27FC236}">
                <a16:creationId xmlns:a16="http://schemas.microsoft.com/office/drawing/2014/main" id="{495D73BF-1B0D-CA60-EBA2-1EF73218FA51}"/>
              </a:ext>
            </a:extLst>
          </p:cNvPr>
          <p:cNvSpPr txBox="1">
            <a:spLocks/>
          </p:cNvSpPr>
          <p:nvPr/>
        </p:nvSpPr>
        <p:spPr>
          <a:xfrm>
            <a:off x="1075653" y="3400599"/>
            <a:ext cx="3909706"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buFont typeface="Arial"/>
              <a:buChar char="•"/>
            </a:pPr>
            <a:r>
              <a:rPr lang="en-GB" sz="1200"/>
              <a:t>Wind kit with 3 blades, medium size</a:t>
            </a:r>
          </a:p>
          <a:p>
            <a:pPr>
              <a:lnSpc>
                <a:spcPct val="114999"/>
              </a:lnSpc>
              <a:buFont typeface="Arial"/>
              <a:buChar char="•"/>
            </a:pPr>
            <a:r>
              <a:rPr lang="en-GB" sz="1200"/>
              <a:t>Fan</a:t>
            </a:r>
          </a:p>
        </p:txBody>
      </p:sp>
      <p:sp>
        <p:nvSpPr>
          <p:cNvPr id="23" name="Untertitel 5">
            <a:extLst>
              <a:ext uri="{FF2B5EF4-FFF2-40B4-BE49-F238E27FC236}">
                <a16:creationId xmlns:a16="http://schemas.microsoft.com/office/drawing/2014/main" id="{0CC4F261-8730-5092-41EC-80CA6A0D2380}"/>
              </a:ext>
            </a:extLst>
          </p:cNvPr>
          <p:cNvSpPr txBox="1">
            <a:spLocks/>
          </p:cNvSpPr>
          <p:nvPr/>
        </p:nvSpPr>
        <p:spPr>
          <a:xfrm>
            <a:off x="896027" y="306162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24" name="Gruppieren 23">
            <a:extLst>
              <a:ext uri="{FF2B5EF4-FFF2-40B4-BE49-F238E27FC236}">
                <a16:creationId xmlns:a16="http://schemas.microsoft.com/office/drawing/2014/main" id="{3E581880-7FEC-EA5F-997E-F6257C0C31DE}"/>
              </a:ext>
            </a:extLst>
          </p:cNvPr>
          <p:cNvGrpSpPr/>
          <p:nvPr/>
        </p:nvGrpSpPr>
        <p:grpSpPr>
          <a:xfrm>
            <a:off x="6445483" y="2750248"/>
            <a:ext cx="402475" cy="419630"/>
            <a:chOff x="6140368" y="3097011"/>
            <a:chExt cx="660145" cy="660145"/>
          </a:xfrm>
        </p:grpSpPr>
        <p:sp>
          <p:nvSpPr>
            <p:cNvPr id="25" name="Ellipse 24">
              <a:extLst>
                <a:ext uri="{FF2B5EF4-FFF2-40B4-BE49-F238E27FC236}">
                  <a16:creationId xmlns:a16="http://schemas.microsoft.com/office/drawing/2014/main" id="{CC364115-12CD-38BE-5661-BBF90640CF84}"/>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26" name="Grafik 25" descr="Inventar mit einfarbiger Füllung">
              <a:extLst>
                <a:ext uri="{FF2B5EF4-FFF2-40B4-BE49-F238E27FC236}">
                  <a16:creationId xmlns:a16="http://schemas.microsoft.com/office/drawing/2014/main" id="{622CDB58-5868-8EEF-B79D-AE01CAA196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41840" y="3198483"/>
              <a:ext cx="457200" cy="457200"/>
            </a:xfrm>
            <a:prstGeom prst="rect">
              <a:avLst/>
            </a:prstGeom>
          </p:spPr>
        </p:pic>
      </p:grpSp>
      <p:sp>
        <p:nvSpPr>
          <p:cNvPr id="30" name="Untertitel 3">
            <a:extLst>
              <a:ext uri="{FF2B5EF4-FFF2-40B4-BE49-F238E27FC236}">
                <a16:creationId xmlns:a16="http://schemas.microsoft.com/office/drawing/2014/main" id="{1EA168AD-D855-0491-A5FC-14C7D9AEBF5A}"/>
              </a:ext>
            </a:extLst>
          </p:cNvPr>
          <p:cNvSpPr txBox="1">
            <a:spLocks/>
          </p:cNvSpPr>
          <p:nvPr/>
        </p:nvSpPr>
        <p:spPr>
          <a:xfrm>
            <a:off x="1194912" y="7307028"/>
            <a:ext cx="2360891" cy="40697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gn="ctr">
              <a:lnSpc>
                <a:spcPct val="114999"/>
              </a:lnSpc>
            </a:pPr>
            <a:r>
              <a:rPr lang="en-GB" sz="1200" noProof="0" dirty="0"/>
              <a:t>Tail fin in progress = vertical	</a:t>
            </a:r>
          </a:p>
        </p:txBody>
      </p:sp>
      <p:sp>
        <p:nvSpPr>
          <p:cNvPr id="32" name="Untertitel 3">
            <a:extLst>
              <a:ext uri="{FF2B5EF4-FFF2-40B4-BE49-F238E27FC236}">
                <a16:creationId xmlns:a16="http://schemas.microsoft.com/office/drawing/2014/main" id="{2CE4547D-2AFC-783C-EB1E-9EE25F775F14}"/>
              </a:ext>
            </a:extLst>
          </p:cNvPr>
          <p:cNvSpPr txBox="1">
            <a:spLocks/>
          </p:cNvSpPr>
          <p:nvPr/>
        </p:nvSpPr>
        <p:spPr>
          <a:xfrm>
            <a:off x="3779837" y="7311114"/>
            <a:ext cx="2728119" cy="40697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lgn="ctr">
              <a:lnSpc>
                <a:spcPct val="114999"/>
              </a:lnSpc>
            </a:pPr>
            <a:r>
              <a:rPr lang="en-GB" sz="1200" noProof="0"/>
              <a:t>Tail fin not in </a:t>
            </a:r>
            <a:r>
              <a:rPr lang="en-GB" sz="1200" noProof="0" dirty="0"/>
              <a:t>progress</a:t>
            </a:r>
            <a:r>
              <a:rPr lang="en-GB" sz="1200" noProof="0"/>
              <a:t> = horizontal</a:t>
            </a:r>
          </a:p>
        </p:txBody>
      </p:sp>
    </p:spTree>
    <p:extLst>
      <p:ext uri="{BB962C8B-B14F-4D97-AF65-F5344CB8AC3E}">
        <p14:creationId xmlns:p14="http://schemas.microsoft.com/office/powerpoint/2010/main" val="17959764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558FF3A-D0CA-2618-B118-4510201FB3D0}"/>
              </a:ext>
            </a:extLst>
          </p:cNvPr>
          <p:cNvSpPr>
            <a:spLocks noGrp="1"/>
          </p:cNvSpPr>
          <p:nvPr>
            <p:ph type="sldNum" sz="quarter" idx="4"/>
          </p:nvPr>
        </p:nvSpPr>
        <p:spPr/>
        <p:txBody>
          <a:bodyPr/>
          <a:lstStyle/>
          <a:p>
            <a:fld id="{DF7F771E-9578-4C04-B869-01AF4C35C90C}" type="slidenum">
              <a:rPr lang="en-GB" noProof="0" smtClean="0"/>
              <a:t>48</a:t>
            </a:fld>
            <a:endParaRPr lang="en-GB" noProof="0"/>
          </a:p>
        </p:txBody>
      </p:sp>
      <p:sp>
        <p:nvSpPr>
          <p:cNvPr id="2" name="Untertitel 2">
            <a:extLst>
              <a:ext uri="{FF2B5EF4-FFF2-40B4-BE49-F238E27FC236}">
                <a16:creationId xmlns:a16="http://schemas.microsoft.com/office/drawing/2014/main" id="{3E4644F9-F74E-9ED3-24AD-4CDF9EB0160C}"/>
              </a:ext>
            </a:extLst>
          </p:cNvPr>
          <p:cNvSpPr txBox="1">
            <a:spLocks/>
          </p:cNvSpPr>
          <p:nvPr/>
        </p:nvSpPr>
        <p:spPr>
          <a:xfrm>
            <a:off x="4716174" y="3359795"/>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graphicFrame>
        <p:nvGraphicFramePr>
          <p:cNvPr id="3" name="Google Shape;630;p38">
            <a:extLst>
              <a:ext uri="{FF2B5EF4-FFF2-40B4-BE49-F238E27FC236}">
                <a16:creationId xmlns:a16="http://schemas.microsoft.com/office/drawing/2014/main" id="{43858CC6-0BBC-8CAA-471F-722CCE4A6BCB}"/>
              </a:ext>
            </a:extLst>
          </p:cNvPr>
          <p:cNvGraphicFramePr/>
          <p:nvPr>
            <p:extLst>
              <p:ext uri="{D42A27DB-BD31-4B8C-83A1-F6EECF244321}">
                <p14:modId xmlns:p14="http://schemas.microsoft.com/office/powerpoint/2010/main" val="4146748984"/>
              </p:ext>
            </p:extLst>
          </p:nvPr>
        </p:nvGraphicFramePr>
        <p:xfrm>
          <a:off x="737583" y="1279848"/>
          <a:ext cx="5919009" cy="1091466"/>
        </p:xfrm>
        <a:graphic>
          <a:graphicData uri="http://schemas.openxmlformats.org/drawingml/2006/table">
            <a:tbl>
              <a:tblPr>
                <a:noFill/>
                <a:tableStyleId>{F0CFADBD-3245-443C-9B6D-9ACBA4CA32A5}</a:tableStyleId>
              </a:tblPr>
              <a:tblGrid>
                <a:gridCol w="2677689">
                  <a:extLst>
                    <a:ext uri="{9D8B030D-6E8A-4147-A177-3AD203B41FA5}">
                      <a16:colId xmlns:a16="http://schemas.microsoft.com/office/drawing/2014/main" val="20000"/>
                    </a:ext>
                  </a:extLst>
                </a:gridCol>
                <a:gridCol w="3241320">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Direction</a:t>
                      </a:r>
                      <a:r>
                        <a:rPr lang="de-DE" sz="1000" b="1">
                          <a:solidFill>
                            <a:schemeClr val="dk1"/>
                          </a:solidFill>
                          <a:latin typeface="Epilogue"/>
                          <a:ea typeface="Epilogue"/>
                          <a:cs typeface="Epilogue"/>
                          <a:sym typeface="Epilogue"/>
                        </a:rPr>
                        <a:t> </a:t>
                      </a:r>
                      <a:r>
                        <a:rPr lang="de-DE" sz="1000" b="1" err="1">
                          <a:solidFill>
                            <a:schemeClr val="dk1"/>
                          </a:solidFill>
                          <a:latin typeface="Epilogue"/>
                          <a:ea typeface="Epilogue"/>
                          <a:cs typeface="Epilogue"/>
                          <a:sym typeface="Epilogue"/>
                        </a:rPr>
                        <a:t>of</a:t>
                      </a:r>
                      <a:r>
                        <a:rPr lang="de-DE" sz="1000" b="1">
                          <a:solidFill>
                            <a:schemeClr val="dk1"/>
                          </a:solidFill>
                          <a:latin typeface="Epilogue"/>
                          <a:ea typeface="Epilogue"/>
                          <a:cs typeface="Epilogue"/>
                          <a:sym typeface="Epilogue"/>
                        </a:rPr>
                        <a:t> </a:t>
                      </a:r>
                      <a:r>
                        <a:rPr lang="de-DE" sz="1000" b="1" err="1">
                          <a:solidFill>
                            <a:schemeClr val="dk1"/>
                          </a:solidFill>
                          <a:latin typeface="Epilogue"/>
                          <a:ea typeface="Epilogue"/>
                          <a:cs typeface="Epilogue"/>
                          <a:sym typeface="Epilogue"/>
                        </a:rPr>
                        <a:t>Tain</a:t>
                      </a:r>
                      <a:r>
                        <a:rPr lang="de-DE" sz="1000" b="1">
                          <a:solidFill>
                            <a:schemeClr val="dk1"/>
                          </a:solidFill>
                          <a:latin typeface="Epilogue"/>
                          <a:ea typeface="Epilogue"/>
                          <a:cs typeface="Epilogue"/>
                          <a:sym typeface="Epilogue"/>
                        </a:rPr>
                        <a:t> Fin</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mV (AC)</a:t>
                      </a:r>
                      <a:endParaRPr sz="1000" b="1">
                        <a:solidFill>
                          <a:schemeClr val="dk1"/>
                        </a:solidFill>
                        <a:latin typeface="Epilogue"/>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en-GB" sz="1000" noProof="0"/>
                        <a:t>Tail fin in work </a:t>
                      </a:r>
                      <a:endParaRPr lang="de-DE"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en-GB" sz="1000" noProof="0"/>
                        <a:t>Tail fin not in work</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bl>
          </a:graphicData>
        </a:graphic>
      </p:graphicFrame>
      <p:sp>
        <p:nvSpPr>
          <p:cNvPr id="4" name="Untertitel 5">
            <a:extLst>
              <a:ext uri="{FF2B5EF4-FFF2-40B4-BE49-F238E27FC236}">
                <a16:creationId xmlns:a16="http://schemas.microsoft.com/office/drawing/2014/main" id="{C96108EF-86F4-24DC-C88E-28C1E1675271}"/>
              </a:ext>
            </a:extLst>
          </p:cNvPr>
          <p:cNvSpPr txBox="1">
            <a:spLocks/>
          </p:cNvSpPr>
          <p:nvPr/>
        </p:nvSpPr>
        <p:spPr>
          <a:xfrm>
            <a:off x="1104692" y="266976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6" name="Ellipse 5">
            <a:extLst>
              <a:ext uri="{FF2B5EF4-FFF2-40B4-BE49-F238E27FC236}">
                <a16:creationId xmlns:a16="http://schemas.microsoft.com/office/drawing/2014/main" id="{E691012F-F8C7-CE8B-3ADE-30C1DF576FF4}"/>
              </a:ext>
            </a:extLst>
          </p:cNvPr>
          <p:cNvSpPr>
            <a:spLocks noChangeAspect="1"/>
          </p:cNvSpPr>
          <p:nvPr/>
        </p:nvSpPr>
        <p:spPr>
          <a:xfrm>
            <a:off x="730528" y="264027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 name="Grafik 9" descr="Skizze mit einfarbiger Füllung">
            <a:extLst>
              <a:ext uri="{FF2B5EF4-FFF2-40B4-BE49-F238E27FC236}">
                <a16:creationId xmlns:a16="http://schemas.microsoft.com/office/drawing/2014/main" id="{5EB45D41-A2E8-D4DB-2D8B-A181E709C1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069" y="2705858"/>
            <a:ext cx="379044" cy="379044"/>
          </a:xfrm>
          <a:prstGeom prst="rect">
            <a:avLst/>
          </a:prstGeom>
        </p:spPr>
      </p:pic>
      <p:sp>
        <p:nvSpPr>
          <p:cNvPr id="11" name="Untertitel 3">
            <a:extLst>
              <a:ext uri="{FF2B5EF4-FFF2-40B4-BE49-F238E27FC236}">
                <a16:creationId xmlns:a16="http://schemas.microsoft.com/office/drawing/2014/main" id="{79124305-4F1A-1BED-8787-CFE159A3F73A}"/>
              </a:ext>
            </a:extLst>
          </p:cNvPr>
          <p:cNvSpPr txBox="1">
            <a:spLocks/>
          </p:cNvSpPr>
          <p:nvPr/>
        </p:nvSpPr>
        <p:spPr>
          <a:xfrm>
            <a:off x="719138" y="3669514"/>
            <a:ext cx="5870944"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dirty="0"/>
              <a:t>Why do we need a functioning tail fin?</a:t>
            </a:r>
            <a:endParaRPr lang="en-GB" sz="1200" noProof="0" dirty="0">
              <a:solidFill>
                <a:srgbClr val="333333"/>
              </a:solidFill>
            </a:endParaRPr>
          </a:p>
        </p:txBody>
      </p:sp>
      <p:sp>
        <p:nvSpPr>
          <p:cNvPr id="12" name="Untertitel 5">
            <a:extLst>
              <a:ext uri="{FF2B5EF4-FFF2-40B4-BE49-F238E27FC236}">
                <a16:creationId xmlns:a16="http://schemas.microsoft.com/office/drawing/2014/main" id="{FA3DA275-E874-2EF1-121A-A176BEAFA6BF}"/>
              </a:ext>
            </a:extLst>
          </p:cNvPr>
          <p:cNvSpPr txBox="1">
            <a:spLocks/>
          </p:cNvSpPr>
          <p:nvPr/>
        </p:nvSpPr>
        <p:spPr>
          <a:xfrm>
            <a:off x="719138" y="3282795"/>
            <a:ext cx="440478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a:t>
            </a:r>
            <a:r>
              <a:rPr lang="en-GB" sz="1200">
                <a:solidFill>
                  <a:schemeClr val="accent2"/>
                </a:solidFill>
              </a:rPr>
              <a:t>1</a:t>
            </a:r>
            <a:endParaRPr lang="en-GB" sz="1200" noProof="0">
              <a:solidFill>
                <a:schemeClr val="accent2"/>
              </a:solidFill>
            </a:endParaRPr>
          </a:p>
        </p:txBody>
      </p:sp>
      <p:sp>
        <p:nvSpPr>
          <p:cNvPr id="19" name="Textfeld 11">
            <a:extLst>
              <a:ext uri="{FF2B5EF4-FFF2-40B4-BE49-F238E27FC236}">
                <a16:creationId xmlns:a16="http://schemas.microsoft.com/office/drawing/2014/main" id="{82A9FF60-6F46-40A8-D93E-72720C11479B}"/>
              </a:ext>
            </a:extLst>
          </p:cNvPr>
          <p:cNvSpPr txBox="1"/>
          <p:nvPr/>
        </p:nvSpPr>
        <p:spPr>
          <a:xfrm>
            <a:off x="876817" y="4191790"/>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tail fin enables the wind turbine to turn in the direct direction of wind. Without a working fin (horizontal), the wind turbine moves randomly away from the wind source. </a:t>
            </a:r>
          </a:p>
        </p:txBody>
      </p:sp>
      <p:sp>
        <p:nvSpPr>
          <p:cNvPr id="25" name="Untertitel 2">
            <a:extLst>
              <a:ext uri="{FF2B5EF4-FFF2-40B4-BE49-F238E27FC236}">
                <a16:creationId xmlns:a16="http://schemas.microsoft.com/office/drawing/2014/main" id="{6BE55392-60AF-93BF-C509-A1B477DC059C}"/>
              </a:ext>
            </a:extLst>
          </p:cNvPr>
          <p:cNvSpPr txBox="1">
            <a:spLocks/>
          </p:cNvSpPr>
          <p:nvPr/>
        </p:nvSpPr>
        <p:spPr>
          <a:xfrm>
            <a:off x="4716174" y="5145527"/>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sp>
        <p:nvSpPr>
          <p:cNvPr id="26" name="Untertitel 3">
            <a:extLst>
              <a:ext uri="{FF2B5EF4-FFF2-40B4-BE49-F238E27FC236}">
                <a16:creationId xmlns:a16="http://schemas.microsoft.com/office/drawing/2014/main" id="{17AB6FE6-2BBE-86A6-FA1A-CA71AED0ED99}"/>
              </a:ext>
            </a:extLst>
          </p:cNvPr>
          <p:cNvSpPr txBox="1">
            <a:spLocks/>
          </p:cNvSpPr>
          <p:nvPr/>
        </p:nvSpPr>
        <p:spPr>
          <a:xfrm>
            <a:off x="719138" y="5455246"/>
            <a:ext cx="5870944"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a:t>Why do you think the turbine is able to move with the </a:t>
            </a:r>
            <a:r>
              <a:rPr lang="en-GB" sz="1200" noProof="0" dirty="0"/>
              <a:t>tail</a:t>
            </a:r>
            <a:r>
              <a:rPr lang="en-GB" sz="1200" noProof="0"/>
              <a:t> fin? </a:t>
            </a:r>
            <a:endParaRPr lang="en-GB" sz="1200" noProof="0">
              <a:solidFill>
                <a:srgbClr val="333333"/>
              </a:solidFill>
            </a:endParaRPr>
          </a:p>
        </p:txBody>
      </p:sp>
      <p:sp>
        <p:nvSpPr>
          <p:cNvPr id="27" name="Untertitel 5">
            <a:extLst>
              <a:ext uri="{FF2B5EF4-FFF2-40B4-BE49-F238E27FC236}">
                <a16:creationId xmlns:a16="http://schemas.microsoft.com/office/drawing/2014/main" id="{13AD1FC6-DFCF-E11B-E7A0-7E8A74A61ED6}"/>
              </a:ext>
            </a:extLst>
          </p:cNvPr>
          <p:cNvSpPr txBox="1">
            <a:spLocks/>
          </p:cNvSpPr>
          <p:nvPr/>
        </p:nvSpPr>
        <p:spPr>
          <a:xfrm>
            <a:off x="719138" y="5068527"/>
            <a:ext cx="440478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28" name="Textfeld 11">
            <a:extLst>
              <a:ext uri="{FF2B5EF4-FFF2-40B4-BE49-F238E27FC236}">
                <a16:creationId xmlns:a16="http://schemas.microsoft.com/office/drawing/2014/main" id="{C8BC4090-6DA9-7C43-D241-C603C0873E65}"/>
              </a:ext>
            </a:extLst>
          </p:cNvPr>
          <p:cNvSpPr txBox="1"/>
          <p:nvPr/>
        </p:nvSpPr>
        <p:spPr>
          <a:xfrm>
            <a:off x="876817" y="5977522"/>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ea typeface="Times New Roman" panose="02020603050405020304" pitchFamily="18" charset="0"/>
              </a:rPr>
              <a:t>The turbine moves to reduce drag on the tail fin. The lowest drag on the tail fin exists when the turbine faces direct wind. </a:t>
            </a:r>
            <a:endParaRPr lang="en-GB" sz="1100" noProof="0">
              <a:solidFill>
                <a:srgbClr val="FF0000"/>
              </a:solidFill>
              <a:effectLst/>
              <a:latin typeface="Sofia Sans"/>
              <a:ea typeface="Times New Roman" panose="02020603050405020304" pitchFamily="18" charset="0"/>
            </a:endParaRPr>
          </a:p>
        </p:txBody>
      </p:sp>
      <p:sp>
        <p:nvSpPr>
          <p:cNvPr id="32" name="Rechteck 31">
            <a:extLst>
              <a:ext uri="{FF2B5EF4-FFF2-40B4-BE49-F238E27FC236}">
                <a16:creationId xmlns:a16="http://schemas.microsoft.com/office/drawing/2014/main" id="{A07EE763-8943-9B28-2EBE-10417881BA39}"/>
              </a:ext>
            </a:extLst>
          </p:cNvPr>
          <p:cNvSpPr/>
          <p:nvPr/>
        </p:nvSpPr>
        <p:spPr>
          <a:xfrm>
            <a:off x="713274" y="7240217"/>
            <a:ext cx="5701245" cy="2667779"/>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Ellipse 32">
            <a:extLst>
              <a:ext uri="{FF2B5EF4-FFF2-40B4-BE49-F238E27FC236}">
                <a16:creationId xmlns:a16="http://schemas.microsoft.com/office/drawing/2014/main" id="{A33B0DC8-F873-A6C1-EB99-A438E35ADD04}"/>
              </a:ext>
            </a:extLst>
          </p:cNvPr>
          <p:cNvSpPr>
            <a:spLocks noChangeAspect="1"/>
          </p:cNvSpPr>
          <p:nvPr/>
        </p:nvSpPr>
        <p:spPr>
          <a:xfrm>
            <a:off x="6084187" y="6913721"/>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4" name="Grafik 33" descr="Lesezeichen mit einfarbiger Füllung">
            <a:extLst>
              <a:ext uri="{FF2B5EF4-FFF2-40B4-BE49-F238E27FC236}">
                <a16:creationId xmlns:a16="http://schemas.microsoft.com/office/drawing/2014/main" id="{1DDB3AEA-B82E-7B3F-BB52-40DF362313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2034" y="7041568"/>
            <a:ext cx="404450" cy="404450"/>
          </a:xfrm>
          <a:prstGeom prst="rect">
            <a:avLst/>
          </a:prstGeom>
        </p:spPr>
      </p:pic>
      <p:sp>
        <p:nvSpPr>
          <p:cNvPr id="35" name="Untertitel 5">
            <a:extLst>
              <a:ext uri="{FF2B5EF4-FFF2-40B4-BE49-F238E27FC236}">
                <a16:creationId xmlns:a16="http://schemas.microsoft.com/office/drawing/2014/main" id="{0A10FFE0-7982-129D-37B8-0DC11CE228C4}"/>
              </a:ext>
            </a:extLst>
          </p:cNvPr>
          <p:cNvSpPr txBox="1">
            <a:spLocks/>
          </p:cNvSpPr>
          <p:nvPr/>
        </p:nvSpPr>
        <p:spPr>
          <a:xfrm>
            <a:off x="849373" y="733205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36" name="Untertitel 2">
            <a:extLst>
              <a:ext uri="{FF2B5EF4-FFF2-40B4-BE49-F238E27FC236}">
                <a16:creationId xmlns:a16="http://schemas.microsoft.com/office/drawing/2014/main" id="{C6E73C85-4B6F-6452-A847-D3314A843DD2}"/>
              </a:ext>
            </a:extLst>
          </p:cNvPr>
          <p:cNvSpPr txBox="1">
            <a:spLocks/>
          </p:cNvSpPr>
          <p:nvPr/>
        </p:nvSpPr>
        <p:spPr>
          <a:xfrm>
            <a:off x="1059192" y="7825484"/>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pic>
        <p:nvPicPr>
          <p:cNvPr id="37" name="Grafik 36" descr="Lesezeichen mit einfarbiger Füllung">
            <a:extLst>
              <a:ext uri="{FF2B5EF4-FFF2-40B4-BE49-F238E27FC236}">
                <a16:creationId xmlns:a16="http://schemas.microsoft.com/office/drawing/2014/main" id="{783F5A9A-CF35-7648-4DE9-A1B308E39C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586" y="6888778"/>
            <a:ext cx="321040" cy="321040"/>
          </a:xfrm>
          <a:prstGeom prst="rect">
            <a:avLst/>
          </a:prstGeom>
        </p:spPr>
      </p:pic>
      <p:sp>
        <p:nvSpPr>
          <p:cNvPr id="38" name="Untertitel 2">
            <a:extLst>
              <a:ext uri="{FF2B5EF4-FFF2-40B4-BE49-F238E27FC236}">
                <a16:creationId xmlns:a16="http://schemas.microsoft.com/office/drawing/2014/main" id="{922104CE-9575-3B24-2116-EBD5827CD0F2}"/>
              </a:ext>
            </a:extLst>
          </p:cNvPr>
          <p:cNvSpPr txBox="1">
            <a:spLocks/>
          </p:cNvSpPr>
          <p:nvPr/>
        </p:nvSpPr>
        <p:spPr>
          <a:xfrm>
            <a:off x="1074762" y="7818446"/>
            <a:ext cx="5010826" cy="1745949"/>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The wind direction has an influence on the power generation of a wind turbine.</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We have found that direct wind produces more power. Therefore, the angle of attack is an important concept to consider.</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A functioning tail fin is required so that the turbine can face directly into the wind. This is because the turbine moves to reduce drag on the tail fin.</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Therefore, a tail fin is essential for generating the maximum possible power.</a:t>
            </a:r>
            <a:endParaRPr lang="en-GB" sz="1200" noProof="0" dirty="0">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endParaRPr lang="en-GB" sz="1200" noProof="0" dirty="0">
              <a:latin typeface="Sofia Sans" panose="020B0604020202020204" charset="0"/>
            </a:endParaRPr>
          </a:p>
          <a:p>
            <a:pPr marL="457200" indent="-317500">
              <a:lnSpc>
                <a:spcPct val="115000"/>
              </a:lnSpc>
              <a:buClr>
                <a:schemeClr val="lt1"/>
              </a:buClr>
              <a:buSzPts val="1400"/>
            </a:pPr>
            <a:endParaRPr lang="en-GB" sz="1200" noProof="0" dirty="0">
              <a:latin typeface="Sofia Sans" panose="020B0604020202020204" charset="0"/>
            </a:endParaRPr>
          </a:p>
        </p:txBody>
      </p:sp>
    </p:spTree>
    <p:extLst>
      <p:ext uri="{BB962C8B-B14F-4D97-AF65-F5344CB8AC3E}">
        <p14:creationId xmlns:p14="http://schemas.microsoft.com/office/powerpoint/2010/main" val="408714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E08FECA-0BAF-9D0E-C810-D24DA73619EB}"/>
              </a:ext>
            </a:extLst>
          </p:cNvPr>
          <p:cNvSpPr>
            <a:spLocks noGrp="1"/>
          </p:cNvSpPr>
          <p:nvPr>
            <p:ph type="sldNum" sz="quarter" idx="4"/>
          </p:nvPr>
        </p:nvSpPr>
        <p:spPr>
          <a:xfrm>
            <a:off x="5371664" y="10139358"/>
            <a:ext cx="1701800" cy="569913"/>
          </a:xfrm>
        </p:spPr>
        <p:txBody>
          <a:bodyPr/>
          <a:lstStyle/>
          <a:p>
            <a:fld id="{DF7F771E-9578-4C04-B869-01AF4C35C90C}" type="slidenum">
              <a:rPr lang="en-GB" noProof="0" smtClean="0"/>
              <a:t>49</a:t>
            </a:fld>
            <a:endParaRPr lang="en-GB" noProof="0"/>
          </a:p>
        </p:txBody>
      </p:sp>
      <p:sp>
        <p:nvSpPr>
          <p:cNvPr id="2" name="Ellipse 1">
            <a:extLst>
              <a:ext uri="{FF2B5EF4-FFF2-40B4-BE49-F238E27FC236}">
                <a16:creationId xmlns:a16="http://schemas.microsoft.com/office/drawing/2014/main" id="{8DF91FA9-194B-187E-AF19-D03625582856}"/>
              </a:ext>
            </a:extLst>
          </p:cNvPr>
          <p:cNvSpPr/>
          <p:nvPr/>
        </p:nvSpPr>
        <p:spPr>
          <a:xfrm>
            <a:off x="1433352" y="5722513"/>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Ellipse 6">
            <a:extLst>
              <a:ext uri="{FF2B5EF4-FFF2-40B4-BE49-F238E27FC236}">
                <a16:creationId xmlns:a16="http://schemas.microsoft.com/office/drawing/2014/main" id="{15F9DA44-5138-2324-896A-CE1AC4EECEB5}"/>
              </a:ext>
            </a:extLst>
          </p:cNvPr>
          <p:cNvSpPr/>
          <p:nvPr/>
        </p:nvSpPr>
        <p:spPr>
          <a:xfrm>
            <a:off x="2550025" y="5722586"/>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Ellipse 9">
            <a:extLst>
              <a:ext uri="{FF2B5EF4-FFF2-40B4-BE49-F238E27FC236}">
                <a16:creationId xmlns:a16="http://schemas.microsoft.com/office/drawing/2014/main" id="{FFE52F3F-8C8B-1F03-70F2-7FFDAEA10D3D}"/>
              </a:ext>
            </a:extLst>
          </p:cNvPr>
          <p:cNvSpPr/>
          <p:nvPr/>
        </p:nvSpPr>
        <p:spPr>
          <a:xfrm>
            <a:off x="1447177" y="6377869"/>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Ellipse 10">
            <a:extLst>
              <a:ext uri="{FF2B5EF4-FFF2-40B4-BE49-F238E27FC236}">
                <a16:creationId xmlns:a16="http://schemas.microsoft.com/office/drawing/2014/main" id="{A4BD3A12-7EA5-D5C3-CB04-EA0BD842AAD0}"/>
              </a:ext>
            </a:extLst>
          </p:cNvPr>
          <p:cNvSpPr/>
          <p:nvPr/>
        </p:nvSpPr>
        <p:spPr>
          <a:xfrm>
            <a:off x="2563698" y="6377943"/>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Ellipse 11">
            <a:extLst>
              <a:ext uri="{FF2B5EF4-FFF2-40B4-BE49-F238E27FC236}">
                <a16:creationId xmlns:a16="http://schemas.microsoft.com/office/drawing/2014/main" id="{958A8A82-7D13-394C-AAF6-33CE8FEC1297}"/>
              </a:ext>
            </a:extLst>
          </p:cNvPr>
          <p:cNvSpPr/>
          <p:nvPr/>
        </p:nvSpPr>
        <p:spPr>
          <a:xfrm>
            <a:off x="2569489" y="6972518"/>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 name="Ellipse 12">
            <a:extLst>
              <a:ext uri="{FF2B5EF4-FFF2-40B4-BE49-F238E27FC236}">
                <a16:creationId xmlns:a16="http://schemas.microsoft.com/office/drawing/2014/main" id="{D9A213EC-57EB-9A97-7374-0FA658EC8A87}"/>
              </a:ext>
            </a:extLst>
          </p:cNvPr>
          <p:cNvSpPr/>
          <p:nvPr/>
        </p:nvSpPr>
        <p:spPr>
          <a:xfrm>
            <a:off x="2555094" y="7608330"/>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 name="Ellipse 13">
            <a:extLst>
              <a:ext uri="{FF2B5EF4-FFF2-40B4-BE49-F238E27FC236}">
                <a16:creationId xmlns:a16="http://schemas.microsoft.com/office/drawing/2014/main" id="{1A9595D0-0EDE-AE8C-CDD6-7183393EC758}"/>
              </a:ext>
            </a:extLst>
          </p:cNvPr>
          <p:cNvSpPr/>
          <p:nvPr/>
        </p:nvSpPr>
        <p:spPr>
          <a:xfrm>
            <a:off x="2542132" y="8183592"/>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llipse 14">
            <a:extLst>
              <a:ext uri="{FF2B5EF4-FFF2-40B4-BE49-F238E27FC236}">
                <a16:creationId xmlns:a16="http://schemas.microsoft.com/office/drawing/2014/main" id="{17C3873C-EC78-2740-5E01-6896B5F07254}"/>
              </a:ext>
            </a:extLst>
          </p:cNvPr>
          <p:cNvSpPr/>
          <p:nvPr/>
        </p:nvSpPr>
        <p:spPr>
          <a:xfrm>
            <a:off x="1425797" y="8183668"/>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9B7E8834-E0F0-0B8C-14E8-4024EECA1F8C}"/>
              </a:ext>
            </a:extLst>
          </p:cNvPr>
          <p:cNvSpPr/>
          <p:nvPr/>
        </p:nvSpPr>
        <p:spPr>
          <a:xfrm>
            <a:off x="1438945" y="7608552"/>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C046C142-CEC9-230D-300A-01E539620B8E}"/>
              </a:ext>
            </a:extLst>
          </p:cNvPr>
          <p:cNvSpPr/>
          <p:nvPr/>
        </p:nvSpPr>
        <p:spPr>
          <a:xfrm>
            <a:off x="1453526" y="6972889"/>
            <a:ext cx="164165" cy="172390"/>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mc:AlternateContent xmlns:mc="http://schemas.openxmlformats.org/markup-compatibility/2006" xmlns:p14="http://schemas.microsoft.com/office/powerpoint/2010/main">
        <mc:Choice Requires="p14">
          <p:contentPart p14:bwMode="auto" r:id="rId2">
            <p14:nvContentPartPr>
              <p14:cNvPr id="18" name="Freihand 17">
                <a:extLst>
                  <a:ext uri="{FF2B5EF4-FFF2-40B4-BE49-F238E27FC236}">
                    <a16:creationId xmlns:a16="http://schemas.microsoft.com/office/drawing/2014/main" id="{7A2785AF-7ED5-2AC8-1E4B-7E3697A2BFA9}"/>
                  </a:ext>
                </a:extLst>
              </p14:cNvPr>
              <p14:cNvContentPartPr/>
              <p14:nvPr/>
            </p14:nvContentPartPr>
            <p14:xfrm>
              <a:off x="1465991" y="5737871"/>
              <a:ext cx="96866" cy="108209"/>
            </p14:xfrm>
          </p:contentPart>
        </mc:Choice>
        <mc:Fallback xmlns="">
          <p:pic>
            <p:nvPicPr>
              <p:cNvPr id="18" name="Freihand 17">
                <a:extLst>
                  <a:ext uri="{FF2B5EF4-FFF2-40B4-BE49-F238E27FC236}">
                    <a16:creationId xmlns:a16="http://schemas.microsoft.com/office/drawing/2014/main" id="{7A2785AF-7ED5-2AC8-1E4B-7E3697A2BFA9}"/>
                  </a:ext>
                </a:extLst>
              </p:cNvPr>
              <p:cNvPicPr/>
              <p:nvPr/>
            </p:nvPicPr>
            <p:blipFill>
              <a:blip r:embed="rId3"/>
              <a:stretch>
                <a:fillRect/>
              </a:stretch>
            </p:blipFill>
            <p:spPr>
              <a:xfrm>
                <a:off x="1448053" y="5719956"/>
                <a:ext cx="132384" cy="143681"/>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20" name="Freihand 19">
                <a:extLst>
                  <a:ext uri="{FF2B5EF4-FFF2-40B4-BE49-F238E27FC236}">
                    <a16:creationId xmlns:a16="http://schemas.microsoft.com/office/drawing/2014/main" id="{D6696518-473D-812C-DED5-84B8C6895573}"/>
                  </a:ext>
                </a:extLst>
              </p14:cNvPr>
              <p14:cNvContentPartPr/>
              <p14:nvPr/>
            </p14:nvContentPartPr>
            <p14:xfrm>
              <a:off x="1466437" y="5729669"/>
              <a:ext cx="73379" cy="97161"/>
            </p14:xfrm>
          </p:contentPart>
        </mc:Choice>
        <mc:Fallback xmlns="">
          <p:pic>
            <p:nvPicPr>
              <p:cNvPr id="20" name="Freihand 19">
                <a:extLst>
                  <a:ext uri="{FF2B5EF4-FFF2-40B4-BE49-F238E27FC236}">
                    <a16:creationId xmlns:a16="http://schemas.microsoft.com/office/drawing/2014/main" id="{D6696518-473D-812C-DED5-84B8C6895573}"/>
                  </a:ext>
                </a:extLst>
              </p:cNvPr>
              <p:cNvPicPr/>
              <p:nvPr/>
            </p:nvPicPr>
            <p:blipFill>
              <a:blip r:embed="rId5"/>
              <a:stretch>
                <a:fillRect/>
              </a:stretch>
            </p:blipFill>
            <p:spPr>
              <a:xfrm>
                <a:off x="1448540" y="5711743"/>
                <a:ext cx="108816" cy="132655"/>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1" name="Freihand 20">
                <a:extLst>
                  <a:ext uri="{FF2B5EF4-FFF2-40B4-BE49-F238E27FC236}">
                    <a16:creationId xmlns:a16="http://schemas.microsoft.com/office/drawing/2014/main" id="{D87F246B-D4A5-BC47-30B1-D15397521698}"/>
                  </a:ext>
                </a:extLst>
              </p14:cNvPr>
              <p14:cNvContentPartPr/>
              <p14:nvPr/>
            </p14:nvContentPartPr>
            <p14:xfrm>
              <a:off x="2586866" y="6384558"/>
              <a:ext cx="91617" cy="120743"/>
            </p14:xfrm>
          </p:contentPart>
        </mc:Choice>
        <mc:Fallback xmlns="">
          <p:pic>
            <p:nvPicPr>
              <p:cNvPr id="21" name="Freihand 20">
                <a:extLst>
                  <a:ext uri="{FF2B5EF4-FFF2-40B4-BE49-F238E27FC236}">
                    <a16:creationId xmlns:a16="http://schemas.microsoft.com/office/drawing/2014/main" id="{D87F246B-D4A5-BC47-30B1-D15397521698}"/>
                  </a:ext>
                </a:extLst>
              </p:cNvPr>
              <p:cNvPicPr/>
              <p:nvPr/>
            </p:nvPicPr>
            <p:blipFill>
              <a:blip r:embed="rId7"/>
              <a:stretch>
                <a:fillRect/>
              </a:stretch>
            </p:blipFill>
            <p:spPr>
              <a:xfrm>
                <a:off x="2568902" y="6366644"/>
                <a:ext cx="127186" cy="156213"/>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2" name="Freihand 21">
                <a:extLst>
                  <a:ext uri="{FF2B5EF4-FFF2-40B4-BE49-F238E27FC236}">
                    <a16:creationId xmlns:a16="http://schemas.microsoft.com/office/drawing/2014/main" id="{2F3BC88F-11D6-D396-4509-0F950C67F54C}"/>
                  </a:ext>
                </a:extLst>
              </p14:cNvPr>
              <p14:cNvContentPartPr/>
              <p14:nvPr/>
            </p14:nvContentPartPr>
            <p14:xfrm>
              <a:off x="2582976" y="6363103"/>
              <a:ext cx="110528" cy="134313"/>
            </p14:xfrm>
          </p:contentPart>
        </mc:Choice>
        <mc:Fallback xmlns="">
          <p:pic>
            <p:nvPicPr>
              <p:cNvPr id="22" name="Freihand 21">
                <a:extLst>
                  <a:ext uri="{FF2B5EF4-FFF2-40B4-BE49-F238E27FC236}">
                    <a16:creationId xmlns:a16="http://schemas.microsoft.com/office/drawing/2014/main" id="{2F3BC88F-11D6-D396-4509-0F950C67F54C}"/>
                  </a:ext>
                </a:extLst>
              </p:cNvPr>
              <p:cNvPicPr/>
              <p:nvPr/>
            </p:nvPicPr>
            <p:blipFill>
              <a:blip r:embed="rId9"/>
              <a:stretch>
                <a:fillRect/>
              </a:stretch>
            </p:blipFill>
            <p:spPr>
              <a:xfrm>
                <a:off x="2565033" y="6345147"/>
                <a:ext cx="146055" cy="169866"/>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3" name="Freihand 22">
                <a:extLst>
                  <a:ext uri="{FF2B5EF4-FFF2-40B4-BE49-F238E27FC236}">
                    <a16:creationId xmlns:a16="http://schemas.microsoft.com/office/drawing/2014/main" id="{E94C07AD-6FE0-7474-CD29-A8F0CB177DE1}"/>
                  </a:ext>
                </a:extLst>
              </p14:cNvPr>
              <p14:cNvContentPartPr/>
              <p14:nvPr/>
            </p14:nvContentPartPr>
            <p14:xfrm>
              <a:off x="1485116" y="6962316"/>
              <a:ext cx="101581" cy="192722"/>
            </p14:xfrm>
          </p:contentPart>
        </mc:Choice>
        <mc:Fallback xmlns="">
          <p:pic>
            <p:nvPicPr>
              <p:cNvPr id="23" name="Freihand 22">
                <a:extLst>
                  <a:ext uri="{FF2B5EF4-FFF2-40B4-BE49-F238E27FC236}">
                    <a16:creationId xmlns:a16="http://schemas.microsoft.com/office/drawing/2014/main" id="{E94C07AD-6FE0-7474-CD29-A8F0CB177DE1}"/>
                  </a:ext>
                </a:extLst>
              </p:cNvPr>
              <p:cNvPicPr/>
              <p:nvPr/>
            </p:nvPicPr>
            <p:blipFill>
              <a:blip r:embed="rId11"/>
              <a:stretch>
                <a:fillRect/>
              </a:stretch>
            </p:blipFill>
            <p:spPr>
              <a:xfrm>
                <a:off x="1467169" y="6944372"/>
                <a:ext cx="137116" cy="228252"/>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4" name="Freihand 23">
                <a:extLst>
                  <a:ext uri="{FF2B5EF4-FFF2-40B4-BE49-F238E27FC236}">
                    <a16:creationId xmlns:a16="http://schemas.microsoft.com/office/drawing/2014/main" id="{6E4B759B-1007-A20E-0504-29E0A61BC948}"/>
                  </a:ext>
                </a:extLst>
              </p14:cNvPr>
              <p14:cNvContentPartPr/>
              <p14:nvPr/>
            </p14:nvContentPartPr>
            <p14:xfrm>
              <a:off x="1452770" y="6962316"/>
              <a:ext cx="134405" cy="140226"/>
            </p14:xfrm>
          </p:contentPart>
        </mc:Choice>
        <mc:Fallback xmlns="">
          <p:pic>
            <p:nvPicPr>
              <p:cNvPr id="24" name="Freihand 23">
                <a:extLst>
                  <a:ext uri="{FF2B5EF4-FFF2-40B4-BE49-F238E27FC236}">
                    <a16:creationId xmlns:a16="http://schemas.microsoft.com/office/drawing/2014/main" id="{6E4B759B-1007-A20E-0504-29E0A61BC948}"/>
                  </a:ext>
                </a:extLst>
              </p:cNvPr>
              <p:cNvPicPr/>
              <p:nvPr/>
            </p:nvPicPr>
            <p:blipFill>
              <a:blip r:embed="rId13"/>
              <a:stretch>
                <a:fillRect/>
              </a:stretch>
            </p:blipFill>
            <p:spPr>
              <a:xfrm>
                <a:off x="1434849" y="6944384"/>
                <a:ext cx="169888" cy="175731"/>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5" name="Freihand 24">
                <a:extLst>
                  <a:ext uri="{FF2B5EF4-FFF2-40B4-BE49-F238E27FC236}">
                    <a16:creationId xmlns:a16="http://schemas.microsoft.com/office/drawing/2014/main" id="{639CDF51-93E7-22AD-9F85-EEEC3DF2179E}"/>
                  </a:ext>
                </a:extLst>
              </p14:cNvPr>
              <p14:cNvContentPartPr/>
              <p14:nvPr/>
            </p14:nvContentPartPr>
            <p14:xfrm>
              <a:off x="2578018" y="7597729"/>
              <a:ext cx="135620" cy="181411"/>
            </p14:xfrm>
          </p:contentPart>
        </mc:Choice>
        <mc:Fallback xmlns="">
          <p:pic>
            <p:nvPicPr>
              <p:cNvPr id="25" name="Freihand 24">
                <a:extLst>
                  <a:ext uri="{FF2B5EF4-FFF2-40B4-BE49-F238E27FC236}">
                    <a16:creationId xmlns:a16="http://schemas.microsoft.com/office/drawing/2014/main" id="{639CDF51-93E7-22AD-9F85-EEEC3DF2179E}"/>
                  </a:ext>
                </a:extLst>
              </p:cNvPr>
              <p:cNvPicPr/>
              <p:nvPr/>
            </p:nvPicPr>
            <p:blipFill>
              <a:blip r:embed="rId15"/>
              <a:stretch>
                <a:fillRect/>
              </a:stretch>
            </p:blipFill>
            <p:spPr>
              <a:xfrm>
                <a:off x="2560031" y="7579768"/>
                <a:ext cx="171234" cy="216975"/>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6" name="Freihand 25">
                <a:extLst>
                  <a:ext uri="{FF2B5EF4-FFF2-40B4-BE49-F238E27FC236}">
                    <a16:creationId xmlns:a16="http://schemas.microsoft.com/office/drawing/2014/main" id="{BA485899-61F8-B3B9-7B5D-54E5E1FD770A}"/>
                  </a:ext>
                </a:extLst>
              </p14:cNvPr>
              <p14:cNvContentPartPr/>
              <p14:nvPr/>
            </p14:nvContentPartPr>
            <p14:xfrm>
              <a:off x="2584312" y="7582068"/>
              <a:ext cx="92139" cy="137793"/>
            </p14:xfrm>
          </p:contentPart>
        </mc:Choice>
        <mc:Fallback xmlns="">
          <p:pic>
            <p:nvPicPr>
              <p:cNvPr id="26" name="Freihand 25">
                <a:extLst>
                  <a:ext uri="{FF2B5EF4-FFF2-40B4-BE49-F238E27FC236}">
                    <a16:creationId xmlns:a16="http://schemas.microsoft.com/office/drawing/2014/main" id="{BA485899-61F8-B3B9-7B5D-54E5E1FD770A}"/>
                  </a:ext>
                </a:extLst>
              </p:cNvPr>
              <p:cNvPicPr/>
              <p:nvPr/>
            </p:nvPicPr>
            <p:blipFill>
              <a:blip r:embed="rId17"/>
              <a:stretch>
                <a:fillRect/>
              </a:stretch>
            </p:blipFill>
            <p:spPr>
              <a:xfrm>
                <a:off x="2566386" y="7564126"/>
                <a:ext cx="127632" cy="173318"/>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7" name="Freihand 26">
                <a:extLst>
                  <a:ext uri="{FF2B5EF4-FFF2-40B4-BE49-F238E27FC236}">
                    <a16:creationId xmlns:a16="http://schemas.microsoft.com/office/drawing/2014/main" id="{04631351-EC26-6174-9468-C44407B4E9E9}"/>
                  </a:ext>
                </a:extLst>
              </p14:cNvPr>
              <p14:cNvContentPartPr/>
              <p14:nvPr/>
            </p14:nvContentPartPr>
            <p14:xfrm>
              <a:off x="1457574" y="8164344"/>
              <a:ext cx="126886" cy="132464"/>
            </p14:xfrm>
          </p:contentPart>
        </mc:Choice>
        <mc:Fallback xmlns="">
          <p:pic>
            <p:nvPicPr>
              <p:cNvPr id="27" name="Freihand 26">
                <a:extLst>
                  <a:ext uri="{FF2B5EF4-FFF2-40B4-BE49-F238E27FC236}">
                    <a16:creationId xmlns:a16="http://schemas.microsoft.com/office/drawing/2014/main" id="{04631351-EC26-6174-9468-C44407B4E9E9}"/>
                  </a:ext>
                </a:extLst>
              </p:cNvPr>
              <p:cNvPicPr/>
              <p:nvPr/>
            </p:nvPicPr>
            <p:blipFill>
              <a:blip r:embed="rId19"/>
              <a:stretch>
                <a:fillRect/>
              </a:stretch>
            </p:blipFill>
            <p:spPr>
              <a:xfrm>
                <a:off x="1439601" y="8146395"/>
                <a:ext cx="162472" cy="168003"/>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8" name="Freihand 27">
                <a:extLst>
                  <a:ext uri="{FF2B5EF4-FFF2-40B4-BE49-F238E27FC236}">
                    <a16:creationId xmlns:a16="http://schemas.microsoft.com/office/drawing/2014/main" id="{AF723341-60E9-4AF0-1863-C6FA44A81E3B}"/>
                  </a:ext>
                </a:extLst>
              </p14:cNvPr>
              <p14:cNvContentPartPr/>
              <p14:nvPr/>
            </p14:nvContentPartPr>
            <p14:xfrm>
              <a:off x="1494946" y="8139735"/>
              <a:ext cx="77467" cy="195861"/>
            </p14:xfrm>
          </p:contentPart>
        </mc:Choice>
        <mc:Fallback xmlns="">
          <p:pic>
            <p:nvPicPr>
              <p:cNvPr id="28" name="Freihand 27">
                <a:extLst>
                  <a:ext uri="{FF2B5EF4-FFF2-40B4-BE49-F238E27FC236}">
                    <a16:creationId xmlns:a16="http://schemas.microsoft.com/office/drawing/2014/main" id="{AF723341-60E9-4AF0-1863-C6FA44A81E3B}"/>
                  </a:ext>
                </a:extLst>
              </p:cNvPr>
              <p:cNvPicPr/>
              <p:nvPr/>
            </p:nvPicPr>
            <p:blipFill>
              <a:blip r:embed="rId21"/>
              <a:stretch>
                <a:fillRect/>
              </a:stretch>
            </p:blipFill>
            <p:spPr>
              <a:xfrm>
                <a:off x="1477096" y="8121766"/>
                <a:ext cx="112809" cy="231439"/>
              </a:xfrm>
              <a:prstGeom prst="rect">
                <a:avLst/>
              </a:prstGeom>
            </p:spPr>
          </p:pic>
        </mc:Fallback>
      </mc:AlternateContent>
      <p:sp>
        <p:nvSpPr>
          <p:cNvPr id="32" name="Untertitel 5">
            <a:extLst>
              <a:ext uri="{FF2B5EF4-FFF2-40B4-BE49-F238E27FC236}">
                <a16:creationId xmlns:a16="http://schemas.microsoft.com/office/drawing/2014/main" id="{F7F143E8-3797-6FF8-F3C2-F4FEA1A998DB}"/>
              </a:ext>
            </a:extLst>
          </p:cNvPr>
          <p:cNvSpPr txBox="1">
            <a:spLocks/>
          </p:cNvSpPr>
          <p:nvPr/>
        </p:nvSpPr>
        <p:spPr>
          <a:xfrm>
            <a:off x="758287" y="199478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33" name="Untertitel 3">
            <a:extLst>
              <a:ext uri="{FF2B5EF4-FFF2-40B4-BE49-F238E27FC236}">
                <a16:creationId xmlns:a16="http://schemas.microsoft.com/office/drawing/2014/main" id="{2C19F560-4FB5-A806-49F2-6F8812117B62}"/>
              </a:ext>
            </a:extLst>
          </p:cNvPr>
          <p:cNvSpPr txBox="1">
            <a:spLocks/>
          </p:cNvSpPr>
          <p:nvPr/>
        </p:nvSpPr>
        <p:spPr>
          <a:xfrm>
            <a:off x="719138" y="2415531"/>
            <a:ext cx="6064990" cy="209279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dirty="0"/>
              <a:t>What have we learned so far? Fill in the blanks and find out!</a:t>
            </a:r>
          </a:p>
          <a:p>
            <a:pPr marL="228600" indent="0">
              <a:lnSpc>
                <a:spcPct val="114999"/>
              </a:lnSpc>
            </a:pPr>
            <a:endParaRPr lang="en-GB" sz="1150" b="1" noProof="0" dirty="0"/>
          </a:p>
          <a:p>
            <a:pPr marL="285750" indent="-285750">
              <a:lnSpc>
                <a:spcPct val="114999"/>
              </a:lnSpc>
              <a:buFont typeface="Arial"/>
              <a:buChar char="•"/>
            </a:pPr>
            <a:r>
              <a:rPr lang="en-GB" sz="1150" noProof="0" dirty="0"/>
              <a:t>The __________ (</a:t>
            </a:r>
            <a:r>
              <a:rPr lang="en-GB" sz="1150" noProof="0" dirty="0">
                <a:solidFill>
                  <a:srgbClr val="FF0000"/>
                </a:solidFill>
              </a:rPr>
              <a:t>direct</a:t>
            </a:r>
            <a:r>
              <a:rPr lang="en-GB" sz="1150" noProof="0" dirty="0"/>
              <a:t>/side) wind has more power. </a:t>
            </a:r>
            <a:endParaRPr lang="en-GB" sz="1200" noProof="0" dirty="0"/>
          </a:p>
          <a:p>
            <a:pPr marL="285750" indent="-285750">
              <a:lnSpc>
                <a:spcPct val="114999"/>
              </a:lnSpc>
              <a:buFont typeface="Arial"/>
              <a:buChar char="•"/>
            </a:pPr>
            <a:r>
              <a:rPr lang="en-GB" sz="1150" noProof="0" dirty="0"/>
              <a:t>To make the wind turbine face the wind, we attach a __________ (</a:t>
            </a:r>
            <a:r>
              <a:rPr lang="en-GB" sz="1150" noProof="0" dirty="0">
                <a:solidFill>
                  <a:srgbClr val="FF0000"/>
                </a:solidFill>
              </a:rPr>
              <a:t>tail fin</a:t>
            </a:r>
            <a:r>
              <a:rPr lang="en-GB" sz="1150" noProof="0" dirty="0"/>
              <a:t>/rotor blade).</a:t>
            </a:r>
          </a:p>
          <a:p>
            <a:pPr marL="285750" indent="-285750">
              <a:lnSpc>
                <a:spcPct val="114999"/>
              </a:lnSpc>
              <a:buFont typeface="Arial"/>
              <a:buChar char="•"/>
            </a:pPr>
            <a:r>
              <a:rPr lang="en-GB" sz="1150" dirty="0"/>
              <a:t>The __________ (</a:t>
            </a:r>
            <a:r>
              <a:rPr lang="en-GB" sz="1150" dirty="0">
                <a:solidFill>
                  <a:srgbClr val="FF0000"/>
                </a:solidFill>
              </a:rPr>
              <a:t>turbine</a:t>
            </a:r>
            <a:r>
              <a:rPr lang="en-GB" sz="1150" dirty="0"/>
              <a:t>/generator) spins to face the direct wind direction.</a:t>
            </a:r>
          </a:p>
          <a:p>
            <a:pPr marL="285750" indent="-285750">
              <a:lnSpc>
                <a:spcPct val="114999"/>
              </a:lnSpc>
              <a:buFont typeface="Arial"/>
              <a:buChar char="•"/>
            </a:pPr>
            <a:r>
              <a:rPr lang="en-GB" sz="1150" dirty="0"/>
              <a:t>The turbine moves to reduce __________ (power/</a:t>
            </a:r>
            <a:r>
              <a:rPr lang="en-GB" sz="1150" dirty="0">
                <a:solidFill>
                  <a:srgbClr val="FF0000"/>
                </a:solidFill>
              </a:rPr>
              <a:t>drag</a:t>
            </a:r>
            <a:r>
              <a:rPr lang="en-GB" sz="1150" dirty="0"/>
              <a:t>) on the tail fin. </a:t>
            </a:r>
          </a:p>
          <a:p>
            <a:pPr marL="285750" indent="-285750">
              <a:lnSpc>
                <a:spcPct val="114999"/>
              </a:lnSpc>
              <a:buFont typeface="Arial"/>
              <a:buChar char="•"/>
            </a:pPr>
            <a:r>
              <a:rPr lang="en-GB" sz="1150" dirty="0"/>
              <a:t>The __________ (speed/</a:t>
            </a:r>
            <a:r>
              <a:rPr lang="en-GB" sz="1150" dirty="0">
                <a:solidFill>
                  <a:srgbClr val="FF0000"/>
                </a:solidFill>
              </a:rPr>
              <a:t>angle</a:t>
            </a:r>
            <a:r>
              <a:rPr lang="en-GB" sz="1150" dirty="0"/>
              <a:t>) of attack affects how the turbine faces the wind. </a:t>
            </a:r>
          </a:p>
          <a:p>
            <a:pPr marL="285750" indent="-285750">
              <a:lnSpc>
                <a:spcPct val="114999"/>
              </a:lnSpc>
              <a:buFont typeface="Arial"/>
              <a:buChar char="•"/>
            </a:pPr>
            <a:r>
              <a:rPr lang="en-GB" sz="1150" dirty="0"/>
              <a:t>_______ (</a:t>
            </a:r>
            <a:r>
              <a:rPr lang="en-GB" sz="1150" dirty="0">
                <a:solidFill>
                  <a:srgbClr val="FF0000"/>
                </a:solidFill>
              </a:rPr>
              <a:t>Direct</a:t>
            </a:r>
            <a:r>
              <a:rPr lang="en-GB" sz="1150" dirty="0"/>
              <a:t>/Side) wind has more power to move wind turbines. </a:t>
            </a:r>
          </a:p>
          <a:p>
            <a:pPr marL="285750" indent="-285750">
              <a:lnSpc>
                <a:spcPct val="114999"/>
              </a:lnSpc>
              <a:buFont typeface="Arial"/>
              <a:buChar char="•"/>
            </a:pPr>
            <a:r>
              <a:rPr lang="en-GB" sz="1150" dirty="0"/>
              <a:t>Wind turbines need _________ (less/</a:t>
            </a:r>
            <a:r>
              <a:rPr lang="en-GB" sz="1150" dirty="0">
                <a:solidFill>
                  <a:srgbClr val="FF0000"/>
                </a:solidFill>
              </a:rPr>
              <a:t>more</a:t>
            </a:r>
            <a:r>
              <a:rPr lang="en-GB" sz="1150" dirty="0"/>
              <a:t>) wind to produce much energy. </a:t>
            </a:r>
          </a:p>
          <a:p>
            <a:pPr marL="139700" indent="0">
              <a:lnSpc>
                <a:spcPct val="114999"/>
              </a:lnSpc>
            </a:pPr>
            <a:endParaRPr lang="en-GB" noProof="0" dirty="0"/>
          </a:p>
        </p:txBody>
      </p:sp>
      <p:sp>
        <p:nvSpPr>
          <p:cNvPr id="34" name="Titel 1">
            <a:extLst>
              <a:ext uri="{FF2B5EF4-FFF2-40B4-BE49-F238E27FC236}">
                <a16:creationId xmlns:a16="http://schemas.microsoft.com/office/drawing/2014/main" id="{2613E4B2-C69C-39C1-482C-3B37FADC65C2}"/>
              </a:ext>
            </a:extLst>
          </p:cNvPr>
          <p:cNvSpPr txBox="1">
            <a:spLocks/>
          </p:cNvSpPr>
          <p:nvPr/>
        </p:nvSpPr>
        <p:spPr>
          <a:xfrm>
            <a:off x="748698" y="1295866"/>
            <a:ext cx="6380336" cy="672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4800"/>
              <a:buFont typeface="Epilogue"/>
              <a:buNone/>
              <a:defRPr sz="3059"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4800"/>
              <a:buFont typeface="Epilogue"/>
              <a:buNone/>
              <a:defRPr sz="3968" b="1" i="0" u="none" strike="noStrike" cap="none">
                <a:solidFill>
                  <a:schemeClr val="dk1"/>
                </a:solidFill>
                <a:latin typeface="Epilogue"/>
                <a:ea typeface="Epilogue"/>
                <a:cs typeface="Epilogue"/>
                <a:sym typeface="Epilogue"/>
              </a:defRPr>
            </a:lvl9pPr>
          </a:lstStyle>
          <a:p>
            <a:r>
              <a:rPr lang="en-GB" dirty="0"/>
              <a:t>Let’s test your knowledge!</a:t>
            </a:r>
          </a:p>
        </p:txBody>
      </p:sp>
      <p:sp>
        <p:nvSpPr>
          <p:cNvPr id="35" name="Untertitel 5">
            <a:extLst>
              <a:ext uri="{FF2B5EF4-FFF2-40B4-BE49-F238E27FC236}">
                <a16:creationId xmlns:a16="http://schemas.microsoft.com/office/drawing/2014/main" id="{C0CC801E-6AE3-A2CA-23D8-3C01A87457ED}"/>
              </a:ext>
            </a:extLst>
          </p:cNvPr>
          <p:cNvSpPr txBox="1">
            <a:spLocks/>
          </p:cNvSpPr>
          <p:nvPr/>
        </p:nvSpPr>
        <p:spPr>
          <a:xfrm>
            <a:off x="769678" y="458048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36" name="Untertitel 3">
            <a:extLst>
              <a:ext uri="{FF2B5EF4-FFF2-40B4-BE49-F238E27FC236}">
                <a16:creationId xmlns:a16="http://schemas.microsoft.com/office/drawing/2014/main" id="{237786D9-9468-8729-45B6-0C39F15C7DE0}"/>
              </a:ext>
            </a:extLst>
          </p:cNvPr>
          <p:cNvSpPr txBox="1">
            <a:spLocks/>
          </p:cNvSpPr>
          <p:nvPr/>
        </p:nvSpPr>
        <p:spPr>
          <a:xfrm>
            <a:off x="772173" y="5001233"/>
            <a:ext cx="6023346" cy="351889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dirty="0"/>
              <a:t>Are the following statements true or false? Tick the boxes.</a:t>
            </a:r>
          </a:p>
          <a:p>
            <a:pPr marL="228600" indent="0">
              <a:lnSpc>
                <a:spcPct val="114999"/>
              </a:lnSpc>
            </a:pPr>
            <a:endParaRPr lang="en-GB" sz="1150" b="1" noProof="0" dirty="0"/>
          </a:p>
          <a:p>
            <a:pPr marL="285750" indent="-285750">
              <a:lnSpc>
                <a:spcPct val="114999"/>
              </a:lnSpc>
              <a:buFont typeface="Arial"/>
              <a:buChar char="•"/>
            </a:pPr>
            <a:r>
              <a:rPr lang="en-GB" sz="1150" dirty="0"/>
              <a:t>Direct wind has more power than side wind.</a:t>
            </a:r>
          </a:p>
          <a:p>
            <a:pPr marL="0" indent="0">
              <a:lnSpc>
                <a:spcPct val="114999"/>
              </a:lnSpc>
              <a:buClr>
                <a:srgbClr val="A15315"/>
              </a:buClr>
            </a:pPr>
            <a:r>
              <a:rPr lang="en-GB" sz="1150" noProof="0" dirty="0"/>
              <a:t>       True                           False</a:t>
            </a:r>
          </a:p>
          <a:p>
            <a:pPr marL="0" indent="0">
              <a:lnSpc>
                <a:spcPct val="114999"/>
              </a:lnSpc>
              <a:buClr>
                <a:srgbClr val="A15315"/>
              </a:buClr>
            </a:pPr>
            <a:endParaRPr lang="en-GB" sz="1200" noProof="0" dirty="0"/>
          </a:p>
          <a:p>
            <a:pPr marL="285750" indent="-285750">
              <a:lnSpc>
                <a:spcPct val="114999"/>
              </a:lnSpc>
              <a:buFont typeface="Arial"/>
              <a:buChar char="•"/>
            </a:pPr>
            <a:r>
              <a:rPr lang="en-GB" sz="1150" noProof="0" dirty="0"/>
              <a:t>The tail fin is attached to make the turbine face away from the wind.</a:t>
            </a:r>
            <a:endParaRPr lang="en-GB" sz="1200" noProof="0" dirty="0"/>
          </a:p>
          <a:p>
            <a:pPr>
              <a:lnSpc>
                <a:spcPct val="114999"/>
              </a:lnSpc>
            </a:pPr>
            <a:r>
              <a:rPr lang="en-GB" sz="1200" noProof="0" dirty="0"/>
              <a:t>         True                          False</a:t>
            </a:r>
          </a:p>
          <a:p>
            <a:pPr>
              <a:lnSpc>
                <a:spcPct val="114999"/>
              </a:lnSpc>
            </a:pPr>
            <a:endParaRPr lang="en-GB" sz="1200" noProof="0" dirty="0">
              <a:solidFill>
                <a:srgbClr val="000000"/>
              </a:solidFill>
            </a:endParaRPr>
          </a:p>
          <a:p>
            <a:pPr marL="285750" indent="-285750">
              <a:lnSpc>
                <a:spcPct val="114999"/>
              </a:lnSpc>
              <a:buFont typeface="Arial"/>
              <a:buChar char="•"/>
            </a:pPr>
            <a:r>
              <a:rPr lang="en-GB" sz="1150" dirty="0"/>
              <a:t>The turbine moves to reduce drag on the tail fin.</a:t>
            </a:r>
          </a:p>
          <a:p>
            <a:pPr marL="0" indent="0">
              <a:lnSpc>
                <a:spcPct val="114999"/>
              </a:lnSpc>
              <a:buClr>
                <a:srgbClr val="A15315"/>
              </a:buClr>
            </a:pPr>
            <a:r>
              <a:rPr lang="en-GB" sz="1150" noProof="0" dirty="0"/>
              <a:t>       True         False</a:t>
            </a:r>
          </a:p>
          <a:p>
            <a:pPr marL="0" indent="0">
              <a:lnSpc>
                <a:spcPct val="114999"/>
              </a:lnSpc>
              <a:buClr>
                <a:srgbClr val="A15315"/>
              </a:buClr>
            </a:pPr>
            <a:endParaRPr lang="en-GB" sz="1150" noProof="0" dirty="0"/>
          </a:p>
          <a:p>
            <a:pPr marL="285750" indent="-285750">
              <a:lnSpc>
                <a:spcPct val="114999"/>
              </a:lnSpc>
              <a:buFont typeface="Arial"/>
              <a:buChar char="•"/>
            </a:pPr>
            <a:r>
              <a:rPr lang="en-GB" sz="1150" noProof="0" dirty="0"/>
              <a:t>Wind turbines do not need to face the wind to generate the most power.</a:t>
            </a:r>
            <a:endParaRPr lang="en-GB" sz="1200" noProof="0" dirty="0"/>
          </a:p>
          <a:p>
            <a:pPr marL="0" indent="0">
              <a:lnSpc>
                <a:spcPct val="114999"/>
              </a:lnSpc>
              <a:buClr>
                <a:srgbClr val="A15315"/>
              </a:buClr>
            </a:pPr>
            <a:r>
              <a:rPr lang="en-GB" sz="1150" noProof="0" dirty="0"/>
              <a:t>       True      False</a:t>
            </a:r>
          </a:p>
          <a:p>
            <a:pPr marL="0" indent="0">
              <a:lnSpc>
                <a:spcPct val="114999"/>
              </a:lnSpc>
              <a:buClr>
                <a:srgbClr val="A15315"/>
              </a:buClr>
            </a:pPr>
            <a:endParaRPr lang="en-GB" sz="1150" noProof="0" dirty="0"/>
          </a:p>
          <a:p>
            <a:pPr marL="285750" indent="-285750">
              <a:lnSpc>
                <a:spcPct val="114999"/>
              </a:lnSpc>
              <a:buClr>
                <a:schemeClr val="accent2"/>
              </a:buClr>
              <a:buFont typeface="Arial"/>
              <a:buChar char="•"/>
            </a:pPr>
            <a:r>
              <a:rPr lang="en-GB" sz="1150" dirty="0"/>
              <a:t>The tail fin helps the turbine align with the wind direction.</a:t>
            </a:r>
          </a:p>
          <a:p>
            <a:pPr marL="0" indent="0">
              <a:lnSpc>
                <a:spcPct val="114999"/>
              </a:lnSpc>
              <a:buClr>
                <a:srgbClr val="A15315"/>
              </a:buClr>
            </a:pPr>
            <a:r>
              <a:rPr lang="en-GB" sz="1150" noProof="0" dirty="0"/>
              <a:t>       True      False</a:t>
            </a:r>
          </a:p>
          <a:p>
            <a:pPr marL="228600" indent="0">
              <a:lnSpc>
                <a:spcPct val="114999"/>
              </a:lnSpc>
            </a:pPr>
            <a:endParaRPr lang="en-GB" sz="1150" b="1" noProof="0" dirty="0"/>
          </a:p>
        </p:txBody>
      </p:sp>
    </p:spTree>
    <p:extLst>
      <p:ext uri="{BB962C8B-B14F-4D97-AF65-F5344CB8AC3E}">
        <p14:creationId xmlns:p14="http://schemas.microsoft.com/office/powerpoint/2010/main" val="2184080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AEF328F-6DF4-4E36-7514-BE5192F27FB2}"/>
              </a:ext>
            </a:extLst>
          </p:cNvPr>
          <p:cNvGraphicFramePr>
            <a:graphicFrameLocks noChangeAspect="1"/>
          </p:cNvGraphicFramePr>
          <p:nvPr>
            <p:custDataLst>
              <p:tags r:id="rId1"/>
            </p:custDataLst>
            <p:extLst>
              <p:ext uri="{D42A27DB-BD31-4B8C-83A1-F6EECF244321}">
                <p14:modId xmlns:p14="http://schemas.microsoft.com/office/powerpoint/2010/main" val="647138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1AEF328F-6DF4-4E36-7514-BE5192F27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a:xfrm>
            <a:off x="743214" y="1293258"/>
            <a:ext cx="6369175" cy="1190474"/>
          </a:xfrm>
        </p:spPr>
        <p:txBody>
          <a:bodyPr vert="horz"/>
          <a:lstStyle/>
          <a:p>
            <a:r>
              <a:rPr lang="en-GB" noProof="0" dirty="0"/>
              <a:t>Why is wind important?</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en-GB" noProof="0" smtClean="0"/>
              <a:t>5</a:t>
            </a:fld>
            <a:endParaRPr lang="en-GB" noProof="0"/>
          </a:p>
        </p:txBody>
      </p:sp>
      <p:sp>
        <p:nvSpPr>
          <p:cNvPr id="6" name="Untertitel 3">
            <a:extLst>
              <a:ext uri="{FF2B5EF4-FFF2-40B4-BE49-F238E27FC236}">
                <a16:creationId xmlns:a16="http://schemas.microsoft.com/office/drawing/2014/main" id="{0E630E31-56A7-45D2-FE61-A1F165CD464C}"/>
              </a:ext>
            </a:extLst>
          </p:cNvPr>
          <p:cNvSpPr txBox="1">
            <a:spLocks/>
          </p:cNvSpPr>
          <p:nvPr/>
        </p:nvSpPr>
        <p:spPr>
          <a:xfrm>
            <a:off x="743214" y="2029097"/>
            <a:ext cx="6321425" cy="80837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25400">
              <a:lnSpc>
                <a:spcPct val="114999"/>
              </a:lnSpc>
            </a:pPr>
            <a:r>
              <a:rPr lang="en-GB" sz="1200" noProof="0" dirty="0"/>
              <a:t>Now, let's dive into wind energy! Wind energy harnesses the power of the wind to generate electricity, making use of wind turbines to capture the wind's kinetic energy and convert it into usable power.</a:t>
            </a:r>
          </a:p>
          <a:p>
            <a:pPr marL="144000">
              <a:lnSpc>
                <a:spcPct val="114999"/>
              </a:lnSpc>
            </a:pPr>
            <a:endParaRPr lang="en-GB" sz="1200" noProof="0" dirty="0"/>
          </a:p>
          <a:p>
            <a:pPr marL="144000" indent="0"/>
            <a:r>
              <a:rPr lang="en-GB" sz="1200" b="1" dirty="0">
                <a:solidFill>
                  <a:schemeClr val="accent2"/>
                </a:solidFill>
                <a:latin typeface="Epilogue"/>
              </a:rPr>
              <a:t>Why is wind energy important in Ghana?</a:t>
            </a:r>
          </a:p>
          <a:p>
            <a:pPr marL="144000">
              <a:lnSpc>
                <a:spcPct val="114999"/>
              </a:lnSpc>
            </a:pPr>
            <a:endParaRPr lang="en-GB" sz="1200" b="1" noProof="0" dirty="0">
              <a:solidFill>
                <a:schemeClr val="accent2"/>
              </a:solidFill>
            </a:endParaRPr>
          </a:p>
          <a:p>
            <a:pPr marL="144000" indent="0"/>
            <a:r>
              <a:rPr lang="en-GB" sz="1200" dirty="0"/>
              <a:t>Ghana is well-positioned to harness wind energy due to its diverse wind patterns, especially along its coastal regions. With the increasing demand for electricity and the need for sustainable solutions, wind energy offers a clean, renewable source of power. By using wind, Ghana can reduce its reliance on fossil fuels, promoting a greener and more sustainable future.</a:t>
            </a:r>
          </a:p>
          <a:p>
            <a:pPr marL="144000" indent="0"/>
            <a:r>
              <a:rPr lang="en-GB" sz="1200" dirty="0"/>
              <a:t>Furthermore, wind energy can provide independence for the country, which enables Ghana to empower itself and develop even further. </a:t>
            </a:r>
          </a:p>
          <a:p>
            <a:pPr marL="114300" indent="0">
              <a:lnSpc>
                <a:spcPct val="114999"/>
              </a:lnSpc>
            </a:pPr>
            <a:endParaRPr lang="en-GB" sz="1200" noProof="0" dirty="0"/>
          </a:p>
          <a:p>
            <a:pPr marL="144000" indent="0"/>
            <a:r>
              <a:rPr lang="en-GB" sz="1200" b="1" dirty="0">
                <a:solidFill>
                  <a:schemeClr val="accent2"/>
                </a:solidFill>
                <a:latin typeface="Epilogue"/>
                <a:sym typeface="Epilogue"/>
              </a:rPr>
              <a:t>What are some advantages of wind energy?</a:t>
            </a:r>
            <a:endParaRPr lang="en-GB" sz="1200" b="1" dirty="0">
              <a:solidFill>
                <a:schemeClr val="accent2"/>
              </a:solidFill>
              <a:latin typeface="Epilogue"/>
            </a:endParaRPr>
          </a:p>
          <a:p>
            <a:pPr marL="114300">
              <a:lnSpc>
                <a:spcPct val="114999"/>
              </a:lnSpc>
            </a:pPr>
            <a:endParaRPr lang="en-GB" sz="1200" b="1" noProof="0" dirty="0"/>
          </a:p>
          <a:p>
            <a:pPr>
              <a:lnSpc>
                <a:spcPct val="114999"/>
              </a:lnSpc>
              <a:buFont typeface="Arial" panose="020B0604020202020204" pitchFamily="34" charset="0"/>
              <a:buChar char="•"/>
            </a:pPr>
            <a:r>
              <a:rPr lang="en-GB" sz="1200" b="1" dirty="0"/>
              <a:t>Renewable energy source</a:t>
            </a:r>
            <a:r>
              <a:rPr lang="en-GB" sz="1200" dirty="0"/>
              <a:t>: Wind is a free, natural resource that is constantly replenished, providing a sustainable source of energy.</a:t>
            </a:r>
          </a:p>
          <a:p>
            <a:pPr>
              <a:lnSpc>
                <a:spcPct val="114999"/>
              </a:lnSpc>
              <a:buFont typeface="Arial" panose="020B0604020202020204" pitchFamily="34" charset="0"/>
              <a:buChar char="•"/>
            </a:pPr>
            <a:r>
              <a:rPr lang="en-GB" sz="1200" b="1" dirty="0"/>
              <a:t>Environmentally friendly</a:t>
            </a:r>
            <a:r>
              <a:rPr lang="en-GB" sz="1200" dirty="0"/>
              <a:t>: Wind energy is a clean energy source, producing no emissions or pollutants, which helps protect the environment.</a:t>
            </a:r>
          </a:p>
          <a:p>
            <a:pPr>
              <a:lnSpc>
                <a:spcPct val="114999"/>
              </a:lnSpc>
              <a:buFont typeface="Arial" panose="020B0604020202020204" pitchFamily="34" charset="0"/>
              <a:buChar char="•"/>
            </a:pPr>
            <a:r>
              <a:rPr lang="en-GB" sz="1200" b="1" dirty="0"/>
              <a:t>Low operating costs</a:t>
            </a:r>
            <a:r>
              <a:rPr lang="en-GB" sz="1200" dirty="0"/>
              <a:t>: After installation, wind turbines require minimal maintenance, and the wind is free!</a:t>
            </a:r>
          </a:p>
          <a:p>
            <a:pPr>
              <a:lnSpc>
                <a:spcPct val="114999"/>
              </a:lnSpc>
              <a:buFont typeface="Arial" panose="020B0604020202020204" pitchFamily="34" charset="0"/>
              <a:buChar char="•"/>
            </a:pPr>
            <a:r>
              <a:rPr lang="en-GB" sz="1200" b="1" dirty="0"/>
              <a:t>Energy independence</a:t>
            </a:r>
            <a:r>
              <a:rPr lang="en-GB" sz="1200" dirty="0"/>
              <a:t>: Wind energy allows communities to generate their own power, reducing reliance on external sources and increasing local energy security.</a:t>
            </a:r>
          </a:p>
          <a:p>
            <a:pPr>
              <a:lnSpc>
                <a:spcPct val="114999"/>
              </a:lnSpc>
              <a:buFont typeface="Arial" panose="020B0604020202020204" pitchFamily="34" charset="0"/>
              <a:buChar char="•"/>
            </a:pPr>
            <a:r>
              <a:rPr lang="en-GB" sz="1200" b="1" dirty="0"/>
              <a:t>Versatile applications</a:t>
            </a:r>
            <a:r>
              <a:rPr lang="en-GB" sz="1200" dirty="0"/>
              <a:t>: Wind turbines can be used in various settings, from large wind farms to small, localized installations that power homes or businesses.</a:t>
            </a:r>
          </a:p>
          <a:p>
            <a:pPr marL="114300" indent="0">
              <a:lnSpc>
                <a:spcPct val="114999"/>
              </a:lnSpc>
            </a:pPr>
            <a:endParaRPr lang="en-GB" sz="1200" b="1" noProof="0" dirty="0"/>
          </a:p>
          <a:p>
            <a:pPr marL="144000" indent="0"/>
            <a:r>
              <a:rPr lang="en-GB" sz="1200" b="1" dirty="0">
                <a:solidFill>
                  <a:schemeClr val="accent2"/>
                </a:solidFill>
                <a:latin typeface="Epilogue"/>
              </a:rPr>
              <a:t>What’s next?</a:t>
            </a:r>
          </a:p>
          <a:p>
            <a:pPr marL="114300" indent="0">
              <a:lnSpc>
                <a:spcPct val="114999"/>
              </a:lnSpc>
            </a:pPr>
            <a:endParaRPr lang="en-GB" sz="1200" b="1" noProof="0" dirty="0"/>
          </a:p>
          <a:p>
            <a:pPr marL="144000" indent="0"/>
            <a:r>
              <a:rPr lang="en-GB" sz="1200" dirty="0"/>
              <a:t>In the upcoming sections, you will learn more about the basics of energy and wind energy in particular, how to measure and how to work with wind, to build your own </a:t>
            </a:r>
            <a:r>
              <a:rPr lang="en-GB" sz="1200" dirty="0" err="1"/>
              <a:t>airfoil</a:t>
            </a:r>
            <a:r>
              <a:rPr lang="en-GB" sz="1200" dirty="0"/>
              <a:t> and your own wind turbine. </a:t>
            </a:r>
          </a:p>
          <a:p>
            <a:pPr marL="144000" indent="0"/>
            <a:r>
              <a:rPr lang="en-GB" sz="1200" dirty="0"/>
              <a:t>Through hands-on experiments and activities, you’ll get a deeper understanding of wind energy, how it works and its potential.</a:t>
            </a:r>
          </a:p>
          <a:p>
            <a:pPr marL="144000" indent="0"/>
            <a:r>
              <a:rPr lang="en-GB" sz="1200" dirty="0"/>
              <a:t>Get ready to explore and experiment with wind energy technology – the journey toward harnessing the power of the wind begins here!</a:t>
            </a:r>
          </a:p>
          <a:p>
            <a:pPr marL="114300" indent="0">
              <a:lnSpc>
                <a:spcPct val="114999"/>
              </a:lnSpc>
            </a:pPr>
            <a:endParaRPr lang="en-GB" sz="1200" noProof="0" dirty="0"/>
          </a:p>
        </p:txBody>
      </p:sp>
      <p:pic>
        <p:nvPicPr>
          <p:cNvPr id="3" name="Grafik 2" descr="Windkraftanlagen Silhouette">
            <a:extLst>
              <a:ext uri="{FF2B5EF4-FFF2-40B4-BE49-F238E27FC236}">
                <a16:creationId xmlns:a16="http://schemas.microsoft.com/office/drawing/2014/main" id="{D834EF0C-FBA8-E11E-9A60-E610E1CD37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32105" y="1114697"/>
            <a:ext cx="767550" cy="766949"/>
          </a:xfrm>
          <a:prstGeom prst="rect">
            <a:avLst/>
          </a:prstGeom>
        </p:spPr>
      </p:pic>
    </p:spTree>
    <p:extLst>
      <p:ext uri="{BB962C8B-B14F-4D97-AF65-F5344CB8AC3E}">
        <p14:creationId xmlns:p14="http://schemas.microsoft.com/office/powerpoint/2010/main" val="1183542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1905F-B38A-3540-0C15-DFB857D606C2}"/>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6658E7E5-FD78-83EB-4AAA-269473D2AB86}"/>
              </a:ext>
            </a:extLst>
          </p:cNvPr>
          <p:cNvSpPr>
            <a:spLocks noGrp="1"/>
          </p:cNvSpPr>
          <p:nvPr>
            <p:ph type="sldNum" sz="quarter" idx="4"/>
          </p:nvPr>
        </p:nvSpPr>
        <p:spPr/>
        <p:txBody>
          <a:bodyPr/>
          <a:lstStyle/>
          <a:p>
            <a:fld id="{DF7F771E-9578-4C04-B869-01AF4C35C90C}" type="slidenum">
              <a:rPr lang="en-GB" noProof="0" smtClean="0"/>
              <a:t>50</a:t>
            </a:fld>
            <a:endParaRPr lang="en-GB" noProof="0"/>
          </a:p>
        </p:txBody>
      </p:sp>
      <p:sp>
        <p:nvSpPr>
          <p:cNvPr id="7" name="Untertitel 3">
            <a:extLst>
              <a:ext uri="{FF2B5EF4-FFF2-40B4-BE49-F238E27FC236}">
                <a16:creationId xmlns:a16="http://schemas.microsoft.com/office/drawing/2014/main" id="{B0D6E95B-706B-1A76-F93F-A6276D641BE9}"/>
              </a:ext>
            </a:extLst>
          </p:cNvPr>
          <p:cNvSpPr txBox="1">
            <a:spLocks/>
          </p:cNvSpPr>
          <p:nvPr/>
        </p:nvSpPr>
        <p:spPr>
          <a:xfrm>
            <a:off x="719138" y="4394218"/>
            <a:ext cx="6038849" cy="31350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see the difference in blade pitch:</a:t>
            </a:r>
          </a:p>
          <a:p>
            <a:pPr marL="139700" indent="0" algn="just"/>
            <a:endParaRPr lang="en-GB" sz="1200" noProof="0" dirty="0"/>
          </a:p>
          <a:p>
            <a:pPr algn="just">
              <a:buAutoNum type="arabicPeriod"/>
            </a:pPr>
            <a:r>
              <a:rPr lang="en-GB" sz="1200" noProof="0" dirty="0"/>
              <a:t>Take your wind set and prepare it so that it contains three blades and place it in one position. Make sure that this position remains the same to ensure that the results are not affected by a different distance from the fan.</a:t>
            </a:r>
          </a:p>
          <a:p>
            <a:pPr algn="just">
              <a:buAutoNum type="arabicPeriod"/>
            </a:pPr>
            <a:r>
              <a:rPr lang="en-GB" sz="1200" noProof="0" dirty="0"/>
              <a:t>Place your wind set in front of the fan. Attach the nacelle with a screw (there are various holes you can use). The angle of the blades is now different, see the pictures on the next slide. </a:t>
            </a:r>
          </a:p>
          <a:p>
            <a:pPr algn="just">
              <a:buAutoNum type="arabicPeriod"/>
            </a:pPr>
            <a:r>
              <a:rPr lang="en-GB" sz="1200" noProof="0" dirty="0"/>
              <a:t>Now measure the voltage with the </a:t>
            </a:r>
            <a:r>
              <a:rPr lang="en-GB" sz="1200" noProof="0" dirty="0" err="1"/>
              <a:t>multimeter</a:t>
            </a:r>
            <a:r>
              <a:rPr lang="en-GB" sz="1200" noProof="0" dirty="0"/>
              <a:t> for low, medium and high speed with your fan for the following angles (maybe give a first push): </a:t>
            </a:r>
          </a:p>
          <a:p>
            <a:pPr lvl="1" algn="just">
              <a:lnSpc>
                <a:spcPct val="114999"/>
              </a:lnSpc>
              <a:buFont typeface="Courier New"/>
              <a:buChar char="o"/>
            </a:pPr>
            <a:r>
              <a:rPr lang="en-GB" sz="1200" noProof="0" dirty="0"/>
              <a:t>Angle of 90°</a:t>
            </a:r>
          </a:p>
          <a:p>
            <a:pPr lvl="1" algn="just">
              <a:lnSpc>
                <a:spcPct val="114999"/>
              </a:lnSpc>
              <a:buFont typeface="Courier New"/>
              <a:buChar char="o"/>
            </a:pPr>
            <a:r>
              <a:rPr lang="en-GB" sz="1200" noProof="0" dirty="0"/>
              <a:t>Angle of 45°</a:t>
            </a:r>
          </a:p>
          <a:p>
            <a:pPr lvl="1" algn="just">
              <a:lnSpc>
                <a:spcPct val="114999"/>
              </a:lnSpc>
              <a:buClr>
                <a:srgbClr val="333333"/>
              </a:buClr>
              <a:buFont typeface="Courier New"/>
              <a:buChar char="o"/>
            </a:pPr>
            <a:r>
              <a:rPr lang="en-GB" sz="1200" noProof="0" dirty="0"/>
              <a:t>Flat </a:t>
            </a:r>
          </a:p>
          <a:p>
            <a:pPr algn="just">
              <a:lnSpc>
                <a:spcPct val="114999"/>
              </a:lnSpc>
              <a:buAutoNum type="arabicPeriod"/>
            </a:pPr>
            <a:r>
              <a:rPr lang="en-GB" sz="1200" noProof="0" dirty="0"/>
              <a:t>Report your answers in the observation table.</a:t>
            </a:r>
          </a:p>
        </p:txBody>
      </p:sp>
      <p:sp>
        <p:nvSpPr>
          <p:cNvPr id="2" name="Titel 1">
            <a:extLst>
              <a:ext uri="{FF2B5EF4-FFF2-40B4-BE49-F238E27FC236}">
                <a16:creationId xmlns:a16="http://schemas.microsoft.com/office/drawing/2014/main" id="{78917629-4255-627B-87EF-3E9EA2231281}"/>
              </a:ext>
            </a:extLst>
          </p:cNvPr>
          <p:cNvSpPr txBox="1">
            <a:spLocks/>
          </p:cNvSpPr>
          <p:nvPr/>
        </p:nvSpPr>
        <p:spPr>
          <a:xfrm>
            <a:off x="741343" y="1298497"/>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dirty="0"/>
              <a:t>7. Changing blade pitch</a:t>
            </a:r>
          </a:p>
        </p:txBody>
      </p:sp>
      <p:sp>
        <p:nvSpPr>
          <p:cNvPr id="11" name="Untertitel 5">
            <a:extLst>
              <a:ext uri="{FF2B5EF4-FFF2-40B4-BE49-F238E27FC236}">
                <a16:creationId xmlns:a16="http://schemas.microsoft.com/office/drawing/2014/main" id="{81F6FFBE-BA5B-611F-C473-E9E58A5FE9AB}"/>
              </a:ext>
            </a:extLst>
          </p:cNvPr>
          <p:cNvSpPr txBox="1">
            <a:spLocks/>
          </p:cNvSpPr>
          <p:nvPr/>
        </p:nvSpPr>
        <p:spPr>
          <a:xfrm>
            <a:off x="1128025" y="216758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17" name="Ellipse 16">
            <a:extLst>
              <a:ext uri="{FF2B5EF4-FFF2-40B4-BE49-F238E27FC236}">
                <a16:creationId xmlns:a16="http://schemas.microsoft.com/office/drawing/2014/main" id="{7420386F-27BC-5BB2-8223-5EB21689B21E}"/>
              </a:ext>
            </a:extLst>
          </p:cNvPr>
          <p:cNvSpPr>
            <a:spLocks noChangeAspect="1"/>
          </p:cNvSpPr>
          <p:nvPr/>
        </p:nvSpPr>
        <p:spPr>
          <a:xfrm>
            <a:off x="697798" y="208724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Grafik 17" descr="Lupe mit einfarbiger Füllung">
            <a:extLst>
              <a:ext uri="{FF2B5EF4-FFF2-40B4-BE49-F238E27FC236}">
                <a16:creationId xmlns:a16="http://schemas.microsoft.com/office/drawing/2014/main" id="{930EFCD0-73CB-5D58-58A3-78FA8BCA85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2639" y="2169874"/>
            <a:ext cx="333865" cy="333865"/>
          </a:xfrm>
          <a:prstGeom prst="rect">
            <a:avLst/>
          </a:prstGeom>
        </p:spPr>
      </p:pic>
      <p:sp>
        <p:nvSpPr>
          <p:cNvPr id="19" name="Rechteck 18">
            <a:extLst>
              <a:ext uri="{FF2B5EF4-FFF2-40B4-BE49-F238E27FC236}">
                <a16:creationId xmlns:a16="http://schemas.microsoft.com/office/drawing/2014/main" id="{E2F6F3AC-7341-6DE7-4577-348790169025}"/>
              </a:ext>
            </a:extLst>
          </p:cNvPr>
          <p:cNvSpPr/>
          <p:nvPr/>
        </p:nvSpPr>
        <p:spPr>
          <a:xfrm>
            <a:off x="729094" y="2998135"/>
            <a:ext cx="6028893" cy="1252782"/>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Untertitel 2">
            <a:extLst>
              <a:ext uri="{FF2B5EF4-FFF2-40B4-BE49-F238E27FC236}">
                <a16:creationId xmlns:a16="http://schemas.microsoft.com/office/drawing/2014/main" id="{FF2EE988-3499-D4A5-F517-E8513B7638C9}"/>
              </a:ext>
            </a:extLst>
          </p:cNvPr>
          <p:cNvSpPr txBox="1">
            <a:spLocks/>
          </p:cNvSpPr>
          <p:nvPr/>
        </p:nvSpPr>
        <p:spPr>
          <a:xfrm>
            <a:off x="1075653" y="3365764"/>
            <a:ext cx="3230102"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a:t>Wind kit with 3 blades, medium size</a:t>
            </a:r>
          </a:p>
          <a:p>
            <a:pPr marL="285750" indent="-285750">
              <a:lnSpc>
                <a:spcPct val="114999"/>
              </a:lnSpc>
              <a:buClr>
                <a:schemeClr val="accent2"/>
              </a:buClr>
              <a:buFont typeface="Arial,Sans-Serif"/>
              <a:buChar char="•"/>
            </a:pPr>
            <a:r>
              <a:rPr lang="en-GB" sz="1200" noProof="0"/>
              <a:t>Fan</a:t>
            </a:r>
          </a:p>
          <a:p>
            <a:pPr marL="285750" indent="-285750">
              <a:lnSpc>
                <a:spcPct val="114999"/>
              </a:lnSpc>
              <a:buClr>
                <a:schemeClr val="accent2"/>
              </a:buClr>
              <a:buFont typeface="Arial,Sans-Serif"/>
              <a:buChar char="•"/>
            </a:pPr>
            <a:r>
              <a:rPr lang="en-GB" sz="1200" noProof="0" err="1"/>
              <a:t>Multimeter</a:t>
            </a:r>
            <a:endParaRPr lang="en-GB" sz="1200" noProof="0"/>
          </a:p>
          <a:p>
            <a:pPr>
              <a:lnSpc>
                <a:spcPct val="114999"/>
              </a:lnSpc>
              <a:buFont typeface="Arial"/>
              <a:buChar char="•"/>
            </a:pPr>
            <a:endParaRPr lang="en-GB" sz="1200"/>
          </a:p>
        </p:txBody>
      </p:sp>
      <p:sp>
        <p:nvSpPr>
          <p:cNvPr id="21" name="Untertitel 5">
            <a:extLst>
              <a:ext uri="{FF2B5EF4-FFF2-40B4-BE49-F238E27FC236}">
                <a16:creationId xmlns:a16="http://schemas.microsoft.com/office/drawing/2014/main" id="{276D7782-0B63-1D1E-2170-4210A4DAE8D4}"/>
              </a:ext>
            </a:extLst>
          </p:cNvPr>
          <p:cNvSpPr txBox="1">
            <a:spLocks/>
          </p:cNvSpPr>
          <p:nvPr/>
        </p:nvSpPr>
        <p:spPr>
          <a:xfrm>
            <a:off x="896027" y="3026794"/>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22" name="Gruppieren 21">
            <a:extLst>
              <a:ext uri="{FF2B5EF4-FFF2-40B4-BE49-F238E27FC236}">
                <a16:creationId xmlns:a16="http://schemas.microsoft.com/office/drawing/2014/main" id="{3E7E3662-10B1-4EF8-E422-4609ACB2B1C0}"/>
              </a:ext>
            </a:extLst>
          </p:cNvPr>
          <p:cNvGrpSpPr/>
          <p:nvPr/>
        </p:nvGrpSpPr>
        <p:grpSpPr>
          <a:xfrm>
            <a:off x="6445483" y="2715413"/>
            <a:ext cx="402475" cy="419630"/>
            <a:chOff x="6140368" y="3097011"/>
            <a:chExt cx="660145" cy="660145"/>
          </a:xfrm>
        </p:grpSpPr>
        <p:sp>
          <p:nvSpPr>
            <p:cNvPr id="23" name="Ellipse 22">
              <a:extLst>
                <a:ext uri="{FF2B5EF4-FFF2-40B4-BE49-F238E27FC236}">
                  <a16:creationId xmlns:a16="http://schemas.microsoft.com/office/drawing/2014/main" id="{1992ECF6-E99E-EE42-5D61-BF93C516DDDF}"/>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24" name="Grafik 23" descr="Inventar mit einfarbiger Füllung">
              <a:extLst>
                <a:ext uri="{FF2B5EF4-FFF2-40B4-BE49-F238E27FC236}">
                  <a16:creationId xmlns:a16="http://schemas.microsoft.com/office/drawing/2014/main" id="{C4C38BE2-2B6C-BC13-AE68-EF39D32F94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27" name="Grafik 26" descr="Ein Bild, das Werkzeug, Im Haus, Boden, hölzern enthält.&#10;&#10;Automatisch generierte Beschreibung">
            <a:extLst>
              <a:ext uri="{FF2B5EF4-FFF2-40B4-BE49-F238E27FC236}">
                <a16:creationId xmlns:a16="http://schemas.microsoft.com/office/drawing/2014/main" id="{DA145050-9654-B974-0DB7-99E0C124BB60}"/>
              </a:ext>
            </a:extLst>
          </p:cNvPr>
          <p:cNvPicPr>
            <a:picLocks noChangeAspect="1"/>
          </p:cNvPicPr>
          <p:nvPr/>
        </p:nvPicPr>
        <p:blipFill>
          <a:blip r:embed="rId6"/>
          <a:srcRect l="519" t="9889" r="-519" b="26058"/>
          <a:stretch/>
        </p:blipFill>
        <p:spPr>
          <a:xfrm>
            <a:off x="4305755" y="7370968"/>
            <a:ext cx="2027303" cy="2538207"/>
          </a:xfrm>
          <a:prstGeom prst="rect">
            <a:avLst/>
          </a:prstGeom>
        </p:spPr>
      </p:pic>
      <p:sp>
        <p:nvSpPr>
          <p:cNvPr id="28" name="TextBox 9">
            <a:extLst>
              <a:ext uri="{FF2B5EF4-FFF2-40B4-BE49-F238E27FC236}">
                <a16:creationId xmlns:a16="http://schemas.microsoft.com/office/drawing/2014/main" id="{EFDF556E-6147-3C30-3417-CCCCBC399C14}"/>
              </a:ext>
            </a:extLst>
          </p:cNvPr>
          <p:cNvSpPr txBox="1"/>
          <p:nvPr/>
        </p:nvSpPr>
        <p:spPr>
          <a:xfrm>
            <a:off x="6405316" y="6998387"/>
            <a:ext cx="71636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dirty="0">
                <a:latin typeface="Sofia Sans"/>
              </a:rPr>
              <a:t>Angle of 90° </a:t>
            </a:r>
            <a:endParaRPr lang="en-GB" sz="1200" noProof="0" dirty="0">
              <a:latin typeface="Sofia Sans"/>
            </a:endParaRPr>
          </a:p>
        </p:txBody>
      </p:sp>
      <p:cxnSp>
        <p:nvCxnSpPr>
          <p:cNvPr id="29" name="Straight Arrow Connector 17">
            <a:extLst>
              <a:ext uri="{FF2B5EF4-FFF2-40B4-BE49-F238E27FC236}">
                <a16:creationId xmlns:a16="http://schemas.microsoft.com/office/drawing/2014/main" id="{AA3E5F96-8E30-F48A-4404-4D2328BDDB43}"/>
              </a:ext>
            </a:extLst>
          </p:cNvPr>
          <p:cNvCxnSpPr>
            <a:cxnSpLocks/>
            <a:stCxn id="28" idx="1"/>
          </p:cNvCxnSpPr>
          <p:nvPr/>
        </p:nvCxnSpPr>
        <p:spPr>
          <a:xfrm flipH="1">
            <a:off x="5376232" y="7229220"/>
            <a:ext cx="1029084" cy="93452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9">
            <a:extLst>
              <a:ext uri="{FF2B5EF4-FFF2-40B4-BE49-F238E27FC236}">
                <a16:creationId xmlns:a16="http://schemas.microsoft.com/office/drawing/2014/main" id="{3364F419-E0DB-2B3F-E80A-DD6BA69AEF52}"/>
              </a:ext>
            </a:extLst>
          </p:cNvPr>
          <p:cNvSpPr txBox="1"/>
          <p:nvPr/>
        </p:nvSpPr>
        <p:spPr>
          <a:xfrm>
            <a:off x="6405316" y="8585058"/>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Sofia Sans"/>
              </a:rPr>
              <a:t>Flat</a:t>
            </a:r>
            <a:endParaRPr lang="en-GB" sz="1200" noProof="0">
              <a:latin typeface="Sofia Sans"/>
            </a:endParaRPr>
          </a:p>
        </p:txBody>
      </p:sp>
      <p:cxnSp>
        <p:nvCxnSpPr>
          <p:cNvPr id="32" name="Straight Arrow Connector 17">
            <a:extLst>
              <a:ext uri="{FF2B5EF4-FFF2-40B4-BE49-F238E27FC236}">
                <a16:creationId xmlns:a16="http://schemas.microsoft.com/office/drawing/2014/main" id="{15603321-1737-1ECA-0807-3FD78520247D}"/>
              </a:ext>
            </a:extLst>
          </p:cNvPr>
          <p:cNvCxnSpPr>
            <a:cxnSpLocks/>
            <a:stCxn id="30" idx="1"/>
          </p:cNvCxnSpPr>
          <p:nvPr/>
        </p:nvCxnSpPr>
        <p:spPr>
          <a:xfrm flipH="1">
            <a:off x="5915633" y="8723558"/>
            <a:ext cx="489683" cy="25911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9">
            <a:extLst>
              <a:ext uri="{FF2B5EF4-FFF2-40B4-BE49-F238E27FC236}">
                <a16:creationId xmlns:a16="http://schemas.microsoft.com/office/drawing/2014/main" id="{08DAE3F3-7D1A-4A1B-9874-0E4F31DF9530}"/>
              </a:ext>
            </a:extLst>
          </p:cNvPr>
          <p:cNvSpPr txBox="1"/>
          <p:nvPr/>
        </p:nvSpPr>
        <p:spPr>
          <a:xfrm>
            <a:off x="3161464" y="8984136"/>
            <a:ext cx="71636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Sofia Sans"/>
              </a:rPr>
              <a:t>Angle of 45°</a:t>
            </a:r>
          </a:p>
        </p:txBody>
      </p:sp>
      <p:cxnSp>
        <p:nvCxnSpPr>
          <p:cNvPr id="34" name="Straight Arrow Connector 17">
            <a:extLst>
              <a:ext uri="{FF2B5EF4-FFF2-40B4-BE49-F238E27FC236}">
                <a16:creationId xmlns:a16="http://schemas.microsoft.com/office/drawing/2014/main" id="{82AFD59A-9A13-A1A6-03F3-1E16FABD1862}"/>
              </a:ext>
            </a:extLst>
          </p:cNvPr>
          <p:cNvCxnSpPr>
            <a:cxnSpLocks/>
          </p:cNvCxnSpPr>
          <p:nvPr/>
        </p:nvCxnSpPr>
        <p:spPr>
          <a:xfrm flipV="1">
            <a:off x="3877827" y="9118872"/>
            <a:ext cx="685800" cy="15291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0440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6A347-1051-3FF5-6DA7-B04BCD3B1656}"/>
            </a:ext>
          </a:extLst>
        </p:cNvPr>
        <p:cNvGrpSpPr/>
        <p:nvPr/>
      </p:nvGrpSpPr>
      <p:grpSpPr>
        <a:xfrm>
          <a:off x="0" y="0"/>
          <a:ext cx="0" cy="0"/>
          <a:chOff x="0" y="0"/>
          <a:chExt cx="0" cy="0"/>
        </a:xfrm>
      </p:grpSpPr>
      <p:graphicFrame>
        <p:nvGraphicFramePr>
          <p:cNvPr id="8" name="Google Shape;630;p38">
            <a:extLst>
              <a:ext uri="{FF2B5EF4-FFF2-40B4-BE49-F238E27FC236}">
                <a16:creationId xmlns:a16="http://schemas.microsoft.com/office/drawing/2014/main" id="{C693E1F2-78BE-B0D9-B1A2-76258D2B86C1}"/>
              </a:ext>
            </a:extLst>
          </p:cNvPr>
          <p:cNvGraphicFramePr/>
          <p:nvPr>
            <p:extLst>
              <p:ext uri="{D42A27DB-BD31-4B8C-83A1-F6EECF244321}">
                <p14:modId xmlns:p14="http://schemas.microsoft.com/office/powerpoint/2010/main" val="327911060"/>
              </p:ext>
            </p:extLst>
          </p:nvPr>
        </p:nvGraphicFramePr>
        <p:xfrm>
          <a:off x="737584" y="1279848"/>
          <a:ext cx="5919009" cy="346776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Blade Pitc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Wind </a:t>
                      </a:r>
                      <a:r>
                        <a:rPr lang="de-DE" sz="1000" b="1" err="1">
                          <a:solidFill>
                            <a:schemeClr val="dk1"/>
                          </a:solidFill>
                          <a:latin typeface="Epilogue"/>
                          <a:ea typeface="Epilogue"/>
                          <a:cs typeface="Epilogue"/>
                          <a:sym typeface="Epilogue"/>
                        </a:rPr>
                        <a:t>str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mV (AC)</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90°</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53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90°</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Medium</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dirty="0">
                          <a:solidFill>
                            <a:srgbClr val="FF0000"/>
                          </a:solidFill>
                          <a:latin typeface="Sofia Sans"/>
                          <a:ea typeface="Epilogue"/>
                          <a:cs typeface="Epilogue"/>
                          <a:sym typeface="Epilogue"/>
                        </a:rPr>
                        <a:t>690</a:t>
                      </a:r>
                      <a:endParaRPr sz="1000" b="0" i="0" u="none" strike="noStrike" cap="none" dirty="0">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90°</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85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984261142"/>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45°</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dirty="0">
                          <a:solidFill>
                            <a:srgbClr val="FF0000"/>
                          </a:solidFill>
                          <a:latin typeface="Sofia Sans"/>
                          <a:ea typeface="Epilogue"/>
                          <a:cs typeface="Epilogue"/>
                          <a:sym typeface="Epilogue"/>
                        </a:rPr>
                        <a:t>270</a:t>
                      </a:r>
                      <a:endParaRPr sz="1000" b="0" i="0" u="none" strike="noStrike" cap="none" dirty="0">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461739846"/>
                  </a:ext>
                </a:extLst>
              </a:tr>
              <a:tr h="345813">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45°</a:t>
                      </a:r>
                      <a:endParaRPr lang="de-DE"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33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Angle </a:t>
                      </a:r>
                      <a:r>
                        <a:rPr lang="de-DE" sz="1000" b="0" i="0" u="none" strike="noStrike" cap="none" err="1">
                          <a:solidFill>
                            <a:schemeClr val="dk1"/>
                          </a:solidFill>
                          <a:latin typeface="Sofia Sans"/>
                          <a:ea typeface="Epilogue"/>
                          <a:cs typeface="Epilogue"/>
                          <a:sym typeface="Epilogue"/>
                        </a:rPr>
                        <a:t>of</a:t>
                      </a:r>
                      <a:r>
                        <a:rPr lang="de-DE" sz="1000" b="0" i="0" u="none" strike="noStrike" cap="none">
                          <a:solidFill>
                            <a:schemeClr val="dk1"/>
                          </a:solidFill>
                          <a:latin typeface="Sofia Sans"/>
                          <a:ea typeface="Epilogue"/>
                          <a:cs typeface="Epilogue"/>
                          <a:sym typeface="Epilogue"/>
                        </a:rPr>
                        <a:t> 45°</a:t>
                      </a:r>
                      <a:endParaRPr lang="de-DE"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 </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44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Sofia Sans"/>
                          <a:cs typeface="Sofia Sans"/>
                          <a:sym typeface="Sofia Sans"/>
                        </a:rPr>
                        <a:t>Flat</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Low</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76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295059867"/>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Flat</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10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457672796"/>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Flat</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dirty="0">
                          <a:solidFill>
                            <a:srgbClr val="FF0000"/>
                          </a:solidFill>
                          <a:latin typeface="Sofia Sans"/>
                          <a:ea typeface="Sofia Sans"/>
                          <a:cs typeface="Sofia Sans"/>
                          <a:sym typeface="Sofia Sans"/>
                        </a:rPr>
                        <a:t>1500</a:t>
                      </a:r>
                      <a:endParaRPr sz="1000" b="0" i="0" u="none" strike="noStrike" cap="none" dirty="0">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334281"/>
                  </a:ext>
                </a:extLst>
              </a:tr>
            </a:tbl>
          </a:graphicData>
        </a:graphic>
      </p:graphicFrame>
      <p:sp>
        <p:nvSpPr>
          <p:cNvPr id="3" name="Foliennummernplatzhalter 2">
            <a:extLst>
              <a:ext uri="{FF2B5EF4-FFF2-40B4-BE49-F238E27FC236}">
                <a16:creationId xmlns:a16="http://schemas.microsoft.com/office/drawing/2014/main" id="{800BBC24-67F8-648B-0BD7-C54DC3854CF9}"/>
              </a:ext>
            </a:extLst>
          </p:cNvPr>
          <p:cNvSpPr>
            <a:spLocks noGrp="1"/>
          </p:cNvSpPr>
          <p:nvPr>
            <p:ph type="sldNum" sz="quarter" idx="16"/>
          </p:nvPr>
        </p:nvSpPr>
        <p:spPr/>
        <p:txBody>
          <a:bodyPr/>
          <a:lstStyle/>
          <a:p>
            <a:fld id="{DF7F771E-9578-4C04-B869-01AF4C35C90C}" type="slidenum">
              <a:rPr lang="en-GB" noProof="0" smtClean="0"/>
              <a:t>51</a:t>
            </a:fld>
            <a:endParaRPr lang="en-GB" noProof="0"/>
          </a:p>
        </p:txBody>
      </p:sp>
      <p:sp>
        <p:nvSpPr>
          <p:cNvPr id="6" name="Untertitel 3">
            <a:extLst>
              <a:ext uri="{FF2B5EF4-FFF2-40B4-BE49-F238E27FC236}">
                <a16:creationId xmlns:a16="http://schemas.microsoft.com/office/drawing/2014/main" id="{E79A5510-10BF-8D26-8B3F-39BC0A01A66D}"/>
              </a:ext>
            </a:extLst>
          </p:cNvPr>
          <p:cNvSpPr txBox="1">
            <a:spLocks/>
          </p:cNvSpPr>
          <p:nvPr/>
        </p:nvSpPr>
        <p:spPr>
          <a:xfrm>
            <a:off x="719137" y="1742441"/>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14999"/>
              </a:lnSpc>
            </a:pPr>
            <a:endParaRPr lang="en-GB" noProof="0"/>
          </a:p>
        </p:txBody>
      </p:sp>
      <p:pic>
        <p:nvPicPr>
          <p:cNvPr id="31" name="Grafik 30" descr="Lupe mit einfarbiger Füllung">
            <a:extLst>
              <a:ext uri="{FF2B5EF4-FFF2-40B4-BE49-F238E27FC236}">
                <a16:creationId xmlns:a16="http://schemas.microsoft.com/office/drawing/2014/main" id="{949204AC-2B89-26A3-8275-1724DBA5F9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6477" y="2331085"/>
            <a:ext cx="333865" cy="333865"/>
          </a:xfrm>
          <a:prstGeom prst="rect">
            <a:avLst/>
          </a:prstGeom>
        </p:spPr>
      </p:pic>
      <p:sp>
        <p:nvSpPr>
          <p:cNvPr id="16" name="Untertitel 2">
            <a:extLst>
              <a:ext uri="{FF2B5EF4-FFF2-40B4-BE49-F238E27FC236}">
                <a16:creationId xmlns:a16="http://schemas.microsoft.com/office/drawing/2014/main" id="{791D2476-F3EA-C90A-88C6-BBECDCB9EA6F}"/>
              </a:ext>
            </a:extLst>
          </p:cNvPr>
          <p:cNvSpPr txBox="1">
            <a:spLocks/>
          </p:cNvSpPr>
          <p:nvPr/>
        </p:nvSpPr>
        <p:spPr>
          <a:xfrm>
            <a:off x="4716174" y="3359795"/>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sp>
        <p:nvSpPr>
          <p:cNvPr id="10" name="Rechteck 9">
            <a:extLst>
              <a:ext uri="{FF2B5EF4-FFF2-40B4-BE49-F238E27FC236}">
                <a16:creationId xmlns:a16="http://schemas.microsoft.com/office/drawing/2014/main" id="{B0E2F13C-6B2D-5022-3F0E-F137D0025BAE}"/>
              </a:ext>
            </a:extLst>
          </p:cNvPr>
          <p:cNvSpPr/>
          <p:nvPr/>
        </p:nvSpPr>
        <p:spPr>
          <a:xfrm>
            <a:off x="712806" y="5365150"/>
            <a:ext cx="5701245" cy="2108764"/>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Ellipse 11">
            <a:extLst>
              <a:ext uri="{FF2B5EF4-FFF2-40B4-BE49-F238E27FC236}">
                <a16:creationId xmlns:a16="http://schemas.microsoft.com/office/drawing/2014/main" id="{680DEE5F-F991-9C59-B163-0A40300A6FB4}"/>
              </a:ext>
            </a:extLst>
          </p:cNvPr>
          <p:cNvSpPr>
            <a:spLocks noChangeAspect="1"/>
          </p:cNvSpPr>
          <p:nvPr/>
        </p:nvSpPr>
        <p:spPr>
          <a:xfrm>
            <a:off x="6083719" y="5038653"/>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3" name="Grafik 12" descr="Lesezeichen mit einfarbiger Füllung">
            <a:extLst>
              <a:ext uri="{FF2B5EF4-FFF2-40B4-BE49-F238E27FC236}">
                <a16:creationId xmlns:a16="http://schemas.microsoft.com/office/drawing/2014/main" id="{79AE25A3-A262-5881-4D1B-391EAA875C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1566" y="5166500"/>
            <a:ext cx="404450" cy="404450"/>
          </a:xfrm>
          <a:prstGeom prst="rect">
            <a:avLst/>
          </a:prstGeom>
        </p:spPr>
      </p:pic>
      <p:sp>
        <p:nvSpPr>
          <p:cNvPr id="14" name="Untertitel 5">
            <a:extLst>
              <a:ext uri="{FF2B5EF4-FFF2-40B4-BE49-F238E27FC236}">
                <a16:creationId xmlns:a16="http://schemas.microsoft.com/office/drawing/2014/main" id="{9967BB3A-9346-014E-C9B0-6A1313042715}"/>
              </a:ext>
            </a:extLst>
          </p:cNvPr>
          <p:cNvSpPr txBox="1">
            <a:spLocks/>
          </p:cNvSpPr>
          <p:nvPr/>
        </p:nvSpPr>
        <p:spPr>
          <a:xfrm>
            <a:off x="848905" y="5456988"/>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dirty="0"/>
              <a:t>In summary</a:t>
            </a:r>
          </a:p>
        </p:txBody>
      </p:sp>
      <p:sp>
        <p:nvSpPr>
          <p:cNvPr id="15" name="Untertitel 2">
            <a:extLst>
              <a:ext uri="{FF2B5EF4-FFF2-40B4-BE49-F238E27FC236}">
                <a16:creationId xmlns:a16="http://schemas.microsoft.com/office/drawing/2014/main" id="{4E90E207-8AD7-AFB8-41F4-E919605995FC}"/>
              </a:ext>
            </a:extLst>
          </p:cNvPr>
          <p:cNvSpPr txBox="1">
            <a:spLocks/>
          </p:cNvSpPr>
          <p:nvPr/>
        </p:nvSpPr>
        <p:spPr>
          <a:xfrm>
            <a:off x="1058724" y="5950416"/>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sp>
        <p:nvSpPr>
          <p:cNvPr id="23" name="Untertitel 2">
            <a:extLst>
              <a:ext uri="{FF2B5EF4-FFF2-40B4-BE49-F238E27FC236}">
                <a16:creationId xmlns:a16="http://schemas.microsoft.com/office/drawing/2014/main" id="{B85A4E80-DE93-B2CC-10CA-0E4188407868}"/>
              </a:ext>
            </a:extLst>
          </p:cNvPr>
          <p:cNvSpPr txBox="1">
            <a:spLocks/>
          </p:cNvSpPr>
          <p:nvPr/>
        </p:nvSpPr>
        <p:spPr>
          <a:xfrm>
            <a:off x="1074294" y="5943378"/>
            <a:ext cx="5010826" cy="1134421"/>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Adjusting the angle of the blades influences how the wind moves them. The right angle ensures that the blades rotate faster and generate more energy.</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How much energy the turbine can capture depends on how strongly the wind hits the blade. A flat-angled blade has the highest efficiency.</a:t>
            </a:r>
            <a:endParaRPr lang="en-GB" sz="1200" noProof="0" dirty="0">
              <a:latin typeface="Sofia Sans" panose="020B0604020202020204" charset="0"/>
            </a:endParaRPr>
          </a:p>
        </p:txBody>
      </p:sp>
    </p:spTree>
    <p:extLst>
      <p:ext uri="{BB962C8B-B14F-4D97-AF65-F5344CB8AC3E}">
        <p14:creationId xmlns:p14="http://schemas.microsoft.com/office/powerpoint/2010/main" val="26098319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65AF1-93F5-2892-4167-0845FF39FD48}"/>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3AE55D9-C49F-F463-2A85-16F4542EC167}"/>
              </a:ext>
            </a:extLst>
          </p:cNvPr>
          <p:cNvSpPr>
            <a:spLocks noGrp="1"/>
          </p:cNvSpPr>
          <p:nvPr>
            <p:ph type="sldNum" sz="quarter" idx="4"/>
          </p:nvPr>
        </p:nvSpPr>
        <p:spPr/>
        <p:txBody>
          <a:bodyPr/>
          <a:lstStyle/>
          <a:p>
            <a:fld id="{DF7F771E-9578-4C04-B869-01AF4C35C90C}" type="slidenum">
              <a:rPr lang="en-GB" noProof="0" smtClean="0"/>
              <a:t>52</a:t>
            </a:fld>
            <a:endParaRPr lang="en-GB" noProof="0"/>
          </a:p>
        </p:txBody>
      </p:sp>
      <p:pic>
        <p:nvPicPr>
          <p:cNvPr id="11" name="Grafik 10" descr="Ein Bild, das Meißel, Werkzeug, Holz, hölzern enthält.&#10;&#10;Automatisch generierte Beschreibung">
            <a:extLst>
              <a:ext uri="{FF2B5EF4-FFF2-40B4-BE49-F238E27FC236}">
                <a16:creationId xmlns:a16="http://schemas.microsoft.com/office/drawing/2014/main" id="{7A4BDEEC-4827-8467-9AAD-04B28C1ABD8B}"/>
              </a:ext>
            </a:extLst>
          </p:cNvPr>
          <p:cNvPicPr>
            <a:picLocks noChangeAspect="1"/>
          </p:cNvPicPr>
          <p:nvPr/>
        </p:nvPicPr>
        <p:blipFill>
          <a:blip r:embed="rId2"/>
          <a:srcRect t="13550"/>
          <a:stretch/>
        </p:blipFill>
        <p:spPr>
          <a:xfrm>
            <a:off x="4701132" y="7141020"/>
            <a:ext cx="1588744" cy="2441726"/>
          </a:xfrm>
          <a:prstGeom prst="rect">
            <a:avLst/>
          </a:prstGeom>
        </p:spPr>
      </p:pic>
      <p:sp>
        <p:nvSpPr>
          <p:cNvPr id="2" name="Untertitel 3">
            <a:extLst>
              <a:ext uri="{FF2B5EF4-FFF2-40B4-BE49-F238E27FC236}">
                <a16:creationId xmlns:a16="http://schemas.microsoft.com/office/drawing/2014/main" id="{A871690F-6B60-E0E8-A8EE-12AED2DDCC36}"/>
              </a:ext>
            </a:extLst>
          </p:cNvPr>
          <p:cNvSpPr txBox="1">
            <a:spLocks/>
          </p:cNvSpPr>
          <p:nvPr/>
        </p:nvSpPr>
        <p:spPr>
          <a:xfrm>
            <a:off x="719138" y="4481305"/>
            <a:ext cx="6038849" cy="31350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conduct the experiment:</a:t>
            </a:r>
          </a:p>
          <a:p>
            <a:pPr algn="just">
              <a:lnSpc>
                <a:spcPct val="114999"/>
              </a:lnSpc>
            </a:pPr>
            <a:endParaRPr lang="en-GB" sz="1200" b="1" noProof="0" dirty="0"/>
          </a:p>
          <a:p>
            <a:pPr algn="just">
              <a:buAutoNum type="arabicPeriod"/>
            </a:pPr>
            <a:r>
              <a:rPr lang="en-GB" sz="1200" noProof="0" dirty="0"/>
              <a:t>Take your wind set and prepare it so that it contains three blades and place it in one position. Make sure that this position remains the same to ensure that the results are not affected by a different distance from the fan.</a:t>
            </a:r>
          </a:p>
          <a:p>
            <a:pPr algn="just">
              <a:buAutoNum type="arabicPeriod"/>
            </a:pPr>
            <a:r>
              <a:rPr lang="en-GB" sz="1200" noProof="0" dirty="0"/>
              <a:t>Place your wind set in front of the fan. Attach the nacelle with a screw (there are various holes you can use). The angle of the blade should be flat. </a:t>
            </a:r>
          </a:p>
          <a:p>
            <a:pPr algn="just">
              <a:buAutoNum type="arabicPeriod"/>
            </a:pPr>
            <a:r>
              <a:rPr lang="en-GB" sz="1200" noProof="0" dirty="0"/>
              <a:t>Now measure the voltage with the </a:t>
            </a:r>
            <a:r>
              <a:rPr lang="en-GB" sz="1200" noProof="0" dirty="0" err="1"/>
              <a:t>multimeter</a:t>
            </a:r>
            <a:r>
              <a:rPr lang="en-GB" sz="1200" noProof="0" dirty="0"/>
              <a:t> for low, medium and high speed with your fan for the following blade lengths (maybe give a first push): </a:t>
            </a:r>
          </a:p>
          <a:p>
            <a:pPr lvl="1" algn="just">
              <a:lnSpc>
                <a:spcPct val="114999"/>
              </a:lnSpc>
              <a:buFont typeface="Courier New"/>
              <a:buChar char="o"/>
            </a:pPr>
            <a:r>
              <a:rPr lang="en-GB" sz="1200" noProof="0" dirty="0"/>
              <a:t>short</a:t>
            </a:r>
          </a:p>
          <a:p>
            <a:pPr lvl="1" algn="just">
              <a:lnSpc>
                <a:spcPct val="114999"/>
              </a:lnSpc>
              <a:buFont typeface="Courier New"/>
              <a:buChar char="o"/>
            </a:pPr>
            <a:r>
              <a:rPr lang="en-GB" sz="1200" noProof="0" dirty="0"/>
              <a:t>Medium </a:t>
            </a:r>
          </a:p>
          <a:p>
            <a:pPr lvl="1" algn="just">
              <a:lnSpc>
                <a:spcPct val="114999"/>
              </a:lnSpc>
              <a:buFont typeface="Courier New"/>
              <a:buChar char="o"/>
            </a:pPr>
            <a:r>
              <a:rPr lang="en-GB" sz="1200" noProof="0" dirty="0"/>
              <a:t>Large </a:t>
            </a:r>
          </a:p>
          <a:p>
            <a:pPr algn="just">
              <a:lnSpc>
                <a:spcPct val="114999"/>
              </a:lnSpc>
              <a:buAutoNum type="arabicPeriod"/>
            </a:pPr>
            <a:r>
              <a:rPr lang="en-GB" sz="1200" noProof="0" dirty="0"/>
              <a:t>Look at the picture to see the lengths.</a:t>
            </a:r>
          </a:p>
          <a:p>
            <a:pPr algn="just">
              <a:lnSpc>
                <a:spcPct val="114999"/>
              </a:lnSpc>
              <a:buAutoNum type="arabicPeriod"/>
            </a:pPr>
            <a:r>
              <a:rPr lang="en-GB" sz="1200" noProof="0" dirty="0"/>
              <a:t>Report your answers in the observation table.</a:t>
            </a:r>
          </a:p>
        </p:txBody>
      </p:sp>
      <p:sp>
        <p:nvSpPr>
          <p:cNvPr id="17" name="Titel 1">
            <a:extLst>
              <a:ext uri="{FF2B5EF4-FFF2-40B4-BE49-F238E27FC236}">
                <a16:creationId xmlns:a16="http://schemas.microsoft.com/office/drawing/2014/main" id="{E3243CA8-B690-5028-EF1F-165C752CD3BA}"/>
              </a:ext>
            </a:extLst>
          </p:cNvPr>
          <p:cNvSpPr txBox="1">
            <a:spLocks/>
          </p:cNvSpPr>
          <p:nvPr/>
        </p:nvSpPr>
        <p:spPr>
          <a:xfrm>
            <a:off x="747317" y="1302701"/>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dirty="0"/>
              <a:t>8. Changing blade length</a:t>
            </a:r>
          </a:p>
        </p:txBody>
      </p:sp>
      <p:sp>
        <p:nvSpPr>
          <p:cNvPr id="19" name="Untertitel 5">
            <a:extLst>
              <a:ext uri="{FF2B5EF4-FFF2-40B4-BE49-F238E27FC236}">
                <a16:creationId xmlns:a16="http://schemas.microsoft.com/office/drawing/2014/main" id="{11C51F69-925F-309C-9A32-2526A85EDB3F}"/>
              </a:ext>
            </a:extLst>
          </p:cNvPr>
          <p:cNvSpPr txBox="1">
            <a:spLocks/>
          </p:cNvSpPr>
          <p:nvPr/>
        </p:nvSpPr>
        <p:spPr>
          <a:xfrm>
            <a:off x="1128025" y="219370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20" name="Ellipse 19">
            <a:extLst>
              <a:ext uri="{FF2B5EF4-FFF2-40B4-BE49-F238E27FC236}">
                <a16:creationId xmlns:a16="http://schemas.microsoft.com/office/drawing/2014/main" id="{DF8C7CF8-C907-353C-9C6A-985A130CE3F2}"/>
              </a:ext>
            </a:extLst>
          </p:cNvPr>
          <p:cNvSpPr>
            <a:spLocks noChangeAspect="1"/>
          </p:cNvSpPr>
          <p:nvPr/>
        </p:nvSpPr>
        <p:spPr>
          <a:xfrm>
            <a:off x="697798" y="2113367"/>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1" name="Grafik 20" descr="Lupe mit einfarbiger Füllung">
            <a:extLst>
              <a:ext uri="{FF2B5EF4-FFF2-40B4-BE49-F238E27FC236}">
                <a16:creationId xmlns:a16="http://schemas.microsoft.com/office/drawing/2014/main" id="{A16E3E8B-BAA8-04B1-3FD0-3574D2B1C3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639" y="2195999"/>
            <a:ext cx="333865" cy="333865"/>
          </a:xfrm>
          <a:prstGeom prst="rect">
            <a:avLst/>
          </a:prstGeom>
        </p:spPr>
      </p:pic>
      <p:sp>
        <p:nvSpPr>
          <p:cNvPr id="22" name="Rechteck 21">
            <a:extLst>
              <a:ext uri="{FF2B5EF4-FFF2-40B4-BE49-F238E27FC236}">
                <a16:creationId xmlns:a16="http://schemas.microsoft.com/office/drawing/2014/main" id="{EE865812-B118-F894-D7E3-09510D707073}"/>
              </a:ext>
            </a:extLst>
          </p:cNvPr>
          <p:cNvSpPr/>
          <p:nvPr/>
        </p:nvSpPr>
        <p:spPr>
          <a:xfrm>
            <a:off x="729094" y="3024260"/>
            <a:ext cx="6028893" cy="1252782"/>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Untertitel 2">
            <a:extLst>
              <a:ext uri="{FF2B5EF4-FFF2-40B4-BE49-F238E27FC236}">
                <a16:creationId xmlns:a16="http://schemas.microsoft.com/office/drawing/2014/main" id="{CD0D7A4B-1BF5-C7E3-3151-89CD5DC14BB4}"/>
              </a:ext>
            </a:extLst>
          </p:cNvPr>
          <p:cNvSpPr txBox="1">
            <a:spLocks/>
          </p:cNvSpPr>
          <p:nvPr/>
        </p:nvSpPr>
        <p:spPr>
          <a:xfrm>
            <a:off x="1075653" y="3391889"/>
            <a:ext cx="3230102"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rgbClr val="315544"/>
              </a:buClr>
              <a:buFont typeface="Arial,Sans-Serif"/>
              <a:buChar char="•"/>
            </a:pPr>
            <a:r>
              <a:rPr lang="en-GB" sz="1200" noProof="0"/>
              <a:t>Wind kit with 3 blades</a:t>
            </a:r>
            <a:endParaRPr lang="en-GB" sz="1200" noProof="0" dirty="0"/>
          </a:p>
          <a:p>
            <a:pPr marL="285750" indent="-285750">
              <a:lnSpc>
                <a:spcPct val="114999"/>
              </a:lnSpc>
              <a:buClr>
                <a:srgbClr val="315544"/>
              </a:buClr>
              <a:buFont typeface="Arial,Sans-Serif"/>
              <a:buChar char="•"/>
            </a:pPr>
            <a:r>
              <a:rPr lang="en-GB" sz="1200" noProof="0"/>
              <a:t>Fan</a:t>
            </a:r>
            <a:endParaRPr lang="en-GB" sz="1200" noProof="0" dirty="0"/>
          </a:p>
          <a:p>
            <a:pPr marL="285750" indent="-285750">
              <a:lnSpc>
                <a:spcPct val="114999"/>
              </a:lnSpc>
              <a:buClr>
                <a:srgbClr val="315544"/>
              </a:buClr>
              <a:buFont typeface="Arial,Sans-Serif"/>
              <a:buChar char="•"/>
            </a:pPr>
            <a:r>
              <a:rPr lang="en-GB" sz="1200" noProof="0" err="1"/>
              <a:t>Multimeter</a:t>
            </a:r>
            <a:endParaRPr lang="en-GB" sz="1200" noProof="0" dirty="0"/>
          </a:p>
        </p:txBody>
      </p:sp>
      <p:sp>
        <p:nvSpPr>
          <p:cNvPr id="24" name="Untertitel 5">
            <a:extLst>
              <a:ext uri="{FF2B5EF4-FFF2-40B4-BE49-F238E27FC236}">
                <a16:creationId xmlns:a16="http://schemas.microsoft.com/office/drawing/2014/main" id="{91D86A44-C673-1E26-A6B0-921F23E28768}"/>
              </a:ext>
            </a:extLst>
          </p:cNvPr>
          <p:cNvSpPr txBox="1">
            <a:spLocks/>
          </p:cNvSpPr>
          <p:nvPr/>
        </p:nvSpPr>
        <p:spPr>
          <a:xfrm>
            <a:off x="896027" y="305291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25" name="Gruppieren 24">
            <a:extLst>
              <a:ext uri="{FF2B5EF4-FFF2-40B4-BE49-F238E27FC236}">
                <a16:creationId xmlns:a16="http://schemas.microsoft.com/office/drawing/2014/main" id="{174712BF-B7F8-F90C-A3ED-05765665C16B}"/>
              </a:ext>
            </a:extLst>
          </p:cNvPr>
          <p:cNvGrpSpPr/>
          <p:nvPr/>
        </p:nvGrpSpPr>
        <p:grpSpPr>
          <a:xfrm>
            <a:off x="6445483" y="2741538"/>
            <a:ext cx="402475" cy="419630"/>
            <a:chOff x="6140368" y="3097011"/>
            <a:chExt cx="660145" cy="660145"/>
          </a:xfrm>
        </p:grpSpPr>
        <p:sp>
          <p:nvSpPr>
            <p:cNvPr id="26" name="Ellipse 25">
              <a:extLst>
                <a:ext uri="{FF2B5EF4-FFF2-40B4-BE49-F238E27FC236}">
                  <a16:creationId xmlns:a16="http://schemas.microsoft.com/office/drawing/2014/main" id="{DEBDEC84-D8F7-A718-63D4-46017B29627C}"/>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27" name="Grafik 26" descr="Inventar mit einfarbiger Füllung">
              <a:extLst>
                <a:ext uri="{FF2B5EF4-FFF2-40B4-BE49-F238E27FC236}">
                  <a16:creationId xmlns:a16="http://schemas.microsoft.com/office/drawing/2014/main" id="{5FE7BABF-B5B6-90A1-3CFD-EE3BC6648E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
        <p:nvSpPr>
          <p:cNvPr id="29" name="TextBox 9">
            <a:extLst>
              <a:ext uri="{FF2B5EF4-FFF2-40B4-BE49-F238E27FC236}">
                <a16:creationId xmlns:a16="http://schemas.microsoft.com/office/drawing/2014/main" id="{78DD364C-A3E1-327A-8D19-308C6FA345CD}"/>
              </a:ext>
            </a:extLst>
          </p:cNvPr>
          <p:cNvSpPr txBox="1"/>
          <p:nvPr/>
        </p:nvSpPr>
        <p:spPr>
          <a:xfrm>
            <a:off x="3516658" y="9185264"/>
            <a:ext cx="716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1200">
                <a:latin typeface="Sofia Sans"/>
              </a:rPr>
              <a:t>Short</a:t>
            </a:r>
          </a:p>
        </p:txBody>
      </p:sp>
      <p:cxnSp>
        <p:nvCxnSpPr>
          <p:cNvPr id="30" name="Straight Arrow Connector 17">
            <a:extLst>
              <a:ext uri="{FF2B5EF4-FFF2-40B4-BE49-F238E27FC236}">
                <a16:creationId xmlns:a16="http://schemas.microsoft.com/office/drawing/2014/main" id="{C132F440-13FC-A2AA-28ED-F24C9FF8B1F4}"/>
              </a:ext>
            </a:extLst>
          </p:cNvPr>
          <p:cNvCxnSpPr>
            <a:cxnSpLocks/>
          </p:cNvCxnSpPr>
          <p:nvPr/>
        </p:nvCxnSpPr>
        <p:spPr>
          <a:xfrm flipV="1">
            <a:off x="4274765" y="9181868"/>
            <a:ext cx="685800" cy="15291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9">
            <a:extLst>
              <a:ext uri="{FF2B5EF4-FFF2-40B4-BE49-F238E27FC236}">
                <a16:creationId xmlns:a16="http://schemas.microsoft.com/office/drawing/2014/main" id="{1A833482-211F-4922-AD79-33264AC785C7}"/>
              </a:ext>
            </a:extLst>
          </p:cNvPr>
          <p:cNvSpPr txBox="1"/>
          <p:nvPr/>
        </p:nvSpPr>
        <p:spPr>
          <a:xfrm>
            <a:off x="3323652" y="8705916"/>
            <a:ext cx="90936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1200">
                <a:latin typeface="Sofia Sans"/>
              </a:rPr>
              <a:t>Medium</a:t>
            </a:r>
          </a:p>
        </p:txBody>
      </p:sp>
      <p:cxnSp>
        <p:nvCxnSpPr>
          <p:cNvPr id="33" name="Straight Arrow Connector 17">
            <a:extLst>
              <a:ext uri="{FF2B5EF4-FFF2-40B4-BE49-F238E27FC236}">
                <a16:creationId xmlns:a16="http://schemas.microsoft.com/office/drawing/2014/main" id="{D292266D-16E8-7C48-9F63-E9C3D6955ABA}"/>
              </a:ext>
            </a:extLst>
          </p:cNvPr>
          <p:cNvCxnSpPr>
            <a:cxnSpLocks/>
          </p:cNvCxnSpPr>
          <p:nvPr/>
        </p:nvCxnSpPr>
        <p:spPr>
          <a:xfrm flipV="1">
            <a:off x="4274765" y="8584118"/>
            <a:ext cx="1063998" cy="2713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9">
            <a:extLst>
              <a:ext uri="{FF2B5EF4-FFF2-40B4-BE49-F238E27FC236}">
                <a16:creationId xmlns:a16="http://schemas.microsoft.com/office/drawing/2014/main" id="{E8A8E998-22F7-7351-3D74-806C2E47AF86}"/>
              </a:ext>
            </a:extLst>
          </p:cNvPr>
          <p:cNvSpPr txBox="1"/>
          <p:nvPr/>
        </p:nvSpPr>
        <p:spPr>
          <a:xfrm>
            <a:off x="3323652" y="8164810"/>
            <a:ext cx="90936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1200" dirty="0">
                <a:latin typeface="Sofia Sans"/>
              </a:rPr>
              <a:t>Large</a:t>
            </a:r>
          </a:p>
        </p:txBody>
      </p:sp>
      <p:cxnSp>
        <p:nvCxnSpPr>
          <p:cNvPr id="37" name="Straight Arrow Connector 17">
            <a:extLst>
              <a:ext uri="{FF2B5EF4-FFF2-40B4-BE49-F238E27FC236}">
                <a16:creationId xmlns:a16="http://schemas.microsoft.com/office/drawing/2014/main" id="{95799207-CA5D-DADD-A5D9-82EE0CC2170E}"/>
              </a:ext>
            </a:extLst>
          </p:cNvPr>
          <p:cNvCxnSpPr>
            <a:cxnSpLocks/>
          </p:cNvCxnSpPr>
          <p:nvPr/>
        </p:nvCxnSpPr>
        <p:spPr>
          <a:xfrm flipV="1">
            <a:off x="4274765" y="7850612"/>
            <a:ext cx="1362447" cy="4637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28431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A3261-D560-DEF8-F25A-A6DBCADD37C1}"/>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D550A14-CFD2-0001-7E72-48D0B8AB7724}"/>
              </a:ext>
            </a:extLst>
          </p:cNvPr>
          <p:cNvSpPr>
            <a:spLocks noGrp="1"/>
          </p:cNvSpPr>
          <p:nvPr>
            <p:ph type="sldNum" sz="quarter" idx="4"/>
          </p:nvPr>
        </p:nvSpPr>
        <p:spPr/>
        <p:txBody>
          <a:bodyPr/>
          <a:lstStyle/>
          <a:p>
            <a:fld id="{DF7F771E-9578-4C04-B869-01AF4C35C90C}" type="slidenum">
              <a:rPr lang="en-GB" noProof="0" smtClean="0"/>
              <a:t>53</a:t>
            </a:fld>
            <a:endParaRPr lang="en-GB" noProof="0"/>
          </a:p>
        </p:txBody>
      </p:sp>
      <p:pic>
        <p:nvPicPr>
          <p:cNvPr id="31" name="Grafik 30" descr="Lupe mit einfarbiger Füllung">
            <a:extLst>
              <a:ext uri="{FF2B5EF4-FFF2-40B4-BE49-F238E27FC236}">
                <a16:creationId xmlns:a16="http://schemas.microsoft.com/office/drawing/2014/main" id="{64A10166-F486-13DD-4419-69D1525E09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6477" y="2331085"/>
            <a:ext cx="333865" cy="333865"/>
          </a:xfrm>
          <a:prstGeom prst="rect">
            <a:avLst/>
          </a:prstGeom>
        </p:spPr>
      </p:pic>
      <p:graphicFrame>
        <p:nvGraphicFramePr>
          <p:cNvPr id="8" name="Google Shape;630;p38">
            <a:extLst>
              <a:ext uri="{FF2B5EF4-FFF2-40B4-BE49-F238E27FC236}">
                <a16:creationId xmlns:a16="http://schemas.microsoft.com/office/drawing/2014/main" id="{DA1DC575-3ED4-257C-24AA-FB1330825AF8}"/>
              </a:ext>
            </a:extLst>
          </p:cNvPr>
          <p:cNvGraphicFramePr/>
          <p:nvPr>
            <p:extLst>
              <p:ext uri="{D42A27DB-BD31-4B8C-83A1-F6EECF244321}">
                <p14:modId xmlns:p14="http://schemas.microsoft.com/office/powerpoint/2010/main" val="2005236205"/>
              </p:ext>
            </p:extLst>
          </p:nvPr>
        </p:nvGraphicFramePr>
        <p:xfrm>
          <a:off x="737584" y="1279848"/>
          <a:ext cx="5919009" cy="346776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Blade </a:t>
                      </a:r>
                      <a:r>
                        <a:rPr lang="de-DE" sz="1000" b="1" err="1">
                          <a:solidFill>
                            <a:schemeClr val="dk1"/>
                          </a:solidFill>
                          <a:latin typeface="Epilogue"/>
                          <a:ea typeface="Epilogue"/>
                          <a:cs typeface="Epilogue"/>
                          <a:sym typeface="Epilogue"/>
                        </a:rPr>
                        <a:t>L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Wind </a:t>
                      </a:r>
                      <a:r>
                        <a:rPr lang="de-DE" sz="1000" b="1" err="1">
                          <a:solidFill>
                            <a:schemeClr val="dk1"/>
                          </a:solidFill>
                          <a:latin typeface="Epilogue"/>
                          <a:ea typeface="Epilogue"/>
                          <a:cs typeface="Epilogue"/>
                          <a:sym typeface="Epilogue"/>
                        </a:rPr>
                        <a:t>str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mV (AC)</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Short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45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Short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Medium</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74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Short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115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984261142"/>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Medium blade</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68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461739846"/>
                  </a:ext>
                </a:extLst>
              </a:tr>
              <a:tr h="345813">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Medium blade</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96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Medium blade</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 </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13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Sofia Sans"/>
                          <a:cs typeface="Sofia Sans"/>
                          <a:sym typeface="Sofia Sans"/>
                        </a:rPr>
                        <a:t>Large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Low</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61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295059867"/>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Large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79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457672796"/>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000" b="0" i="0" u="none" strike="noStrike" cap="none">
                          <a:solidFill>
                            <a:schemeClr val="dk1"/>
                          </a:solidFill>
                          <a:latin typeface="Sofia Sans"/>
                          <a:ea typeface="Sofia Sans"/>
                          <a:cs typeface="Sofia Sans"/>
                          <a:sym typeface="Sofia Sans"/>
                        </a:rPr>
                        <a:t>Large blade</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10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334281"/>
                  </a:ext>
                </a:extLst>
              </a:tr>
            </a:tbl>
          </a:graphicData>
        </a:graphic>
      </p:graphicFrame>
      <p:sp>
        <p:nvSpPr>
          <p:cNvPr id="9" name="Untertitel 2">
            <a:extLst>
              <a:ext uri="{FF2B5EF4-FFF2-40B4-BE49-F238E27FC236}">
                <a16:creationId xmlns:a16="http://schemas.microsoft.com/office/drawing/2014/main" id="{FED0FE71-76DE-377B-D8D3-BD4745555538}"/>
              </a:ext>
            </a:extLst>
          </p:cNvPr>
          <p:cNvSpPr txBox="1">
            <a:spLocks/>
          </p:cNvSpPr>
          <p:nvPr/>
        </p:nvSpPr>
        <p:spPr>
          <a:xfrm>
            <a:off x="4716174" y="5755027"/>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sp>
        <p:nvSpPr>
          <p:cNvPr id="10" name="Untertitel 5">
            <a:extLst>
              <a:ext uri="{FF2B5EF4-FFF2-40B4-BE49-F238E27FC236}">
                <a16:creationId xmlns:a16="http://schemas.microsoft.com/office/drawing/2014/main" id="{BAE8EA33-45C9-775A-8992-ABDFE51BB83E}"/>
              </a:ext>
            </a:extLst>
          </p:cNvPr>
          <p:cNvSpPr txBox="1">
            <a:spLocks/>
          </p:cNvSpPr>
          <p:nvPr/>
        </p:nvSpPr>
        <p:spPr>
          <a:xfrm>
            <a:off x="1104692" y="506499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1" name="Ellipse 10">
            <a:extLst>
              <a:ext uri="{FF2B5EF4-FFF2-40B4-BE49-F238E27FC236}">
                <a16:creationId xmlns:a16="http://schemas.microsoft.com/office/drawing/2014/main" id="{A1E39608-6A79-6EEA-0EEE-BEEAD14E9E47}"/>
              </a:ext>
            </a:extLst>
          </p:cNvPr>
          <p:cNvSpPr>
            <a:spLocks noChangeAspect="1"/>
          </p:cNvSpPr>
          <p:nvPr/>
        </p:nvSpPr>
        <p:spPr>
          <a:xfrm>
            <a:off x="730528" y="503550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 name="Grafik 11" descr="Skizze mit einfarbiger Füllung">
            <a:extLst>
              <a:ext uri="{FF2B5EF4-FFF2-40B4-BE49-F238E27FC236}">
                <a16:creationId xmlns:a16="http://schemas.microsoft.com/office/drawing/2014/main" id="{B4D90578-6D42-77CE-BD88-FACF40A64D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1069" y="5101090"/>
            <a:ext cx="379044" cy="379044"/>
          </a:xfrm>
          <a:prstGeom prst="rect">
            <a:avLst/>
          </a:prstGeom>
        </p:spPr>
      </p:pic>
      <p:sp>
        <p:nvSpPr>
          <p:cNvPr id="13" name="Untertitel 3">
            <a:extLst>
              <a:ext uri="{FF2B5EF4-FFF2-40B4-BE49-F238E27FC236}">
                <a16:creationId xmlns:a16="http://schemas.microsoft.com/office/drawing/2014/main" id="{10516AA5-604C-8BFA-B64B-F730EC10DB07}"/>
              </a:ext>
            </a:extLst>
          </p:cNvPr>
          <p:cNvSpPr txBox="1">
            <a:spLocks/>
          </p:cNvSpPr>
          <p:nvPr/>
        </p:nvSpPr>
        <p:spPr>
          <a:xfrm>
            <a:off x="719138" y="6064746"/>
            <a:ext cx="5870944" cy="52676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dirty="0"/>
              <a:t>What is your observation? How does the length of the blades affect the wind kit’s turning speed?</a:t>
            </a:r>
            <a:endParaRPr lang="en-GB" sz="1200" noProof="0" dirty="0">
              <a:solidFill>
                <a:srgbClr val="333333"/>
              </a:solidFill>
            </a:endParaRPr>
          </a:p>
        </p:txBody>
      </p:sp>
      <p:sp>
        <p:nvSpPr>
          <p:cNvPr id="19" name="Untertitel 5">
            <a:extLst>
              <a:ext uri="{FF2B5EF4-FFF2-40B4-BE49-F238E27FC236}">
                <a16:creationId xmlns:a16="http://schemas.microsoft.com/office/drawing/2014/main" id="{B3DAD5B7-0D35-565D-5645-2084A1BBB908}"/>
              </a:ext>
            </a:extLst>
          </p:cNvPr>
          <p:cNvSpPr txBox="1">
            <a:spLocks/>
          </p:cNvSpPr>
          <p:nvPr/>
        </p:nvSpPr>
        <p:spPr>
          <a:xfrm>
            <a:off x="719138" y="5678027"/>
            <a:ext cx="4404785"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a:t>
            </a:r>
            <a:r>
              <a:rPr lang="en-GB" sz="1200">
                <a:solidFill>
                  <a:schemeClr val="accent2"/>
                </a:solidFill>
              </a:rPr>
              <a:t>1</a:t>
            </a:r>
            <a:endParaRPr lang="en-GB" sz="1200" noProof="0">
              <a:solidFill>
                <a:schemeClr val="accent2"/>
              </a:solidFill>
            </a:endParaRPr>
          </a:p>
        </p:txBody>
      </p:sp>
      <p:sp>
        <p:nvSpPr>
          <p:cNvPr id="22" name="Textfeld 11">
            <a:extLst>
              <a:ext uri="{FF2B5EF4-FFF2-40B4-BE49-F238E27FC236}">
                <a16:creationId xmlns:a16="http://schemas.microsoft.com/office/drawing/2014/main" id="{5FE979E2-7B29-1510-143E-97AAD1078E13}"/>
              </a:ext>
            </a:extLst>
          </p:cNvPr>
          <p:cNvSpPr txBox="1"/>
          <p:nvPr/>
        </p:nvSpPr>
        <p:spPr>
          <a:xfrm>
            <a:off x="883409" y="6776257"/>
            <a:ext cx="5617751" cy="65851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highlight>
                  <a:srgbClr val="FFFFFF"/>
                </a:highlight>
                <a:latin typeface="Sofia Sans"/>
              </a:rPr>
              <a:t>Shorter blades have lower voltage output and the medium size blades are optimal. Therefore, the longer the blades, the better the output is not always true. </a:t>
            </a:r>
            <a:endParaRPr lang="en-GB" sz="1100" noProof="0">
              <a:solidFill>
                <a:srgbClr val="FF0000"/>
              </a:solidFill>
              <a:highlight>
                <a:srgbClr val="FFFFFF"/>
              </a:highlight>
              <a:latin typeface="Sofia Sans"/>
              <a:sym typeface="Sofia Sans"/>
            </a:endParaRPr>
          </a:p>
        </p:txBody>
      </p:sp>
      <p:sp>
        <p:nvSpPr>
          <p:cNvPr id="25" name="Rechteck 24">
            <a:extLst>
              <a:ext uri="{FF2B5EF4-FFF2-40B4-BE49-F238E27FC236}">
                <a16:creationId xmlns:a16="http://schemas.microsoft.com/office/drawing/2014/main" id="{EF041536-0200-B94C-130E-F728454B2372}"/>
              </a:ext>
            </a:extLst>
          </p:cNvPr>
          <p:cNvSpPr/>
          <p:nvPr/>
        </p:nvSpPr>
        <p:spPr>
          <a:xfrm>
            <a:off x="712806" y="7990037"/>
            <a:ext cx="5701245" cy="125141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44572B43-B635-2C09-0853-5FCD450D3593}"/>
              </a:ext>
            </a:extLst>
          </p:cNvPr>
          <p:cNvSpPr>
            <a:spLocks noChangeAspect="1"/>
          </p:cNvSpPr>
          <p:nvPr/>
        </p:nvSpPr>
        <p:spPr>
          <a:xfrm>
            <a:off x="6083719" y="7663540"/>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2" name="Grafik 31" descr="Lesezeichen mit einfarbiger Füllung">
            <a:extLst>
              <a:ext uri="{FF2B5EF4-FFF2-40B4-BE49-F238E27FC236}">
                <a16:creationId xmlns:a16="http://schemas.microsoft.com/office/drawing/2014/main" id="{9BA9D097-7AE9-3F52-47EB-2906AF9447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1566" y="7791387"/>
            <a:ext cx="404450" cy="404450"/>
          </a:xfrm>
          <a:prstGeom prst="rect">
            <a:avLst/>
          </a:prstGeom>
        </p:spPr>
      </p:pic>
      <p:sp>
        <p:nvSpPr>
          <p:cNvPr id="33" name="Untertitel 5">
            <a:extLst>
              <a:ext uri="{FF2B5EF4-FFF2-40B4-BE49-F238E27FC236}">
                <a16:creationId xmlns:a16="http://schemas.microsoft.com/office/drawing/2014/main" id="{8F0F7545-DB94-4A41-79AA-783048367189}"/>
              </a:ext>
            </a:extLst>
          </p:cNvPr>
          <p:cNvSpPr txBox="1">
            <a:spLocks/>
          </p:cNvSpPr>
          <p:nvPr/>
        </p:nvSpPr>
        <p:spPr>
          <a:xfrm>
            <a:off x="848905" y="808187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34" name="Untertitel 2">
            <a:extLst>
              <a:ext uri="{FF2B5EF4-FFF2-40B4-BE49-F238E27FC236}">
                <a16:creationId xmlns:a16="http://schemas.microsoft.com/office/drawing/2014/main" id="{162F172F-E708-26A5-7253-10599CCAC682}"/>
              </a:ext>
            </a:extLst>
          </p:cNvPr>
          <p:cNvSpPr txBox="1">
            <a:spLocks/>
          </p:cNvSpPr>
          <p:nvPr/>
        </p:nvSpPr>
        <p:spPr>
          <a:xfrm>
            <a:off x="1058724" y="8575303"/>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sp>
        <p:nvSpPr>
          <p:cNvPr id="35" name="Untertitel 2">
            <a:extLst>
              <a:ext uri="{FF2B5EF4-FFF2-40B4-BE49-F238E27FC236}">
                <a16:creationId xmlns:a16="http://schemas.microsoft.com/office/drawing/2014/main" id="{5CC9D818-13B5-FEF2-8C67-E1287DAC0F21}"/>
              </a:ext>
            </a:extLst>
          </p:cNvPr>
          <p:cNvSpPr txBox="1">
            <a:spLocks/>
          </p:cNvSpPr>
          <p:nvPr/>
        </p:nvSpPr>
        <p:spPr>
          <a:xfrm>
            <a:off x="1074294" y="8568265"/>
            <a:ext cx="5010826" cy="485183"/>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Blade lengths affect directly how much wind is captured by the wind turbine.</a:t>
            </a:r>
          </a:p>
        </p:txBody>
      </p:sp>
    </p:spTree>
    <p:extLst>
      <p:ext uri="{BB962C8B-B14F-4D97-AF65-F5344CB8AC3E}">
        <p14:creationId xmlns:p14="http://schemas.microsoft.com/office/powerpoint/2010/main" val="42941624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BE1FC-A234-3EA0-0753-D20828B2FA40}"/>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3DA4DB8-FE9F-68C7-49F4-0D7298D9D9F4}"/>
              </a:ext>
            </a:extLst>
          </p:cNvPr>
          <p:cNvSpPr>
            <a:spLocks noGrp="1"/>
          </p:cNvSpPr>
          <p:nvPr>
            <p:ph type="sldNum" sz="quarter" idx="10"/>
          </p:nvPr>
        </p:nvSpPr>
        <p:spPr/>
        <p:txBody>
          <a:bodyPr/>
          <a:lstStyle/>
          <a:p>
            <a:fld id="{DF7F771E-9578-4C04-B869-01AF4C35C90C}" type="slidenum">
              <a:rPr lang="en-GB" noProof="0" smtClean="0"/>
              <a:t>54</a:t>
            </a:fld>
            <a:endParaRPr lang="en-GB" noProof="0"/>
          </a:p>
        </p:txBody>
      </p:sp>
      <p:sp>
        <p:nvSpPr>
          <p:cNvPr id="2" name="Untertitel 3">
            <a:extLst>
              <a:ext uri="{FF2B5EF4-FFF2-40B4-BE49-F238E27FC236}">
                <a16:creationId xmlns:a16="http://schemas.microsoft.com/office/drawing/2014/main" id="{0ECB1FBA-6316-6802-E479-7929B2D88870}"/>
              </a:ext>
            </a:extLst>
          </p:cNvPr>
          <p:cNvSpPr txBox="1">
            <a:spLocks/>
          </p:cNvSpPr>
          <p:nvPr/>
        </p:nvSpPr>
        <p:spPr>
          <a:xfrm>
            <a:off x="736556" y="4481306"/>
            <a:ext cx="6038849" cy="31350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200" b="1" noProof="0" dirty="0"/>
              <a:t>Follow these steps to conduct the experiment:</a:t>
            </a:r>
          </a:p>
          <a:p>
            <a:pPr algn="just">
              <a:lnSpc>
                <a:spcPct val="114999"/>
              </a:lnSpc>
            </a:pPr>
            <a:endParaRPr lang="en-GB" sz="1200" b="1" noProof="0" dirty="0"/>
          </a:p>
          <a:p>
            <a:pPr algn="just">
              <a:buAutoNum type="arabicPeriod"/>
            </a:pPr>
            <a:r>
              <a:rPr lang="en-GB" sz="1200" noProof="0" dirty="0"/>
              <a:t>Take your wind set and prepare it so that you have different blade lengths and place it in one position. Make sure that this position remains the same to ensure that the results are not affected by a different distance from the fan.</a:t>
            </a:r>
          </a:p>
          <a:p>
            <a:pPr algn="just">
              <a:buAutoNum type="arabicPeriod"/>
            </a:pPr>
            <a:r>
              <a:rPr lang="en-GB" sz="1200" noProof="0" dirty="0"/>
              <a:t>Place your wind kit in front of a fan. Attach the nacelle with a screw (there are various holes you can use). The angle of the blades should be flat. </a:t>
            </a:r>
          </a:p>
          <a:p>
            <a:pPr algn="just">
              <a:buAutoNum type="arabicPeriod"/>
            </a:pPr>
            <a:r>
              <a:rPr lang="en-GB" sz="1200" noProof="0" dirty="0"/>
              <a:t>Now measure the voltage with the </a:t>
            </a:r>
            <a:r>
              <a:rPr lang="en-GB" sz="1200" noProof="0" dirty="0" err="1"/>
              <a:t>multimeter</a:t>
            </a:r>
            <a:r>
              <a:rPr lang="en-GB" sz="1200" noProof="0" dirty="0"/>
              <a:t> for low, medium and high speed with your fan for the following blade numbers (maybe give a first push): </a:t>
            </a:r>
          </a:p>
          <a:p>
            <a:pPr lvl="1" algn="just">
              <a:lnSpc>
                <a:spcPct val="114999"/>
              </a:lnSpc>
              <a:buFont typeface="Courier New"/>
              <a:buChar char="o"/>
            </a:pPr>
            <a:r>
              <a:rPr lang="en-GB" sz="1200" noProof="0" dirty="0"/>
              <a:t>Two blades</a:t>
            </a:r>
          </a:p>
          <a:p>
            <a:pPr lvl="1" algn="just">
              <a:lnSpc>
                <a:spcPct val="114999"/>
              </a:lnSpc>
              <a:buFont typeface="Courier New"/>
              <a:buChar char="o"/>
            </a:pPr>
            <a:r>
              <a:rPr lang="en-GB" sz="1200" noProof="0" dirty="0"/>
              <a:t>Three blades</a:t>
            </a:r>
          </a:p>
          <a:p>
            <a:pPr lvl="1" algn="just">
              <a:lnSpc>
                <a:spcPct val="114999"/>
              </a:lnSpc>
              <a:buClr>
                <a:srgbClr val="333333"/>
              </a:buClr>
              <a:buFont typeface="Courier New"/>
              <a:buChar char="o"/>
            </a:pPr>
            <a:r>
              <a:rPr lang="en-GB" sz="1200" noProof="0" dirty="0"/>
              <a:t>Six blades</a:t>
            </a:r>
          </a:p>
          <a:p>
            <a:pPr algn="just">
              <a:lnSpc>
                <a:spcPct val="114999"/>
              </a:lnSpc>
              <a:buAutoNum type="arabicPeriod"/>
            </a:pPr>
            <a:r>
              <a:rPr lang="en-GB" sz="1200" noProof="0" dirty="0"/>
              <a:t>Look at the pictures on the next slide to see how it looks and try the same with your wind kit. </a:t>
            </a:r>
          </a:p>
          <a:p>
            <a:pPr algn="just">
              <a:lnSpc>
                <a:spcPct val="114999"/>
              </a:lnSpc>
              <a:buAutoNum type="arabicPeriod"/>
            </a:pPr>
            <a:r>
              <a:rPr lang="en-GB" sz="1200" noProof="0" dirty="0"/>
              <a:t>Report your answers in the observation table.</a:t>
            </a:r>
          </a:p>
        </p:txBody>
      </p:sp>
      <p:sp>
        <p:nvSpPr>
          <p:cNvPr id="11" name="Titel 1">
            <a:extLst>
              <a:ext uri="{FF2B5EF4-FFF2-40B4-BE49-F238E27FC236}">
                <a16:creationId xmlns:a16="http://schemas.microsoft.com/office/drawing/2014/main" id="{D7AEC48C-8EFC-2CF7-8FF1-AFD9438E4FD1}"/>
              </a:ext>
            </a:extLst>
          </p:cNvPr>
          <p:cNvSpPr txBox="1">
            <a:spLocks/>
          </p:cNvSpPr>
          <p:nvPr/>
        </p:nvSpPr>
        <p:spPr>
          <a:xfrm>
            <a:off x="747317" y="1293013"/>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dirty="0"/>
              <a:t>9. Changing number of blades</a:t>
            </a:r>
          </a:p>
        </p:txBody>
      </p:sp>
      <p:sp>
        <p:nvSpPr>
          <p:cNvPr id="17" name="Untertitel 5">
            <a:extLst>
              <a:ext uri="{FF2B5EF4-FFF2-40B4-BE49-F238E27FC236}">
                <a16:creationId xmlns:a16="http://schemas.microsoft.com/office/drawing/2014/main" id="{717731F2-638D-52B3-0EE9-63B2BF9854AD}"/>
              </a:ext>
            </a:extLst>
          </p:cNvPr>
          <p:cNvSpPr txBox="1">
            <a:spLocks/>
          </p:cNvSpPr>
          <p:nvPr/>
        </p:nvSpPr>
        <p:spPr>
          <a:xfrm>
            <a:off x="1145443" y="219370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18" name="Ellipse 17">
            <a:extLst>
              <a:ext uri="{FF2B5EF4-FFF2-40B4-BE49-F238E27FC236}">
                <a16:creationId xmlns:a16="http://schemas.microsoft.com/office/drawing/2014/main" id="{59AA6B8F-49A7-1F98-E6C8-F27D4A3C78C9}"/>
              </a:ext>
            </a:extLst>
          </p:cNvPr>
          <p:cNvSpPr>
            <a:spLocks noChangeAspect="1"/>
          </p:cNvSpPr>
          <p:nvPr/>
        </p:nvSpPr>
        <p:spPr>
          <a:xfrm>
            <a:off x="715216" y="211336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Grafik 18" descr="Lupe mit einfarbiger Füllung">
            <a:extLst>
              <a:ext uri="{FF2B5EF4-FFF2-40B4-BE49-F238E27FC236}">
                <a16:creationId xmlns:a16="http://schemas.microsoft.com/office/drawing/2014/main" id="{005F3166-9E00-B43A-DA36-8A1C01D15E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0057" y="2196000"/>
            <a:ext cx="333865" cy="333865"/>
          </a:xfrm>
          <a:prstGeom prst="rect">
            <a:avLst/>
          </a:prstGeom>
        </p:spPr>
      </p:pic>
      <p:sp>
        <p:nvSpPr>
          <p:cNvPr id="20" name="Rechteck 19">
            <a:extLst>
              <a:ext uri="{FF2B5EF4-FFF2-40B4-BE49-F238E27FC236}">
                <a16:creationId xmlns:a16="http://schemas.microsoft.com/office/drawing/2014/main" id="{D220FDA7-89AF-4785-740D-72613E088920}"/>
              </a:ext>
            </a:extLst>
          </p:cNvPr>
          <p:cNvSpPr/>
          <p:nvPr/>
        </p:nvSpPr>
        <p:spPr>
          <a:xfrm>
            <a:off x="746512" y="3024261"/>
            <a:ext cx="6028893" cy="1252782"/>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Untertitel 2">
            <a:extLst>
              <a:ext uri="{FF2B5EF4-FFF2-40B4-BE49-F238E27FC236}">
                <a16:creationId xmlns:a16="http://schemas.microsoft.com/office/drawing/2014/main" id="{8DD6C1C4-EB1D-E9CE-2094-232E34F39F40}"/>
              </a:ext>
            </a:extLst>
          </p:cNvPr>
          <p:cNvSpPr txBox="1">
            <a:spLocks/>
          </p:cNvSpPr>
          <p:nvPr/>
        </p:nvSpPr>
        <p:spPr>
          <a:xfrm>
            <a:off x="1093071" y="3391890"/>
            <a:ext cx="3230102"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rgbClr val="315544"/>
              </a:buClr>
              <a:buFont typeface="Arial,Sans-Serif"/>
              <a:buChar char="•"/>
            </a:pPr>
            <a:r>
              <a:rPr lang="en-GB" sz="1200" noProof="0"/>
              <a:t>Wind kit with 2, 3, 6 blades, medium size</a:t>
            </a:r>
          </a:p>
          <a:p>
            <a:pPr marL="285750" indent="-285750">
              <a:lnSpc>
                <a:spcPct val="114999"/>
              </a:lnSpc>
              <a:buClr>
                <a:srgbClr val="315544"/>
              </a:buClr>
              <a:buFont typeface="Arial,Sans-Serif"/>
              <a:buChar char="•"/>
            </a:pPr>
            <a:r>
              <a:rPr lang="en-GB" sz="1200" noProof="0"/>
              <a:t>Fan</a:t>
            </a:r>
          </a:p>
          <a:p>
            <a:pPr marL="285750" indent="-285750">
              <a:lnSpc>
                <a:spcPct val="114999"/>
              </a:lnSpc>
              <a:buClr>
                <a:srgbClr val="315544"/>
              </a:buClr>
              <a:buFont typeface="Arial,Sans-Serif"/>
              <a:buChar char="•"/>
            </a:pPr>
            <a:r>
              <a:rPr lang="en-GB" sz="1200" noProof="0" err="1"/>
              <a:t>Multimeter</a:t>
            </a:r>
            <a:endParaRPr lang="en-GB" sz="1200" noProof="0"/>
          </a:p>
        </p:txBody>
      </p:sp>
      <p:sp>
        <p:nvSpPr>
          <p:cNvPr id="22" name="Untertitel 5">
            <a:extLst>
              <a:ext uri="{FF2B5EF4-FFF2-40B4-BE49-F238E27FC236}">
                <a16:creationId xmlns:a16="http://schemas.microsoft.com/office/drawing/2014/main" id="{12FB3FAA-15C0-7D2C-FFD2-9E018C981C4C}"/>
              </a:ext>
            </a:extLst>
          </p:cNvPr>
          <p:cNvSpPr txBox="1">
            <a:spLocks/>
          </p:cNvSpPr>
          <p:nvPr/>
        </p:nvSpPr>
        <p:spPr>
          <a:xfrm>
            <a:off x="913445" y="3052920"/>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23" name="Gruppieren 22">
            <a:extLst>
              <a:ext uri="{FF2B5EF4-FFF2-40B4-BE49-F238E27FC236}">
                <a16:creationId xmlns:a16="http://schemas.microsoft.com/office/drawing/2014/main" id="{D2CA5F0C-5B63-3D1E-6D6A-40B3FB881A98}"/>
              </a:ext>
            </a:extLst>
          </p:cNvPr>
          <p:cNvGrpSpPr/>
          <p:nvPr/>
        </p:nvGrpSpPr>
        <p:grpSpPr>
          <a:xfrm>
            <a:off x="6462901" y="2741539"/>
            <a:ext cx="402475" cy="419630"/>
            <a:chOff x="6140368" y="3097011"/>
            <a:chExt cx="660145" cy="660145"/>
          </a:xfrm>
        </p:grpSpPr>
        <p:sp>
          <p:nvSpPr>
            <p:cNvPr id="24" name="Ellipse 23">
              <a:extLst>
                <a:ext uri="{FF2B5EF4-FFF2-40B4-BE49-F238E27FC236}">
                  <a16:creationId xmlns:a16="http://schemas.microsoft.com/office/drawing/2014/main" id="{6B523FB2-5505-4B27-AE12-89286D5F5908}"/>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25" name="Grafik 24" descr="Inventar mit einfarbiger Füllung">
              <a:extLst>
                <a:ext uri="{FF2B5EF4-FFF2-40B4-BE49-F238E27FC236}">
                  <a16:creationId xmlns:a16="http://schemas.microsoft.com/office/drawing/2014/main" id="{009F14B2-0844-2B8C-E6C5-5EE8139343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10692539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A6105D-1D0A-3B24-A239-00660A1B90E1}"/>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D602980-CA1A-93D6-BD92-4D2E41E723D6}"/>
              </a:ext>
            </a:extLst>
          </p:cNvPr>
          <p:cNvSpPr>
            <a:spLocks noGrp="1"/>
          </p:cNvSpPr>
          <p:nvPr>
            <p:ph type="sldNum" sz="quarter" idx="4"/>
          </p:nvPr>
        </p:nvSpPr>
        <p:spPr/>
        <p:txBody>
          <a:bodyPr/>
          <a:lstStyle/>
          <a:p>
            <a:fld id="{DF7F771E-9578-4C04-B869-01AF4C35C90C}" type="slidenum">
              <a:rPr lang="en-GB" noProof="0" smtClean="0"/>
              <a:t>55</a:t>
            </a:fld>
            <a:endParaRPr lang="en-GB" noProof="0"/>
          </a:p>
        </p:txBody>
      </p:sp>
      <p:pic>
        <p:nvPicPr>
          <p:cNvPr id="31" name="Grafik 30" descr="Lupe mit einfarbiger Füllung">
            <a:extLst>
              <a:ext uri="{FF2B5EF4-FFF2-40B4-BE49-F238E27FC236}">
                <a16:creationId xmlns:a16="http://schemas.microsoft.com/office/drawing/2014/main" id="{F13265C8-4E74-20D3-5118-5F74945DC8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2922" y="2386365"/>
            <a:ext cx="333865" cy="333865"/>
          </a:xfrm>
          <a:prstGeom prst="rect">
            <a:avLst/>
          </a:prstGeom>
        </p:spPr>
      </p:pic>
      <p:pic>
        <p:nvPicPr>
          <p:cNvPr id="6" name="Grafik 5" descr="Ein Bild, das Büroausstattung, Im Haus, Handwerkzeug, Text enthält.&#10;&#10;Automatisch generierte Beschreibung">
            <a:extLst>
              <a:ext uri="{FF2B5EF4-FFF2-40B4-BE49-F238E27FC236}">
                <a16:creationId xmlns:a16="http://schemas.microsoft.com/office/drawing/2014/main" id="{2181FD34-1CEB-1ECF-7124-4D9D04EBDFC1}"/>
              </a:ext>
            </a:extLst>
          </p:cNvPr>
          <p:cNvPicPr>
            <a:picLocks noChangeAspect="1"/>
          </p:cNvPicPr>
          <p:nvPr/>
        </p:nvPicPr>
        <p:blipFill>
          <a:blip r:embed="rId4"/>
          <a:srcRect t="23703" b="14462"/>
          <a:stretch/>
        </p:blipFill>
        <p:spPr>
          <a:xfrm>
            <a:off x="1018217" y="1296920"/>
            <a:ext cx="1447137" cy="1590832"/>
          </a:xfrm>
          <a:prstGeom prst="rect">
            <a:avLst/>
          </a:prstGeom>
        </p:spPr>
      </p:pic>
      <p:pic>
        <p:nvPicPr>
          <p:cNvPr id="8" name="Grafik 7" descr="Ein Bild, das Im Haus, Büroausstattung, Blau, Boden enthält.&#10;&#10;Automatisch generierte Beschreibung">
            <a:extLst>
              <a:ext uri="{FF2B5EF4-FFF2-40B4-BE49-F238E27FC236}">
                <a16:creationId xmlns:a16="http://schemas.microsoft.com/office/drawing/2014/main" id="{7C246E8F-513D-3EAF-8C80-310132BA6CF0}"/>
              </a:ext>
            </a:extLst>
          </p:cNvPr>
          <p:cNvPicPr>
            <a:picLocks noChangeAspect="1"/>
          </p:cNvPicPr>
          <p:nvPr/>
        </p:nvPicPr>
        <p:blipFill>
          <a:blip r:embed="rId5"/>
          <a:srcRect t="32038" b="12893"/>
          <a:stretch/>
        </p:blipFill>
        <p:spPr>
          <a:xfrm>
            <a:off x="2918041" y="1278416"/>
            <a:ext cx="1565774" cy="1606712"/>
          </a:xfrm>
          <a:prstGeom prst="rect">
            <a:avLst/>
          </a:prstGeom>
        </p:spPr>
      </p:pic>
      <p:pic>
        <p:nvPicPr>
          <p:cNvPr id="2" name="Picture 1">
            <a:extLst>
              <a:ext uri="{FF2B5EF4-FFF2-40B4-BE49-F238E27FC236}">
                <a16:creationId xmlns:a16="http://schemas.microsoft.com/office/drawing/2014/main" id="{368F63F8-584B-F70D-1231-A43CE841AA2C}"/>
              </a:ext>
            </a:extLst>
          </p:cNvPr>
          <p:cNvPicPr>
            <a:picLocks noChangeAspect="1"/>
          </p:cNvPicPr>
          <p:nvPr/>
        </p:nvPicPr>
        <p:blipFill>
          <a:blip r:embed="rId6"/>
          <a:srcRect t="12745" b="7483"/>
          <a:stretch/>
        </p:blipFill>
        <p:spPr>
          <a:xfrm>
            <a:off x="4956103" y="1296920"/>
            <a:ext cx="1541283" cy="1590831"/>
          </a:xfrm>
          <a:prstGeom prst="rect">
            <a:avLst/>
          </a:prstGeom>
        </p:spPr>
      </p:pic>
      <p:graphicFrame>
        <p:nvGraphicFramePr>
          <p:cNvPr id="9" name="Google Shape;630;p38">
            <a:extLst>
              <a:ext uri="{FF2B5EF4-FFF2-40B4-BE49-F238E27FC236}">
                <a16:creationId xmlns:a16="http://schemas.microsoft.com/office/drawing/2014/main" id="{AB6569C3-9EE1-027A-28D4-D403A07CFB6D}"/>
              </a:ext>
            </a:extLst>
          </p:cNvPr>
          <p:cNvGraphicFramePr/>
          <p:nvPr>
            <p:extLst>
              <p:ext uri="{D42A27DB-BD31-4B8C-83A1-F6EECF244321}">
                <p14:modId xmlns:p14="http://schemas.microsoft.com/office/powerpoint/2010/main" val="2949189122"/>
              </p:ext>
            </p:extLst>
          </p:nvPr>
        </p:nvGraphicFramePr>
        <p:xfrm>
          <a:off x="737584" y="3265773"/>
          <a:ext cx="5919009" cy="3467767"/>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Blade </a:t>
                      </a:r>
                      <a:r>
                        <a:rPr lang="de-DE" sz="1000" b="1" err="1">
                          <a:solidFill>
                            <a:schemeClr val="dk1"/>
                          </a:solidFill>
                          <a:latin typeface="Epilogue"/>
                          <a:ea typeface="Epilogue"/>
                          <a:cs typeface="Epilogue"/>
                          <a:sym typeface="Epilogue"/>
                        </a:rPr>
                        <a:t>L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Wind </a:t>
                      </a:r>
                      <a:r>
                        <a:rPr lang="de-DE" sz="1000" b="1" err="1">
                          <a:solidFill>
                            <a:schemeClr val="dk1"/>
                          </a:solidFill>
                          <a:latin typeface="Epilogue"/>
                          <a:ea typeface="Epilogue"/>
                          <a:cs typeface="Epilogue"/>
                          <a:sym typeface="Epilogue"/>
                        </a:rPr>
                        <a:t>str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mV (AC)</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2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49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2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Medium</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73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2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100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984261142"/>
                  </a:ext>
                </a:extLst>
              </a:tr>
              <a:tr h="363822">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3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Low</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680</a:t>
                      </a:r>
                      <a:endParaRPr sz="1000" b="0" i="0" u="none" strike="noStrike" cap="none">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461739846"/>
                  </a:ext>
                </a:extLst>
              </a:tr>
              <a:tr h="345813">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3 blades</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96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0" i="0" u="none" strike="noStrike" cap="none">
                          <a:solidFill>
                            <a:schemeClr val="dk1"/>
                          </a:solidFill>
                          <a:latin typeface="Sofia Sans"/>
                          <a:ea typeface="Epilogue"/>
                          <a:cs typeface="Epilogue"/>
                          <a:sym typeface="Epilogue"/>
                        </a:rPr>
                        <a:t>3 blades</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 </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13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kumimoji="0" lang="de-DE" sz="1000" b="0" i="0" u="none" strike="noStrike" kern="0" cap="none" spc="0" normalizeH="0" baseline="0" noProof="0">
                          <a:ln>
                            <a:noFill/>
                          </a:ln>
                          <a:solidFill>
                            <a:srgbClr val="333333"/>
                          </a:solidFill>
                          <a:effectLst/>
                          <a:uLnTx/>
                          <a:uFillTx/>
                          <a:latin typeface="Sofia Sans"/>
                          <a:ea typeface="Epilogue"/>
                          <a:cs typeface="Epilogue"/>
                          <a:sym typeface="Epilogue"/>
                        </a:rPr>
                        <a:t>6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Low</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86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295059867"/>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kumimoji="0" lang="de-DE" sz="1000" b="0" i="0" u="none" strike="noStrike" kern="0" cap="none" spc="0" normalizeH="0" baseline="0" noProof="0">
                          <a:ln>
                            <a:noFill/>
                          </a:ln>
                          <a:solidFill>
                            <a:srgbClr val="333333"/>
                          </a:solidFill>
                          <a:effectLst/>
                          <a:uLnTx/>
                          <a:uFillTx/>
                          <a:latin typeface="Sofia Sans"/>
                          <a:ea typeface="Epilogue"/>
                          <a:cs typeface="Epilogue"/>
                          <a:sym typeface="Epilogue"/>
                        </a:rPr>
                        <a:t>6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Medium</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14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457672796"/>
                  </a:ext>
                </a:extLst>
              </a:tr>
              <a:tr h="325711">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kumimoji="0" lang="de-DE" sz="1000" b="0" i="0" u="none" strike="noStrike" kern="0" cap="none" spc="0" normalizeH="0" baseline="0" noProof="0">
                          <a:ln>
                            <a:noFill/>
                          </a:ln>
                          <a:solidFill>
                            <a:srgbClr val="333333"/>
                          </a:solidFill>
                          <a:effectLst/>
                          <a:uLnTx/>
                          <a:uFillTx/>
                          <a:latin typeface="Sofia Sans"/>
                          <a:ea typeface="Epilogue"/>
                          <a:cs typeface="Epilogue"/>
                          <a:sym typeface="Epilogue"/>
                        </a:rPr>
                        <a:t>6 blades</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Sofia Sans"/>
                          <a:cs typeface="Sofia Sans"/>
                          <a:sym typeface="Sofia Sans"/>
                        </a:rPr>
                        <a:t>High</a:t>
                      </a:r>
                      <a:endParaRPr sz="1000" b="0" i="0" u="none" strike="noStrike" cap="none">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Sofia Sans"/>
                          <a:cs typeface="Sofia Sans"/>
                          <a:sym typeface="Sofia Sans"/>
                        </a:rPr>
                        <a:t>2300</a:t>
                      </a:r>
                      <a:endParaRPr sz="1000" b="0" i="0" u="none" strike="noStrike" cap="none">
                        <a:solidFill>
                          <a:srgbClr val="FF0000"/>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334281"/>
                  </a:ext>
                </a:extLst>
              </a:tr>
            </a:tbl>
          </a:graphicData>
        </a:graphic>
      </p:graphicFrame>
      <p:sp>
        <p:nvSpPr>
          <p:cNvPr id="11" name="Untertitel 5">
            <a:extLst>
              <a:ext uri="{FF2B5EF4-FFF2-40B4-BE49-F238E27FC236}">
                <a16:creationId xmlns:a16="http://schemas.microsoft.com/office/drawing/2014/main" id="{17575235-3364-2083-2C81-D3693EBDF27E}"/>
              </a:ext>
            </a:extLst>
          </p:cNvPr>
          <p:cNvSpPr txBox="1">
            <a:spLocks/>
          </p:cNvSpPr>
          <p:nvPr/>
        </p:nvSpPr>
        <p:spPr>
          <a:xfrm>
            <a:off x="1162734" y="705210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2" name="Ellipse 11">
            <a:extLst>
              <a:ext uri="{FF2B5EF4-FFF2-40B4-BE49-F238E27FC236}">
                <a16:creationId xmlns:a16="http://schemas.microsoft.com/office/drawing/2014/main" id="{C4CC7323-EAA9-212D-216E-E628DF4D7F8F}"/>
              </a:ext>
            </a:extLst>
          </p:cNvPr>
          <p:cNvSpPr>
            <a:spLocks noChangeAspect="1"/>
          </p:cNvSpPr>
          <p:nvPr/>
        </p:nvSpPr>
        <p:spPr>
          <a:xfrm>
            <a:off x="721695" y="703310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3" name="Grafik 12" descr="Skizze mit einfarbiger Füllung">
            <a:extLst>
              <a:ext uri="{FF2B5EF4-FFF2-40B4-BE49-F238E27FC236}">
                <a16:creationId xmlns:a16="http://schemas.microsoft.com/office/drawing/2014/main" id="{6206BE89-CE28-2E6B-AC8D-B8A7C80123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8570" y="7085638"/>
            <a:ext cx="379044" cy="379044"/>
          </a:xfrm>
          <a:prstGeom prst="rect">
            <a:avLst/>
          </a:prstGeom>
        </p:spPr>
      </p:pic>
      <p:sp>
        <p:nvSpPr>
          <p:cNvPr id="21" name="Untertitel 5">
            <a:extLst>
              <a:ext uri="{FF2B5EF4-FFF2-40B4-BE49-F238E27FC236}">
                <a16:creationId xmlns:a16="http://schemas.microsoft.com/office/drawing/2014/main" id="{873ED9C0-677C-3217-3638-B420E5F4AA41}"/>
              </a:ext>
            </a:extLst>
          </p:cNvPr>
          <p:cNvSpPr txBox="1">
            <a:spLocks/>
          </p:cNvSpPr>
          <p:nvPr/>
        </p:nvSpPr>
        <p:spPr>
          <a:xfrm>
            <a:off x="657108" y="772196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22" name="Untertitel 3">
            <a:extLst>
              <a:ext uri="{FF2B5EF4-FFF2-40B4-BE49-F238E27FC236}">
                <a16:creationId xmlns:a16="http://schemas.microsoft.com/office/drawing/2014/main" id="{3DE72255-EC4B-6D32-1D62-13838DAC6896}"/>
              </a:ext>
            </a:extLst>
          </p:cNvPr>
          <p:cNvSpPr txBox="1">
            <a:spLocks/>
          </p:cNvSpPr>
          <p:nvPr/>
        </p:nvSpPr>
        <p:spPr>
          <a:xfrm>
            <a:off x="721695" y="8140769"/>
            <a:ext cx="6092383"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dirty="0"/>
              <a:t>What differences do you notice in voltage output between different blade configurations?</a:t>
            </a:r>
          </a:p>
        </p:txBody>
      </p:sp>
      <p:sp>
        <p:nvSpPr>
          <p:cNvPr id="23" name="Textfeld 11">
            <a:extLst>
              <a:ext uri="{FF2B5EF4-FFF2-40B4-BE49-F238E27FC236}">
                <a16:creationId xmlns:a16="http://schemas.microsoft.com/office/drawing/2014/main" id="{9D5D908C-0635-8C85-D148-AD212AC05370}"/>
              </a:ext>
            </a:extLst>
          </p:cNvPr>
          <p:cNvSpPr txBox="1"/>
          <p:nvPr/>
        </p:nvSpPr>
        <p:spPr>
          <a:xfrm>
            <a:off x="896790" y="8810638"/>
            <a:ext cx="5600596" cy="83519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number of blades directly affects the turbine's ability to generate voltage. With fewer blades, the turbine produces less voltage output. A higher number of blades (e.g., 6-blade configuration) generally increases voltage output and stability but may introduce resistance, particularly at high wind speeds.</a:t>
            </a:r>
            <a:endParaRPr lang="en-GB" sz="1100" noProof="0">
              <a:latin typeface="Sofia Sans"/>
            </a:endParaRPr>
          </a:p>
        </p:txBody>
      </p:sp>
    </p:spTree>
    <p:extLst>
      <p:ext uri="{BB962C8B-B14F-4D97-AF65-F5344CB8AC3E}">
        <p14:creationId xmlns:p14="http://schemas.microsoft.com/office/powerpoint/2010/main" val="1004260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558FF3A-D0CA-2618-B118-4510201FB3D0}"/>
              </a:ext>
            </a:extLst>
          </p:cNvPr>
          <p:cNvSpPr>
            <a:spLocks noGrp="1"/>
          </p:cNvSpPr>
          <p:nvPr>
            <p:ph type="sldNum" sz="quarter" idx="16"/>
          </p:nvPr>
        </p:nvSpPr>
        <p:spPr/>
        <p:txBody>
          <a:bodyPr/>
          <a:lstStyle/>
          <a:p>
            <a:fld id="{DF7F771E-9578-4C04-B869-01AF4C35C90C}" type="slidenum">
              <a:rPr lang="en-GB" noProof="0" smtClean="0"/>
              <a:t>56</a:t>
            </a:fld>
            <a:endParaRPr lang="en-GB" noProof="0"/>
          </a:p>
        </p:txBody>
      </p:sp>
      <p:sp>
        <p:nvSpPr>
          <p:cNvPr id="18" name="Untertitel 5">
            <a:extLst>
              <a:ext uri="{FF2B5EF4-FFF2-40B4-BE49-F238E27FC236}">
                <a16:creationId xmlns:a16="http://schemas.microsoft.com/office/drawing/2014/main" id="{A6C3DFE2-1650-D046-8C5B-F8C5382E8E92}"/>
              </a:ext>
            </a:extLst>
          </p:cNvPr>
          <p:cNvSpPr txBox="1">
            <a:spLocks/>
          </p:cNvSpPr>
          <p:nvPr/>
        </p:nvSpPr>
        <p:spPr>
          <a:xfrm>
            <a:off x="719138" y="1333996"/>
            <a:ext cx="444715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Task 2</a:t>
            </a:r>
          </a:p>
        </p:txBody>
      </p:sp>
      <p:sp>
        <p:nvSpPr>
          <p:cNvPr id="8" name="Untertitel 3">
            <a:extLst>
              <a:ext uri="{FF2B5EF4-FFF2-40B4-BE49-F238E27FC236}">
                <a16:creationId xmlns:a16="http://schemas.microsoft.com/office/drawing/2014/main" id="{CE749D75-BB64-EA3F-4A37-8B6B98B5B366}"/>
              </a:ext>
            </a:extLst>
          </p:cNvPr>
          <p:cNvSpPr txBox="1">
            <a:spLocks/>
          </p:cNvSpPr>
          <p:nvPr/>
        </p:nvSpPr>
        <p:spPr>
          <a:xfrm>
            <a:off x="719139" y="1752796"/>
            <a:ext cx="6094940"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dirty="0"/>
              <a:t>What happens to the stability when the number of blades increases?</a:t>
            </a:r>
          </a:p>
        </p:txBody>
      </p:sp>
      <p:sp>
        <p:nvSpPr>
          <p:cNvPr id="9" name="Textfeld 11">
            <a:extLst>
              <a:ext uri="{FF2B5EF4-FFF2-40B4-BE49-F238E27FC236}">
                <a16:creationId xmlns:a16="http://schemas.microsoft.com/office/drawing/2014/main" id="{BC21C8CF-539D-E464-29F1-01ECBED7D0F4}"/>
              </a:ext>
            </a:extLst>
          </p:cNvPr>
          <p:cNvSpPr txBox="1"/>
          <p:nvPr/>
        </p:nvSpPr>
        <p:spPr>
          <a:xfrm>
            <a:off x="883409" y="2262601"/>
            <a:ext cx="5600596" cy="83519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As the number of blades increases, stability improves because the wind force is distributed evenly across more blades. However, additional blades also create drag and turbulence, which can reduce rotational speed and overall efficiency.</a:t>
            </a:r>
            <a:endParaRPr lang="en-GB" noProof="0">
              <a:latin typeface="Sofia Sans"/>
            </a:endParaRPr>
          </a:p>
        </p:txBody>
      </p:sp>
      <p:sp>
        <p:nvSpPr>
          <p:cNvPr id="11" name="Untertitel 5">
            <a:extLst>
              <a:ext uri="{FF2B5EF4-FFF2-40B4-BE49-F238E27FC236}">
                <a16:creationId xmlns:a16="http://schemas.microsoft.com/office/drawing/2014/main" id="{0C60DA22-5098-2FC7-44AA-497ECF417164}"/>
              </a:ext>
            </a:extLst>
          </p:cNvPr>
          <p:cNvSpPr txBox="1">
            <a:spLocks/>
          </p:cNvSpPr>
          <p:nvPr/>
        </p:nvSpPr>
        <p:spPr>
          <a:xfrm>
            <a:off x="719138" y="3364904"/>
            <a:ext cx="444715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a:t>
            </a:r>
            <a:r>
              <a:rPr lang="en-GB" sz="1200">
                <a:solidFill>
                  <a:schemeClr val="accent2"/>
                </a:solidFill>
              </a:rPr>
              <a:t>3</a:t>
            </a:r>
            <a:endParaRPr lang="en-GB" sz="1200" noProof="0">
              <a:solidFill>
                <a:schemeClr val="accent2"/>
              </a:solidFill>
            </a:endParaRPr>
          </a:p>
        </p:txBody>
      </p:sp>
      <p:sp>
        <p:nvSpPr>
          <p:cNvPr id="12" name="Untertitel 3">
            <a:extLst>
              <a:ext uri="{FF2B5EF4-FFF2-40B4-BE49-F238E27FC236}">
                <a16:creationId xmlns:a16="http://schemas.microsoft.com/office/drawing/2014/main" id="{BBA254BF-C801-08F3-B13A-86C26D158A6B}"/>
              </a:ext>
            </a:extLst>
          </p:cNvPr>
          <p:cNvSpPr txBox="1">
            <a:spLocks/>
          </p:cNvSpPr>
          <p:nvPr/>
        </p:nvSpPr>
        <p:spPr>
          <a:xfrm>
            <a:off x="719139" y="3783704"/>
            <a:ext cx="6094940"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GB" sz="1200" noProof="0"/>
              <a:t>What are the advantages and disadvantages of using turbines with more blades in real-world wind farms?</a:t>
            </a:r>
          </a:p>
        </p:txBody>
      </p:sp>
      <p:sp>
        <p:nvSpPr>
          <p:cNvPr id="19" name="Textfeld 11">
            <a:extLst>
              <a:ext uri="{FF2B5EF4-FFF2-40B4-BE49-F238E27FC236}">
                <a16:creationId xmlns:a16="http://schemas.microsoft.com/office/drawing/2014/main" id="{CE9B38BC-44B5-91F3-A456-074207677E6C}"/>
              </a:ext>
            </a:extLst>
          </p:cNvPr>
          <p:cNvSpPr txBox="1"/>
          <p:nvPr/>
        </p:nvSpPr>
        <p:spPr>
          <a:xfrm>
            <a:off x="883409" y="4493887"/>
            <a:ext cx="5600596" cy="131410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Advantages: More blades provide greater stability, especially in lower wind conditions. Higher voltage output due to improved wind energy capture. More reliable performance across a range of wind speeds.</a:t>
            </a:r>
            <a:br>
              <a:rPr lang="en-GB" sz="1100" noProof="0">
                <a:latin typeface="Sofia Sans" panose="020B0604020202020204" charset="0"/>
              </a:rPr>
            </a:br>
            <a:r>
              <a:rPr lang="en-GB" sz="1100" noProof="0">
                <a:solidFill>
                  <a:srgbClr val="FF0000"/>
                </a:solidFill>
                <a:latin typeface="Sofia Sans"/>
              </a:rPr>
              <a:t>Disadvantages: Higher resistance to starting and spinning due to increased inertia. Lower efficiency in very high wind conditions. Increased material costs and engineering challenges.</a:t>
            </a:r>
            <a:endParaRPr lang="en-GB" sz="1100" noProof="0">
              <a:solidFill>
                <a:srgbClr val="FF0000"/>
              </a:solidFill>
              <a:effectLst/>
              <a:latin typeface="Sofia Sans"/>
              <a:ea typeface="Times New Roman" panose="02020603050405020304" pitchFamily="18" charset="0"/>
            </a:endParaRPr>
          </a:p>
          <a:p>
            <a:endParaRPr lang="en-GB" noProof="0">
              <a:latin typeface="Sofia Sans"/>
            </a:endParaRPr>
          </a:p>
        </p:txBody>
      </p:sp>
      <p:sp>
        <p:nvSpPr>
          <p:cNvPr id="24" name="Rechteck 23">
            <a:extLst>
              <a:ext uri="{FF2B5EF4-FFF2-40B4-BE49-F238E27FC236}">
                <a16:creationId xmlns:a16="http://schemas.microsoft.com/office/drawing/2014/main" id="{91616D87-8FFD-7DDB-8DD2-32FB1FB09021}"/>
              </a:ext>
            </a:extLst>
          </p:cNvPr>
          <p:cNvSpPr/>
          <p:nvPr/>
        </p:nvSpPr>
        <p:spPr>
          <a:xfrm>
            <a:off x="731938" y="6419841"/>
            <a:ext cx="5701245" cy="261965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DD555C94-A431-9591-0427-8E7A7F2377E2}"/>
              </a:ext>
            </a:extLst>
          </p:cNvPr>
          <p:cNvSpPr>
            <a:spLocks noChangeAspect="1"/>
          </p:cNvSpPr>
          <p:nvPr/>
        </p:nvSpPr>
        <p:spPr>
          <a:xfrm>
            <a:off x="6102851" y="6093345"/>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6" name="Grafik 25" descr="Lesezeichen mit einfarbiger Füllung">
            <a:extLst>
              <a:ext uri="{FF2B5EF4-FFF2-40B4-BE49-F238E27FC236}">
                <a16:creationId xmlns:a16="http://schemas.microsoft.com/office/drawing/2014/main" id="{AE9E4F6F-B7D5-6250-3BDE-6729D5F354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0698" y="6221192"/>
            <a:ext cx="404450" cy="404450"/>
          </a:xfrm>
          <a:prstGeom prst="rect">
            <a:avLst/>
          </a:prstGeom>
        </p:spPr>
      </p:pic>
      <p:sp>
        <p:nvSpPr>
          <p:cNvPr id="27" name="Untertitel 5">
            <a:extLst>
              <a:ext uri="{FF2B5EF4-FFF2-40B4-BE49-F238E27FC236}">
                <a16:creationId xmlns:a16="http://schemas.microsoft.com/office/drawing/2014/main" id="{8736F5B0-E2AE-E591-8080-23A1600C98C0}"/>
              </a:ext>
            </a:extLst>
          </p:cNvPr>
          <p:cNvSpPr txBox="1">
            <a:spLocks/>
          </p:cNvSpPr>
          <p:nvPr/>
        </p:nvSpPr>
        <p:spPr>
          <a:xfrm>
            <a:off x="868037" y="6511680"/>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28" name="Untertitel 2">
            <a:extLst>
              <a:ext uri="{FF2B5EF4-FFF2-40B4-BE49-F238E27FC236}">
                <a16:creationId xmlns:a16="http://schemas.microsoft.com/office/drawing/2014/main" id="{9AB17986-7B9F-EFF3-6FEE-E5E8F42EC295}"/>
              </a:ext>
            </a:extLst>
          </p:cNvPr>
          <p:cNvSpPr txBox="1">
            <a:spLocks/>
          </p:cNvSpPr>
          <p:nvPr/>
        </p:nvSpPr>
        <p:spPr>
          <a:xfrm>
            <a:off x="1077856" y="7005108"/>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sp>
        <p:nvSpPr>
          <p:cNvPr id="30" name="Untertitel 2">
            <a:extLst>
              <a:ext uri="{FF2B5EF4-FFF2-40B4-BE49-F238E27FC236}">
                <a16:creationId xmlns:a16="http://schemas.microsoft.com/office/drawing/2014/main" id="{A8420004-1790-CD47-B95D-EB7AF963E833}"/>
              </a:ext>
            </a:extLst>
          </p:cNvPr>
          <p:cNvSpPr txBox="1">
            <a:spLocks/>
          </p:cNvSpPr>
          <p:nvPr/>
        </p:nvSpPr>
        <p:spPr>
          <a:xfrm>
            <a:off x="1093426" y="6998070"/>
            <a:ext cx="5010826" cy="1745949"/>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200" noProof="0" dirty="0">
                <a:latin typeface="Sofia Sans"/>
              </a:rPr>
              <a:t>The number of blades affects the efficiency of the turbine, the ease of starting and the voltage output.</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Fewer blades may spin faster, but produce less consistent power and stability.</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More blades provide greater stability and power generation, but can encounter resistance at high wind speeds.</a:t>
            </a:r>
          </a:p>
          <a:p>
            <a:pPr marL="457200" indent="-317500">
              <a:lnSpc>
                <a:spcPct val="114999"/>
              </a:lnSpc>
              <a:buClr>
                <a:schemeClr val="lt1"/>
              </a:buClr>
              <a:buSzPts val="1400"/>
              <a:buFont typeface="Arial" panose="020B0604020202020204" pitchFamily="34" charset="0"/>
              <a:buChar char="•"/>
            </a:pPr>
            <a:r>
              <a:rPr lang="en-GB" sz="1200" noProof="0" dirty="0">
                <a:latin typeface="Sofia Sans"/>
              </a:rPr>
              <a:t>Engineers optimize blade design to compensate for these trade-offs for specific wind farm conditions.</a:t>
            </a:r>
          </a:p>
        </p:txBody>
      </p:sp>
    </p:spTree>
    <p:extLst>
      <p:ext uri="{BB962C8B-B14F-4D97-AF65-F5344CB8AC3E}">
        <p14:creationId xmlns:p14="http://schemas.microsoft.com/office/powerpoint/2010/main" val="24924189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57</a:t>
            </a:fld>
            <a:endParaRPr lang="en-GB" noProof="0"/>
          </a:p>
        </p:txBody>
      </p:sp>
      <p:sp>
        <p:nvSpPr>
          <p:cNvPr id="11" name="Titel 1">
            <a:extLst>
              <a:ext uri="{FF2B5EF4-FFF2-40B4-BE49-F238E27FC236}">
                <a16:creationId xmlns:a16="http://schemas.microsoft.com/office/drawing/2014/main" id="{50AC8B4B-9417-984C-8FA3-84C7E9C6BE89}"/>
              </a:ext>
            </a:extLst>
          </p:cNvPr>
          <p:cNvSpPr txBox="1">
            <a:spLocks/>
          </p:cNvSpPr>
          <p:nvPr/>
        </p:nvSpPr>
        <p:spPr>
          <a:xfrm>
            <a:off x="737803" y="1277938"/>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dirty="0"/>
              <a:t>10. </a:t>
            </a:r>
            <a:r>
              <a:rPr lang="en-GB" noProof="0" dirty="0"/>
              <a:t>What happens with a wind turbine with only one blade?</a:t>
            </a:r>
            <a:endParaRPr lang="en-GB" dirty="0"/>
          </a:p>
        </p:txBody>
      </p:sp>
      <p:sp>
        <p:nvSpPr>
          <p:cNvPr id="16" name="Untertitel 5">
            <a:extLst>
              <a:ext uri="{FF2B5EF4-FFF2-40B4-BE49-F238E27FC236}">
                <a16:creationId xmlns:a16="http://schemas.microsoft.com/office/drawing/2014/main" id="{897B6AE6-6A2C-6646-7A46-386F5CCFEE0D}"/>
              </a:ext>
            </a:extLst>
          </p:cNvPr>
          <p:cNvSpPr txBox="1">
            <a:spLocks/>
          </p:cNvSpPr>
          <p:nvPr/>
        </p:nvSpPr>
        <p:spPr>
          <a:xfrm>
            <a:off x="1128025" y="253912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periment</a:t>
            </a:r>
          </a:p>
        </p:txBody>
      </p:sp>
      <p:sp>
        <p:nvSpPr>
          <p:cNvPr id="17" name="Ellipse 16">
            <a:extLst>
              <a:ext uri="{FF2B5EF4-FFF2-40B4-BE49-F238E27FC236}">
                <a16:creationId xmlns:a16="http://schemas.microsoft.com/office/drawing/2014/main" id="{2B00FC76-BDF5-9F1B-7D1E-72AC6E319F88}"/>
              </a:ext>
            </a:extLst>
          </p:cNvPr>
          <p:cNvSpPr>
            <a:spLocks noChangeAspect="1"/>
          </p:cNvSpPr>
          <p:nvPr/>
        </p:nvSpPr>
        <p:spPr>
          <a:xfrm>
            <a:off x="697798" y="245878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Grafik 17" descr="Lupe mit einfarbiger Füllung">
            <a:extLst>
              <a:ext uri="{FF2B5EF4-FFF2-40B4-BE49-F238E27FC236}">
                <a16:creationId xmlns:a16="http://schemas.microsoft.com/office/drawing/2014/main" id="{D92A1D2F-99DB-66EE-B1F3-34608DACEB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2639" y="2541414"/>
            <a:ext cx="333865" cy="333865"/>
          </a:xfrm>
          <a:prstGeom prst="rect">
            <a:avLst/>
          </a:prstGeom>
        </p:spPr>
      </p:pic>
      <p:sp>
        <p:nvSpPr>
          <p:cNvPr id="19" name="Rechteck 18">
            <a:extLst>
              <a:ext uri="{FF2B5EF4-FFF2-40B4-BE49-F238E27FC236}">
                <a16:creationId xmlns:a16="http://schemas.microsoft.com/office/drawing/2014/main" id="{2CE08C33-F166-9046-CDB2-B39F928AA948}"/>
              </a:ext>
            </a:extLst>
          </p:cNvPr>
          <p:cNvSpPr/>
          <p:nvPr/>
        </p:nvSpPr>
        <p:spPr>
          <a:xfrm>
            <a:off x="729094" y="3369675"/>
            <a:ext cx="6028893" cy="1252782"/>
          </a:xfrm>
          <a:prstGeom prst="rect">
            <a:avLst/>
          </a:prstGeom>
          <a:solidFill>
            <a:schemeClr val="tx2">
              <a:lumMod val="40000"/>
              <a:lumOff val="6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Untertitel 2">
            <a:extLst>
              <a:ext uri="{FF2B5EF4-FFF2-40B4-BE49-F238E27FC236}">
                <a16:creationId xmlns:a16="http://schemas.microsoft.com/office/drawing/2014/main" id="{DB5B4144-2985-5EA3-AD6E-710885391E58}"/>
              </a:ext>
            </a:extLst>
          </p:cNvPr>
          <p:cNvSpPr txBox="1">
            <a:spLocks/>
          </p:cNvSpPr>
          <p:nvPr/>
        </p:nvSpPr>
        <p:spPr>
          <a:xfrm>
            <a:off x="1075653" y="3737304"/>
            <a:ext cx="3230102" cy="59578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85750" indent="-285750">
              <a:lnSpc>
                <a:spcPct val="114999"/>
              </a:lnSpc>
              <a:buClr>
                <a:schemeClr val="accent2"/>
              </a:buClr>
              <a:buFont typeface="Arial,Sans-Serif"/>
              <a:buChar char="•"/>
            </a:pPr>
            <a:r>
              <a:rPr lang="en-GB" sz="1200" noProof="0"/>
              <a:t>Wind kit with 1, 3 blades, long size</a:t>
            </a:r>
          </a:p>
          <a:p>
            <a:pPr marL="285750" indent="-285750">
              <a:lnSpc>
                <a:spcPct val="114999"/>
              </a:lnSpc>
              <a:buClr>
                <a:schemeClr val="accent2"/>
              </a:buClr>
              <a:buFont typeface="Arial,Sans-Serif"/>
              <a:buChar char="•"/>
            </a:pPr>
            <a:r>
              <a:rPr lang="en-GB" sz="1200" noProof="0" err="1"/>
              <a:t>Multimeter</a:t>
            </a:r>
            <a:endParaRPr lang="en-GB" sz="1200" noProof="0"/>
          </a:p>
          <a:p>
            <a:pPr marL="285750" indent="-285750">
              <a:lnSpc>
                <a:spcPct val="114999"/>
              </a:lnSpc>
              <a:buClr>
                <a:srgbClr val="315544"/>
              </a:buClr>
              <a:buFont typeface="Arial,Sans-Serif"/>
              <a:buChar char="•"/>
            </a:pPr>
            <a:r>
              <a:rPr lang="en-GB" sz="1200" noProof="0"/>
              <a:t>Fan</a:t>
            </a:r>
          </a:p>
        </p:txBody>
      </p:sp>
      <p:sp>
        <p:nvSpPr>
          <p:cNvPr id="21" name="Untertitel 5">
            <a:extLst>
              <a:ext uri="{FF2B5EF4-FFF2-40B4-BE49-F238E27FC236}">
                <a16:creationId xmlns:a16="http://schemas.microsoft.com/office/drawing/2014/main" id="{C232631C-3BC5-C37D-FDD0-6DF440BC32DA}"/>
              </a:ext>
            </a:extLst>
          </p:cNvPr>
          <p:cNvSpPr txBox="1">
            <a:spLocks/>
          </p:cNvSpPr>
          <p:nvPr/>
        </p:nvSpPr>
        <p:spPr>
          <a:xfrm>
            <a:off x="896027" y="3398334"/>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Material you will need for the </a:t>
            </a:r>
            <a:r>
              <a:rPr lang="en-GB" sz="1450"/>
              <a:t>experiment</a:t>
            </a:r>
            <a:endParaRPr lang="en-GB" noProof="0"/>
          </a:p>
        </p:txBody>
      </p:sp>
      <p:grpSp>
        <p:nvGrpSpPr>
          <p:cNvPr id="22" name="Gruppieren 21">
            <a:extLst>
              <a:ext uri="{FF2B5EF4-FFF2-40B4-BE49-F238E27FC236}">
                <a16:creationId xmlns:a16="http://schemas.microsoft.com/office/drawing/2014/main" id="{3C033682-B386-5EA3-2970-A4DA4807A211}"/>
              </a:ext>
            </a:extLst>
          </p:cNvPr>
          <p:cNvGrpSpPr/>
          <p:nvPr/>
        </p:nvGrpSpPr>
        <p:grpSpPr>
          <a:xfrm>
            <a:off x="6445483" y="3086953"/>
            <a:ext cx="402475" cy="419630"/>
            <a:chOff x="6140368" y="3097011"/>
            <a:chExt cx="660145" cy="660145"/>
          </a:xfrm>
        </p:grpSpPr>
        <p:sp>
          <p:nvSpPr>
            <p:cNvPr id="23" name="Ellipse 22">
              <a:extLst>
                <a:ext uri="{FF2B5EF4-FFF2-40B4-BE49-F238E27FC236}">
                  <a16:creationId xmlns:a16="http://schemas.microsoft.com/office/drawing/2014/main" id="{CAE6546F-F38E-23C2-A5DC-FC48E4427B63}"/>
                </a:ext>
              </a:extLst>
            </p:cNvPr>
            <p:cNvSpPr>
              <a:spLocks noChangeAspect="1"/>
            </p:cNvSpPr>
            <p:nvPr/>
          </p:nvSpPr>
          <p:spPr>
            <a:xfrm>
              <a:off x="6140368" y="3097011"/>
              <a:ext cx="660145" cy="660145"/>
            </a:xfrm>
            <a:prstGeom prst="ellipse">
              <a:avLst/>
            </a:prstGeom>
            <a:solidFill>
              <a:schemeClr val="accent1">
                <a:lumMod val="50000"/>
              </a:schemeClr>
            </a:solidFill>
            <a:ln>
              <a:solidFill>
                <a:schemeClr val="accent1">
                  <a:lumMod val="1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noProof="0"/>
            </a:p>
          </p:txBody>
        </p:sp>
        <p:pic>
          <p:nvPicPr>
            <p:cNvPr id="24" name="Grafik 23" descr="Inventar mit einfarbiger Füllung">
              <a:extLst>
                <a:ext uri="{FF2B5EF4-FFF2-40B4-BE49-F238E27FC236}">
                  <a16:creationId xmlns:a16="http://schemas.microsoft.com/office/drawing/2014/main" id="{DDD82124-4DE3-5F30-C549-4823689A36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
        <p:nvSpPr>
          <p:cNvPr id="25" name="Untertitel 3">
            <a:extLst>
              <a:ext uri="{FF2B5EF4-FFF2-40B4-BE49-F238E27FC236}">
                <a16:creationId xmlns:a16="http://schemas.microsoft.com/office/drawing/2014/main" id="{817BB6A0-0639-AAA9-B660-032968B2E89E}"/>
              </a:ext>
            </a:extLst>
          </p:cNvPr>
          <p:cNvSpPr txBox="1">
            <a:spLocks/>
          </p:cNvSpPr>
          <p:nvPr/>
        </p:nvSpPr>
        <p:spPr>
          <a:xfrm>
            <a:off x="719138" y="5020928"/>
            <a:ext cx="6038849" cy="31350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just"/>
            <a:r>
              <a:rPr lang="en-GB" sz="1150" b="1" noProof="0" dirty="0"/>
              <a:t>Follow these steps to conduct the experiment:</a:t>
            </a:r>
          </a:p>
          <a:p>
            <a:pPr algn="just">
              <a:lnSpc>
                <a:spcPct val="114999"/>
              </a:lnSpc>
            </a:pPr>
            <a:endParaRPr lang="en-GB" sz="1150" b="1" noProof="0" dirty="0"/>
          </a:p>
          <a:p>
            <a:pPr algn="just">
              <a:buAutoNum type="arabicPeriod"/>
            </a:pPr>
            <a:r>
              <a:rPr lang="en-GB" sz="1150" noProof="0" dirty="0"/>
              <a:t>Take your wind set and prepare it so that you have attached a blade or three blades of “long” length, depending on what you want to start with. Make sure that this position remains the same to ensure that the results are not affected by varying distance from the fan.</a:t>
            </a:r>
          </a:p>
          <a:p>
            <a:pPr algn="just">
              <a:buAutoNum type="arabicPeriod"/>
            </a:pPr>
            <a:r>
              <a:rPr lang="en-GB" sz="1150" noProof="0" dirty="0"/>
              <a:t>Place your wind kit in front of a fan. Attach the nacelle with a screw (there are different holes you can use). The angle of the blades should be flat. </a:t>
            </a:r>
          </a:p>
          <a:p>
            <a:pPr algn="just">
              <a:buAutoNum type="arabicPeriod"/>
            </a:pPr>
            <a:r>
              <a:rPr lang="en-GB" sz="1150" noProof="0" dirty="0"/>
              <a:t>Now measure the vol</a:t>
            </a:r>
            <a:r>
              <a:rPr lang="en-GB" sz="1200" noProof="0" dirty="0"/>
              <a:t>tage with the </a:t>
            </a:r>
            <a:r>
              <a:rPr lang="en-GB" sz="1200" noProof="0" dirty="0" err="1"/>
              <a:t>multimeter</a:t>
            </a:r>
            <a:r>
              <a:rPr lang="en-GB" sz="1200" noProof="0" dirty="0"/>
              <a:t> for high speed with your fan for the following blade numbers (maybe give a first push): </a:t>
            </a:r>
          </a:p>
          <a:p>
            <a:pPr lvl="1" algn="just">
              <a:lnSpc>
                <a:spcPct val="114999"/>
              </a:lnSpc>
              <a:buFont typeface="Courier New"/>
              <a:buChar char="o"/>
            </a:pPr>
            <a:r>
              <a:rPr lang="en-GB" sz="1200" noProof="0" dirty="0"/>
              <a:t>One blade</a:t>
            </a:r>
          </a:p>
          <a:p>
            <a:pPr lvl="1" algn="just">
              <a:lnSpc>
                <a:spcPct val="114999"/>
              </a:lnSpc>
              <a:buFont typeface="Courier New"/>
              <a:buChar char="o"/>
            </a:pPr>
            <a:r>
              <a:rPr lang="en-GB" sz="1200" noProof="0" dirty="0"/>
              <a:t>Three blades</a:t>
            </a:r>
          </a:p>
          <a:p>
            <a:pPr algn="just">
              <a:lnSpc>
                <a:spcPct val="114999"/>
              </a:lnSpc>
              <a:buAutoNum type="arabicPeriod"/>
            </a:pPr>
            <a:r>
              <a:rPr lang="en-GB" sz="1200" noProof="0" dirty="0"/>
              <a:t>Look at the pictures on the next slide to see how it looks and try the same with your wind kit. </a:t>
            </a:r>
          </a:p>
          <a:p>
            <a:pPr algn="just">
              <a:lnSpc>
                <a:spcPct val="114999"/>
              </a:lnSpc>
              <a:buAutoNum type="arabicPeriod"/>
            </a:pPr>
            <a:r>
              <a:rPr lang="en-GB" sz="1200" noProof="0" dirty="0"/>
              <a:t>Report your answers in the observation table.</a:t>
            </a:r>
          </a:p>
          <a:p>
            <a:pPr algn="just">
              <a:lnSpc>
                <a:spcPct val="114999"/>
              </a:lnSpc>
              <a:buAutoNum type="arabicPeriod"/>
            </a:pPr>
            <a:endParaRPr lang="en-GB" sz="1200" noProof="0" dirty="0"/>
          </a:p>
          <a:p>
            <a:pPr marL="0" indent="0" algn="just">
              <a:lnSpc>
                <a:spcPct val="114999"/>
              </a:lnSpc>
            </a:pPr>
            <a:r>
              <a:rPr lang="en-GB" sz="1200" b="1" noProof="0" dirty="0">
                <a:solidFill>
                  <a:schemeClr val="accent2"/>
                </a:solidFill>
              </a:rPr>
              <a:t>HINTS: </a:t>
            </a:r>
          </a:p>
          <a:p>
            <a:pPr marL="171450" indent="-171450" algn="just">
              <a:lnSpc>
                <a:spcPct val="114999"/>
              </a:lnSpc>
              <a:buFont typeface="Arial"/>
              <a:buChar char="•"/>
            </a:pPr>
            <a:r>
              <a:rPr lang="en-GB" sz="1200" b="1" noProof="0" dirty="0">
                <a:solidFill>
                  <a:srgbClr val="333333"/>
                </a:solidFill>
              </a:rPr>
              <a:t>It is possible that the wind turbine with one blade will not work from the start. Give it an initial push and it should move!</a:t>
            </a:r>
          </a:p>
          <a:p>
            <a:pPr marL="171450" indent="-171450" algn="just">
              <a:lnSpc>
                <a:spcPct val="114999"/>
              </a:lnSpc>
              <a:buFont typeface="Arial"/>
              <a:buChar char="•"/>
            </a:pPr>
            <a:r>
              <a:rPr lang="en-GB" sz="1200" b="1" noProof="0" dirty="0">
                <a:solidFill>
                  <a:srgbClr val="333333"/>
                </a:solidFill>
              </a:rPr>
              <a:t>Place t</a:t>
            </a:r>
            <a:r>
              <a:rPr lang="en-GB" sz="1100" b="1" noProof="0" dirty="0">
                <a:solidFill>
                  <a:srgbClr val="333333"/>
                </a:solidFill>
              </a:rPr>
              <a:t>he fan directly in front of the wind wheel or try to use even more wind speed if it doesn't work properly!</a:t>
            </a:r>
            <a:endParaRPr lang="en-GB" sz="1100" noProof="0" dirty="0">
              <a:solidFill>
                <a:srgbClr val="333333"/>
              </a:solidFill>
            </a:endParaRPr>
          </a:p>
          <a:p>
            <a:pPr algn="just">
              <a:lnSpc>
                <a:spcPct val="114999"/>
              </a:lnSpc>
              <a:buAutoNum type="arabicPeriod"/>
            </a:pPr>
            <a:endParaRPr lang="en-GB" sz="1150" noProof="0" dirty="0"/>
          </a:p>
        </p:txBody>
      </p:sp>
    </p:spTree>
    <p:extLst>
      <p:ext uri="{BB962C8B-B14F-4D97-AF65-F5344CB8AC3E}">
        <p14:creationId xmlns:p14="http://schemas.microsoft.com/office/powerpoint/2010/main" val="11009006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68AF-DFC4-87F3-D4F3-113595ABE75D}"/>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E720F74-6C21-BE3B-855D-75E2441BE21D}"/>
              </a:ext>
            </a:extLst>
          </p:cNvPr>
          <p:cNvSpPr>
            <a:spLocks noGrp="1"/>
          </p:cNvSpPr>
          <p:nvPr>
            <p:ph type="sldNum" sz="quarter" idx="4"/>
          </p:nvPr>
        </p:nvSpPr>
        <p:spPr/>
        <p:txBody>
          <a:bodyPr/>
          <a:lstStyle/>
          <a:p>
            <a:fld id="{DF7F771E-9578-4C04-B869-01AF4C35C90C}" type="slidenum">
              <a:rPr lang="en-GB" noProof="0" smtClean="0"/>
              <a:t>58</a:t>
            </a:fld>
            <a:endParaRPr lang="en-GB" noProof="0"/>
          </a:p>
        </p:txBody>
      </p:sp>
      <p:sp>
        <p:nvSpPr>
          <p:cNvPr id="16" name="Untertitel 2">
            <a:extLst>
              <a:ext uri="{FF2B5EF4-FFF2-40B4-BE49-F238E27FC236}">
                <a16:creationId xmlns:a16="http://schemas.microsoft.com/office/drawing/2014/main" id="{73BC4713-A009-DDD6-7159-AB65EAED2BE8}"/>
              </a:ext>
            </a:extLst>
          </p:cNvPr>
          <p:cNvSpPr txBox="1">
            <a:spLocks/>
          </p:cNvSpPr>
          <p:nvPr/>
        </p:nvSpPr>
        <p:spPr>
          <a:xfrm>
            <a:off x="4716174" y="3359795"/>
            <a:ext cx="1697877" cy="513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buClr>
                <a:srgbClr val="A15315"/>
              </a:buClr>
            </a:pPr>
            <a:endParaRPr lang="en-GB" sz="1200" noProof="0"/>
          </a:p>
        </p:txBody>
      </p:sp>
      <p:pic>
        <p:nvPicPr>
          <p:cNvPr id="2" name="Grafik 1" descr="Ein Bild, das Im Haus, Büroausstattung, Blau, Boden enthält.&#10;&#10;Automatisch generierte Beschreibung">
            <a:extLst>
              <a:ext uri="{FF2B5EF4-FFF2-40B4-BE49-F238E27FC236}">
                <a16:creationId xmlns:a16="http://schemas.microsoft.com/office/drawing/2014/main" id="{C85F922A-DF1A-3706-D5D2-299AD5284C2C}"/>
              </a:ext>
            </a:extLst>
          </p:cNvPr>
          <p:cNvPicPr>
            <a:picLocks noChangeAspect="1"/>
          </p:cNvPicPr>
          <p:nvPr/>
        </p:nvPicPr>
        <p:blipFill>
          <a:blip r:embed="rId2"/>
          <a:srcRect t="32038" b="12893"/>
          <a:stretch/>
        </p:blipFill>
        <p:spPr>
          <a:xfrm>
            <a:off x="3757568" y="1277938"/>
            <a:ext cx="2202433" cy="2143388"/>
          </a:xfrm>
          <a:prstGeom prst="rect">
            <a:avLst/>
          </a:prstGeom>
        </p:spPr>
      </p:pic>
      <p:pic>
        <p:nvPicPr>
          <p:cNvPr id="6" name="Picture 5">
            <a:extLst>
              <a:ext uri="{FF2B5EF4-FFF2-40B4-BE49-F238E27FC236}">
                <a16:creationId xmlns:a16="http://schemas.microsoft.com/office/drawing/2014/main" id="{62979016-636D-8A14-5090-781C35B6F367}"/>
              </a:ext>
            </a:extLst>
          </p:cNvPr>
          <p:cNvPicPr>
            <a:picLocks noChangeAspect="1"/>
          </p:cNvPicPr>
          <p:nvPr/>
        </p:nvPicPr>
        <p:blipFill>
          <a:blip r:embed="rId3"/>
          <a:srcRect l="-4754" t="26764" r="847" b="15668"/>
          <a:stretch/>
        </p:blipFill>
        <p:spPr>
          <a:xfrm>
            <a:off x="1402348" y="1277938"/>
            <a:ext cx="2107758" cy="2143388"/>
          </a:xfrm>
          <a:prstGeom prst="rect">
            <a:avLst/>
          </a:prstGeom>
        </p:spPr>
      </p:pic>
      <p:graphicFrame>
        <p:nvGraphicFramePr>
          <p:cNvPr id="8" name="Google Shape;630;p38">
            <a:extLst>
              <a:ext uri="{FF2B5EF4-FFF2-40B4-BE49-F238E27FC236}">
                <a16:creationId xmlns:a16="http://schemas.microsoft.com/office/drawing/2014/main" id="{BEBB5852-0A17-66C6-DB5F-A40DDC499642}"/>
              </a:ext>
            </a:extLst>
          </p:cNvPr>
          <p:cNvGraphicFramePr/>
          <p:nvPr>
            <p:extLst>
              <p:ext uri="{D42A27DB-BD31-4B8C-83A1-F6EECF244321}">
                <p14:modId xmlns:p14="http://schemas.microsoft.com/office/powerpoint/2010/main" val="1491636887"/>
              </p:ext>
            </p:extLst>
          </p:nvPr>
        </p:nvGraphicFramePr>
        <p:xfrm>
          <a:off x="883409" y="3906731"/>
          <a:ext cx="5919009" cy="109146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err="1">
                          <a:solidFill>
                            <a:schemeClr val="dk1"/>
                          </a:solidFill>
                          <a:latin typeface="Epilogue"/>
                          <a:ea typeface="Epilogue"/>
                          <a:cs typeface="Epilogue"/>
                          <a:sym typeface="Epilogue"/>
                        </a:rPr>
                        <a:t>Number</a:t>
                      </a:r>
                      <a:r>
                        <a:rPr lang="de-DE" sz="1000" b="1">
                          <a:solidFill>
                            <a:schemeClr val="dk1"/>
                          </a:solidFill>
                          <a:latin typeface="Epilogue"/>
                          <a:ea typeface="Epilogue"/>
                          <a:cs typeface="Epilogue"/>
                          <a:sym typeface="Epilogue"/>
                        </a:rPr>
                        <a:t> </a:t>
                      </a:r>
                      <a:r>
                        <a:rPr lang="de-DE" sz="1000" b="1" err="1">
                          <a:solidFill>
                            <a:schemeClr val="dk1"/>
                          </a:solidFill>
                          <a:latin typeface="Epilogue"/>
                          <a:ea typeface="Epilogue"/>
                          <a:cs typeface="Epilogue"/>
                          <a:sym typeface="Epilogue"/>
                        </a:rPr>
                        <a:t>of</a:t>
                      </a:r>
                      <a:r>
                        <a:rPr lang="de-DE" sz="1000" b="1">
                          <a:solidFill>
                            <a:schemeClr val="dk1"/>
                          </a:solidFill>
                          <a:latin typeface="Epilogue"/>
                          <a:ea typeface="Epilogue"/>
                          <a:cs typeface="Epilogue"/>
                          <a:sym typeface="Epilogue"/>
                        </a:rPr>
                        <a:t> blades</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Wind </a:t>
                      </a:r>
                      <a:r>
                        <a:rPr lang="de-DE" sz="1000" b="1" err="1">
                          <a:solidFill>
                            <a:schemeClr val="dk1"/>
                          </a:solidFill>
                          <a:latin typeface="Epilogue"/>
                          <a:ea typeface="Epilogue"/>
                          <a:cs typeface="Epilogue"/>
                          <a:sym typeface="Epilogue"/>
                        </a:rPr>
                        <a:t>strength</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dirty="0" err="1">
                          <a:solidFill>
                            <a:schemeClr val="dk1"/>
                          </a:solidFill>
                          <a:latin typeface="Epilogue"/>
                          <a:ea typeface="Epilogue"/>
                          <a:cs typeface="Epilogue"/>
                          <a:sym typeface="Epilogue"/>
                        </a:rPr>
                        <a:t>Voltage</a:t>
                      </a:r>
                      <a:r>
                        <a:rPr lang="de-DE" sz="1000" b="1" dirty="0">
                          <a:solidFill>
                            <a:schemeClr val="dk1"/>
                          </a:solidFill>
                          <a:latin typeface="Epilogue"/>
                          <a:ea typeface="Epilogue"/>
                          <a:cs typeface="Epilogue"/>
                          <a:sym typeface="Epilogue"/>
                        </a:rPr>
                        <a:t> mV (AC)</a:t>
                      </a:r>
                      <a:endParaRPr sz="1000" b="1" dirty="0">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63822">
                <a:tc>
                  <a:txBody>
                    <a:bodyPr/>
                    <a:lstStyle/>
                    <a:p>
                      <a:pPr marL="0" lvl="0" indent="0" algn="ctr" rtl="0">
                        <a:lnSpc>
                          <a:spcPct val="115000"/>
                        </a:lnSpc>
                        <a:spcBef>
                          <a:spcPts val="0"/>
                        </a:spcBef>
                        <a:spcAft>
                          <a:spcPts val="0"/>
                        </a:spcAft>
                        <a:buNone/>
                      </a:pPr>
                      <a:r>
                        <a:rPr lang="en-US" sz="1000" b="0" i="0" u="none" strike="noStrike" cap="none">
                          <a:solidFill>
                            <a:schemeClr val="dk1"/>
                          </a:solidFill>
                          <a:latin typeface="Sofia Sans"/>
                          <a:ea typeface="Epilogue"/>
                          <a:cs typeface="Epilogue"/>
                          <a:sym typeface="Epilogue"/>
                        </a:rPr>
                        <a:t>1 blade, long size, really near to the fan</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rgbClr val="FF0000"/>
                          </a:solidFill>
                          <a:latin typeface="Sofia Sans"/>
                          <a:ea typeface="Epilogue"/>
                          <a:cs typeface="Epilogue"/>
                          <a:sym typeface="Epilogue"/>
                        </a:rPr>
                        <a:t>600-1000 (volatile)</a:t>
                      </a:r>
                      <a:endParaRPr lang="de-DE" sz="1000" b="0" i="0" u="none" strike="noStrike" cap="none" dirty="0">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669954388"/>
                  </a:ext>
                </a:extLst>
              </a:tr>
              <a:tr h="363822">
                <a:tc>
                  <a:txBody>
                    <a:bodyPr/>
                    <a:lstStyle/>
                    <a:p>
                      <a:pPr marL="0" lvl="0" indent="0" algn="ctr" rtl="0">
                        <a:lnSpc>
                          <a:spcPct val="115000"/>
                        </a:lnSpc>
                        <a:spcBef>
                          <a:spcPts val="0"/>
                        </a:spcBef>
                        <a:spcAft>
                          <a:spcPts val="0"/>
                        </a:spcAft>
                        <a:buNone/>
                      </a:pPr>
                      <a:r>
                        <a:rPr lang="en-US" sz="1000" b="0" i="0" u="none" strike="noStrike" cap="none">
                          <a:solidFill>
                            <a:schemeClr val="dk1"/>
                          </a:solidFill>
                          <a:latin typeface="Sofia Sans"/>
                          <a:ea typeface="Epilogue"/>
                          <a:cs typeface="Epilogue"/>
                          <a:sym typeface="Epilogue"/>
                        </a:rPr>
                        <a:t>3 blades, long size, really near to the fan</a:t>
                      </a:r>
                    </a:p>
                  </a:txBody>
                  <a:tcPr marL="0" marR="0" marT="0" marB="0" anchor="ctr">
                    <a:lnL w="9525" cap="flat" cmpd="sng">
                      <a:solidFill>
                        <a:schemeClr val="dk1"/>
                      </a:solidFill>
                      <a:prstDash val="solid"/>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a:solidFill>
                            <a:schemeClr val="dk1"/>
                          </a:solidFill>
                          <a:latin typeface="Sofia Sans"/>
                          <a:ea typeface="Epilogue"/>
                          <a:cs typeface="Epilogue"/>
                          <a:sym typeface="Epilogue"/>
                        </a:rPr>
                        <a:t>High</a:t>
                      </a:r>
                      <a:endParaRPr sz="1000" b="0" i="0" u="none" strike="noStrike" cap="none">
                        <a:solidFill>
                          <a:schemeClr val="dk1"/>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000" b="0" i="0" u="none" strike="noStrike" cap="none" dirty="0">
                          <a:solidFill>
                            <a:srgbClr val="FF0000"/>
                          </a:solidFill>
                          <a:latin typeface="Sofia Sans"/>
                          <a:ea typeface="Epilogue"/>
                          <a:cs typeface="Epilogue"/>
                          <a:sym typeface="Epilogue"/>
                        </a:rPr>
                        <a:t>790</a:t>
                      </a:r>
                      <a:endParaRPr sz="1000" b="0" i="0" u="none" strike="noStrike" cap="none" dirty="0">
                        <a:solidFill>
                          <a:srgbClr val="FF0000"/>
                        </a:solidFill>
                        <a:latin typeface="Sofia Sans"/>
                        <a:ea typeface="Epilogue"/>
                        <a:cs typeface="Epilogue"/>
                        <a:sym typeface="Epilogue"/>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768578327"/>
                  </a:ext>
                </a:extLst>
              </a:tr>
            </a:tbl>
          </a:graphicData>
        </a:graphic>
      </p:graphicFrame>
      <p:sp>
        <p:nvSpPr>
          <p:cNvPr id="10" name="Untertitel 5">
            <a:extLst>
              <a:ext uri="{FF2B5EF4-FFF2-40B4-BE49-F238E27FC236}">
                <a16:creationId xmlns:a16="http://schemas.microsoft.com/office/drawing/2014/main" id="{DDE7156D-D2C4-8570-E746-E53C927BFAAB}"/>
              </a:ext>
            </a:extLst>
          </p:cNvPr>
          <p:cNvSpPr txBox="1">
            <a:spLocks/>
          </p:cNvSpPr>
          <p:nvPr/>
        </p:nvSpPr>
        <p:spPr>
          <a:xfrm>
            <a:off x="1162734" y="533321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noProof="0"/>
              <a:t>Exercise</a:t>
            </a:r>
          </a:p>
        </p:txBody>
      </p:sp>
      <p:sp>
        <p:nvSpPr>
          <p:cNvPr id="12" name="Ellipse 11">
            <a:extLst>
              <a:ext uri="{FF2B5EF4-FFF2-40B4-BE49-F238E27FC236}">
                <a16:creationId xmlns:a16="http://schemas.microsoft.com/office/drawing/2014/main" id="{69416713-DE54-C94C-31FE-7D5CEDF8C145}"/>
              </a:ext>
            </a:extLst>
          </p:cNvPr>
          <p:cNvSpPr>
            <a:spLocks noChangeAspect="1"/>
          </p:cNvSpPr>
          <p:nvPr/>
        </p:nvSpPr>
        <p:spPr>
          <a:xfrm>
            <a:off x="721695" y="5366469"/>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3" name="Grafik 12" descr="Skizze mit einfarbiger Füllung">
            <a:extLst>
              <a:ext uri="{FF2B5EF4-FFF2-40B4-BE49-F238E27FC236}">
                <a16:creationId xmlns:a16="http://schemas.microsoft.com/office/drawing/2014/main" id="{8A09C101-310B-13A2-680D-29E4857CEC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8570" y="5419003"/>
            <a:ext cx="379044" cy="379044"/>
          </a:xfrm>
          <a:prstGeom prst="rect">
            <a:avLst/>
          </a:prstGeom>
        </p:spPr>
      </p:pic>
      <p:sp>
        <p:nvSpPr>
          <p:cNvPr id="14" name="Untertitel 5">
            <a:extLst>
              <a:ext uri="{FF2B5EF4-FFF2-40B4-BE49-F238E27FC236}">
                <a16:creationId xmlns:a16="http://schemas.microsoft.com/office/drawing/2014/main" id="{24768466-ED32-912B-C601-2BBB7F54E7E3}"/>
              </a:ext>
            </a:extLst>
          </p:cNvPr>
          <p:cNvSpPr txBox="1">
            <a:spLocks/>
          </p:cNvSpPr>
          <p:nvPr/>
        </p:nvSpPr>
        <p:spPr>
          <a:xfrm>
            <a:off x="657108" y="600308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15" name="Untertitel 3">
            <a:extLst>
              <a:ext uri="{FF2B5EF4-FFF2-40B4-BE49-F238E27FC236}">
                <a16:creationId xmlns:a16="http://schemas.microsoft.com/office/drawing/2014/main" id="{B8BC3293-6A76-F266-CE7E-37A486215AAE}"/>
              </a:ext>
            </a:extLst>
          </p:cNvPr>
          <p:cNvSpPr txBox="1">
            <a:spLocks/>
          </p:cNvSpPr>
          <p:nvPr/>
        </p:nvSpPr>
        <p:spPr>
          <a:xfrm>
            <a:off x="721695" y="6421880"/>
            <a:ext cx="6092383"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GB" sz="1200" noProof="0" dirty="0"/>
              <a:t>What did you observe? </a:t>
            </a:r>
            <a:endParaRPr lang="en-GB" sz="1200" noProof="0" dirty="0">
              <a:solidFill>
                <a:srgbClr val="333333"/>
              </a:solidFill>
            </a:endParaRPr>
          </a:p>
        </p:txBody>
      </p:sp>
      <p:sp>
        <p:nvSpPr>
          <p:cNvPr id="18" name="Textfeld 11">
            <a:extLst>
              <a:ext uri="{FF2B5EF4-FFF2-40B4-BE49-F238E27FC236}">
                <a16:creationId xmlns:a16="http://schemas.microsoft.com/office/drawing/2014/main" id="{DCDC5C63-39E5-EFE1-ED7C-8C9DD0DA3BB5}"/>
              </a:ext>
            </a:extLst>
          </p:cNvPr>
          <p:cNvSpPr txBox="1"/>
          <p:nvPr/>
        </p:nvSpPr>
        <p:spPr>
          <a:xfrm>
            <a:off x="883409" y="6931685"/>
            <a:ext cx="5600596" cy="131157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wind turbine with just one blade has a totally different movement dynamic. </a:t>
            </a:r>
          </a:p>
          <a:p>
            <a:r>
              <a:rPr lang="en-GB" sz="1100" noProof="0">
                <a:solidFill>
                  <a:srgbClr val="FF0000"/>
                </a:solidFill>
                <a:latin typeface="Sofia Sans"/>
              </a:rPr>
              <a:t>It moves in a pulsating way, not continuously. The blade spins quickly at times, then stops for a short pause, and then spins quickly again. The movement looks like a pattern of fast spins followed by brief pauses, similar to a modified sine wave.</a:t>
            </a:r>
          </a:p>
        </p:txBody>
      </p:sp>
    </p:spTree>
    <p:extLst>
      <p:ext uri="{BB962C8B-B14F-4D97-AF65-F5344CB8AC3E}">
        <p14:creationId xmlns:p14="http://schemas.microsoft.com/office/powerpoint/2010/main" val="12120626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en-GB" noProof="0" smtClean="0"/>
              <a:t>59</a:t>
            </a:fld>
            <a:endParaRPr lang="en-GB" noProof="0"/>
          </a:p>
        </p:txBody>
      </p:sp>
      <p:sp>
        <p:nvSpPr>
          <p:cNvPr id="6" name="Untertitel 5">
            <a:extLst>
              <a:ext uri="{FF2B5EF4-FFF2-40B4-BE49-F238E27FC236}">
                <a16:creationId xmlns:a16="http://schemas.microsoft.com/office/drawing/2014/main" id="{10457F42-C2AC-145D-6203-E3C97996E23C}"/>
              </a:ext>
            </a:extLst>
          </p:cNvPr>
          <p:cNvSpPr txBox="1">
            <a:spLocks/>
          </p:cNvSpPr>
          <p:nvPr/>
        </p:nvSpPr>
        <p:spPr>
          <a:xfrm>
            <a:off x="657108" y="130162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7" name="Untertitel 3">
            <a:extLst>
              <a:ext uri="{FF2B5EF4-FFF2-40B4-BE49-F238E27FC236}">
                <a16:creationId xmlns:a16="http://schemas.microsoft.com/office/drawing/2014/main" id="{205E71E6-75C7-224B-C21D-208410A0629E}"/>
              </a:ext>
            </a:extLst>
          </p:cNvPr>
          <p:cNvSpPr txBox="1">
            <a:spLocks/>
          </p:cNvSpPr>
          <p:nvPr/>
        </p:nvSpPr>
        <p:spPr>
          <a:xfrm>
            <a:off x="836127" y="1720428"/>
            <a:ext cx="5977951"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noProof="0"/>
              <a:t>Which blade number had a higher voltage at peak times?</a:t>
            </a:r>
          </a:p>
        </p:txBody>
      </p:sp>
      <p:sp>
        <p:nvSpPr>
          <p:cNvPr id="8" name="Textfeld 11">
            <a:extLst>
              <a:ext uri="{FF2B5EF4-FFF2-40B4-BE49-F238E27FC236}">
                <a16:creationId xmlns:a16="http://schemas.microsoft.com/office/drawing/2014/main" id="{BBA79177-893F-10EA-0375-4CD1014AC4CE}"/>
              </a:ext>
            </a:extLst>
          </p:cNvPr>
          <p:cNvSpPr txBox="1"/>
          <p:nvPr/>
        </p:nvSpPr>
        <p:spPr>
          <a:xfrm>
            <a:off x="883409" y="2230233"/>
            <a:ext cx="5600596" cy="92396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e one-blade-wind-turbine has a higher voltage when it is a point in time to move.</a:t>
            </a:r>
          </a:p>
        </p:txBody>
      </p:sp>
      <p:sp>
        <p:nvSpPr>
          <p:cNvPr id="10" name="Untertitel 5">
            <a:extLst>
              <a:ext uri="{FF2B5EF4-FFF2-40B4-BE49-F238E27FC236}">
                <a16:creationId xmlns:a16="http://schemas.microsoft.com/office/drawing/2014/main" id="{FF9C9A49-A1C5-F765-EC09-918FB526E4EC}"/>
              </a:ext>
            </a:extLst>
          </p:cNvPr>
          <p:cNvSpPr txBox="1">
            <a:spLocks/>
          </p:cNvSpPr>
          <p:nvPr/>
        </p:nvSpPr>
        <p:spPr>
          <a:xfrm>
            <a:off x="657108" y="330710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3</a:t>
            </a:r>
          </a:p>
        </p:txBody>
      </p:sp>
      <p:sp>
        <p:nvSpPr>
          <p:cNvPr id="12" name="Untertitel 3">
            <a:extLst>
              <a:ext uri="{FF2B5EF4-FFF2-40B4-BE49-F238E27FC236}">
                <a16:creationId xmlns:a16="http://schemas.microsoft.com/office/drawing/2014/main" id="{A69E8AD1-5375-61D4-8F44-447DBB90F2E4}"/>
              </a:ext>
            </a:extLst>
          </p:cNvPr>
          <p:cNvSpPr txBox="1">
            <a:spLocks/>
          </p:cNvSpPr>
          <p:nvPr/>
        </p:nvSpPr>
        <p:spPr>
          <a:xfrm>
            <a:off x="836127" y="3725905"/>
            <a:ext cx="5977951"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noProof="0"/>
              <a:t>What happens to the stability of the wind turbine in both cases?</a:t>
            </a:r>
          </a:p>
        </p:txBody>
      </p:sp>
      <p:sp>
        <p:nvSpPr>
          <p:cNvPr id="14" name="Textfeld 11">
            <a:extLst>
              <a:ext uri="{FF2B5EF4-FFF2-40B4-BE49-F238E27FC236}">
                <a16:creationId xmlns:a16="http://schemas.microsoft.com/office/drawing/2014/main" id="{28DD4178-0938-DE2F-7894-483746DF996E}"/>
              </a:ext>
            </a:extLst>
          </p:cNvPr>
          <p:cNvSpPr txBox="1"/>
          <p:nvPr/>
        </p:nvSpPr>
        <p:spPr>
          <a:xfrm>
            <a:off x="883409" y="4235710"/>
            <a:ext cx="5600596" cy="92396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For the one-blade-wind-turbine, the system moves but is strongly unbalanced. You even need to hold it, because otherwise it moves.</a:t>
            </a:r>
            <a:endParaRPr lang="en-GB" sz="1100" noProof="0"/>
          </a:p>
          <a:p>
            <a:r>
              <a:rPr lang="en-GB" sz="1100" noProof="0">
                <a:solidFill>
                  <a:srgbClr val="FF0000"/>
                </a:solidFill>
                <a:latin typeface="Sofia Sans"/>
              </a:rPr>
              <a:t>This causes more stress on the system and it therefore not an optimal choice. </a:t>
            </a:r>
            <a:endParaRPr lang="en-GB" sz="1100" noProof="0"/>
          </a:p>
        </p:txBody>
      </p:sp>
      <p:sp>
        <p:nvSpPr>
          <p:cNvPr id="16" name="Untertitel 5">
            <a:extLst>
              <a:ext uri="{FF2B5EF4-FFF2-40B4-BE49-F238E27FC236}">
                <a16:creationId xmlns:a16="http://schemas.microsoft.com/office/drawing/2014/main" id="{3A870641-DD6A-2B91-1497-E4073C6C4C5E}"/>
              </a:ext>
            </a:extLst>
          </p:cNvPr>
          <p:cNvSpPr txBox="1">
            <a:spLocks/>
          </p:cNvSpPr>
          <p:nvPr/>
        </p:nvSpPr>
        <p:spPr>
          <a:xfrm>
            <a:off x="657108" y="537317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4</a:t>
            </a:r>
          </a:p>
        </p:txBody>
      </p:sp>
      <p:sp>
        <p:nvSpPr>
          <p:cNvPr id="17" name="Untertitel 3">
            <a:extLst>
              <a:ext uri="{FF2B5EF4-FFF2-40B4-BE49-F238E27FC236}">
                <a16:creationId xmlns:a16="http://schemas.microsoft.com/office/drawing/2014/main" id="{ABBC0D8B-4761-A37D-D23A-B58B5569E192}"/>
              </a:ext>
            </a:extLst>
          </p:cNvPr>
          <p:cNvSpPr txBox="1">
            <a:spLocks/>
          </p:cNvSpPr>
          <p:nvPr/>
        </p:nvSpPr>
        <p:spPr>
          <a:xfrm>
            <a:off x="836127" y="5791979"/>
            <a:ext cx="5977951" cy="4198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sz="1150" noProof="0"/>
              <a:t>What are possible explanations for your observation? And which system is better for wind energy generation in your opinion?</a:t>
            </a:r>
          </a:p>
        </p:txBody>
      </p:sp>
      <p:sp>
        <p:nvSpPr>
          <p:cNvPr id="18" name="Textfeld 11">
            <a:extLst>
              <a:ext uri="{FF2B5EF4-FFF2-40B4-BE49-F238E27FC236}">
                <a16:creationId xmlns:a16="http://schemas.microsoft.com/office/drawing/2014/main" id="{8279762B-D1AF-5206-44FE-79911041332B}"/>
              </a:ext>
            </a:extLst>
          </p:cNvPr>
          <p:cNvSpPr txBox="1"/>
          <p:nvPr/>
        </p:nvSpPr>
        <p:spPr>
          <a:xfrm>
            <a:off x="883409" y="6486244"/>
            <a:ext cx="5600596" cy="92396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100" noProof="0">
                <a:solidFill>
                  <a:srgbClr val="FF0000"/>
                </a:solidFill>
                <a:latin typeface="Sofia Sans"/>
              </a:rPr>
              <a:t>This happens because the forces acting on the single blade are uneven, causing the speed to change suddenly. Without other blades to counterbalance the weight, the turbine will move significantly different. This instability can increase vibrations, leading to different load points or even causing the turbine to break. </a:t>
            </a:r>
          </a:p>
        </p:txBody>
      </p:sp>
      <p:sp>
        <p:nvSpPr>
          <p:cNvPr id="20" name="Rechteck 19">
            <a:extLst>
              <a:ext uri="{FF2B5EF4-FFF2-40B4-BE49-F238E27FC236}">
                <a16:creationId xmlns:a16="http://schemas.microsoft.com/office/drawing/2014/main" id="{6E85FBEE-BA83-FBD1-45E5-AE38BA6E4F27}"/>
              </a:ext>
            </a:extLst>
          </p:cNvPr>
          <p:cNvSpPr/>
          <p:nvPr/>
        </p:nvSpPr>
        <p:spPr>
          <a:xfrm>
            <a:off x="740647" y="8005874"/>
            <a:ext cx="5701245" cy="1914962"/>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Ellipse 20">
            <a:extLst>
              <a:ext uri="{FF2B5EF4-FFF2-40B4-BE49-F238E27FC236}">
                <a16:creationId xmlns:a16="http://schemas.microsoft.com/office/drawing/2014/main" id="{AFA3AF47-65D2-F716-F373-36884249EC03}"/>
              </a:ext>
            </a:extLst>
          </p:cNvPr>
          <p:cNvSpPr>
            <a:spLocks noChangeAspect="1"/>
          </p:cNvSpPr>
          <p:nvPr/>
        </p:nvSpPr>
        <p:spPr>
          <a:xfrm>
            <a:off x="6111560" y="7679377"/>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2" name="Grafik 21" descr="Lesezeichen mit einfarbiger Füllung">
            <a:extLst>
              <a:ext uri="{FF2B5EF4-FFF2-40B4-BE49-F238E27FC236}">
                <a16:creationId xmlns:a16="http://schemas.microsoft.com/office/drawing/2014/main" id="{13342BF9-732C-D617-C5F9-676AC4A1EF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9407" y="7807224"/>
            <a:ext cx="404450" cy="404450"/>
          </a:xfrm>
          <a:prstGeom prst="rect">
            <a:avLst/>
          </a:prstGeom>
        </p:spPr>
      </p:pic>
      <p:sp>
        <p:nvSpPr>
          <p:cNvPr id="23" name="Untertitel 5">
            <a:extLst>
              <a:ext uri="{FF2B5EF4-FFF2-40B4-BE49-F238E27FC236}">
                <a16:creationId xmlns:a16="http://schemas.microsoft.com/office/drawing/2014/main" id="{9F5E4FF9-6C0E-A9CA-4038-0FC5FC8AB464}"/>
              </a:ext>
            </a:extLst>
          </p:cNvPr>
          <p:cNvSpPr txBox="1">
            <a:spLocks/>
          </p:cNvSpPr>
          <p:nvPr/>
        </p:nvSpPr>
        <p:spPr>
          <a:xfrm>
            <a:off x="876746" y="809771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450" noProof="0"/>
              <a:t>In summary</a:t>
            </a:r>
          </a:p>
        </p:txBody>
      </p:sp>
      <p:sp>
        <p:nvSpPr>
          <p:cNvPr id="24" name="Untertitel 2">
            <a:extLst>
              <a:ext uri="{FF2B5EF4-FFF2-40B4-BE49-F238E27FC236}">
                <a16:creationId xmlns:a16="http://schemas.microsoft.com/office/drawing/2014/main" id="{AFBF135F-DA3D-7EFC-B1E8-48F22E06DF77}"/>
              </a:ext>
            </a:extLst>
          </p:cNvPr>
          <p:cNvSpPr txBox="1">
            <a:spLocks/>
          </p:cNvSpPr>
          <p:nvPr/>
        </p:nvSpPr>
        <p:spPr>
          <a:xfrm>
            <a:off x="1086565" y="8591140"/>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GB" noProof="0"/>
          </a:p>
        </p:txBody>
      </p:sp>
      <p:sp>
        <p:nvSpPr>
          <p:cNvPr id="25" name="Untertitel 2">
            <a:extLst>
              <a:ext uri="{FF2B5EF4-FFF2-40B4-BE49-F238E27FC236}">
                <a16:creationId xmlns:a16="http://schemas.microsoft.com/office/drawing/2014/main" id="{3258169D-FE3D-0FEC-D9C6-ED907D82A6FD}"/>
              </a:ext>
            </a:extLst>
          </p:cNvPr>
          <p:cNvSpPr txBox="1">
            <a:spLocks/>
          </p:cNvSpPr>
          <p:nvPr/>
        </p:nvSpPr>
        <p:spPr>
          <a:xfrm>
            <a:off x="1119553" y="8584103"/>
            <a:ext cx="5010826" cy="1420984"/>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4999"/>
              </a:lnSpc>
              <a:buClr>
                <a:schemeClr val="lt1"/>
              </a:buClr>
              <a:buSzPts val="1400"/>
              <a:buFont typeface="Arial" panose="020B0604020202020204" pitchFamily="34" charset="0"/>
              <a:buChar char="•"/>
            </a:pPr>
            <a:r>
              <a:rPr lang="en-GB" sz="1100" noProof="0" dirty="0">
                <a:latin typeface="Sofia Sans"/>
              </a:rPr>
              <a:t>With </a:t>
            </a:r>
            <a:r>
              <a:rPr lang="en-GB" sz="1100" noProof="0">
                <a:latin typeface="Sofia Sans"/>
              </a:rPr>
              <a:t>a wind turbine </a:t>
            </a:r>
            <a:r>
              <a:rPr lang="en-GB" sz="1100" noProof="0" dirty="0">
                <a:latin typeface="Sofia Sans"/>
              </a:rPr>
              <a:t>with only one blade</a:t>
            </a:r>
            <a:r>
              <a:rPr lang="en-GB" sz="1100" noProof="0">
                <a:latin typeface="Sofia Sans"/>
              </a:rPr>
              <a:t>, the turbine still moves, but it rotates </a:t>
            </a:r>
            <a:r>
              <a:rPr lang="en-GB" sz="1100" noProof="0" dirty="0">
                <a:latin typeface="Sofia Sans"/>
              </a:rPr>
              <a:t>completely differently</a:t>
            </a:r>
            <a:r>
              <a:rPr lang="en-GB" sz="1100" noProof="0">
                <a:latin typeface="Sofia Sans"/>
              </a:rPr>
              <a:t>. </a:t>
            </a:r>
            <a:endParaRPr lang="en-GB" sz="1100" noProof="0" dirty="0">
              <a:latin typeface="Sofia Sans"/>
            </a:endParaRPr>
          </a:p>
          <a:p>
            <a:pPr marL="457200" indent="-317500">
              <a:lnSpc>
                <a:spcPct val="114999"/>
              </a:lnSpc>
              <a:buClr>
                <a:schemeClr val="lt1"/>
              </a:buClr>
              <a:buSzPts val="1400"/>
              <a:buFont typeface="Arial" panose="020B0604020202020204" pitchFamily="34" charset="0"/>
              <a:buChar char="•"/>
            </a:pPr>
            <a:r>
              <a:rPr lang="en-GB" sz="1100" noProof="0">
                <a:latin typeface="Sofia Sans"/>
              </a:rPr>
              <a:t>The </a:t>
            </a:r>
            <a:r>
              <a:rPr lang="en-GB" sz="1100" noProof="0" dirty="0">
                <a:latin typeface="Sofia Sans"/>
              </a:rPr>
              <a:t>single-blade wind turbine </a:t>
            </a:r>
            <a:r>
              <a:rPr lang="en-GB" sz="1100" noProof="0">
                <a:latin typeface="Sofia Sans"/>
              </a:rPr>
              <a:t>moves unbalanced. The speed </a:t>
            </a:r>
            <a:r>
              <a:rPr lang="en-GB" sz="1100" noProof="0" dirty="0">
                <a:latin typeface="Sofia Sans"/>
              </a:rPr>
              <a:t>can </a:t>
            </a:r>
            <a:r>
              <a:rPr lang="en-GB" sz="1100" noProof="0">
                <a:latin typeface="Sofia Sans"/>
              </a:rPr>
              <a:t>change suddenly. </a:t>
            </a:r>
          </a:p>
          <a:p>
            <a:pPr marL="457200" indent="-317500">
              <a:lnSpc>
                <a:spcPct val="114999"/>
              </a:lnSpc>
              <a:buClr>
                <a:schemeClr val="lt1"/>
              </a:buClr>
              <a:buSzPts val="1400"/>
              <a:buFont typeface="Arial" panose="020B0604020202020204" pitchFamily="34" charset="0"/>
              <a:buChar char="•"/>
            </a:pPr>
            <a:r>
              <a:rPr lang="en-GB" sz="1100" noProof="0">
                <a:latin typeface="Sofia Sans"/>
              </a:rPr>
              <a:t>Three blades are more balanced</a:t>
            </a:r>
            <a:r>
              <a:rPr lang="en-GB" sz="1100" noProof="0" dirty="0">
                <a:latin typeface="Sofia Sans"/>
              </a:rPr>
              <a:t>;</a:t>
            </a:r>
            <a:r>
              <a:rPr lang="en-GB" sz="1100" noProof="0">
                <a:latin typeface="Sofia Sans"/>
              </a:rPr>
              <a:t> have a good power output and </a:t>
            </a:r>
            <a:r>
              <a:rPr lang="en-GB" sz="1100" noProof="0" dirty="0">
                <a:latin typeface="Sofia Sans"/>
              </a:rPr>
              <a:t>are </a:t>
            </a:r>
            <a:r>
              <a:rPr lang="en-GB" sz="1100" noProof="0">
                <a:latin typeface="Sofia Sans"/>
              </a:rPr>
              <a:t>therefore the </a:t>
            </a:r>
            <a:r>
              <a:rPr lang="en-GB" sz="1100" noProof="0" dirty="0">
                <a:latin typeface="Sofia Sans"/>
              </a:rPr>
              <a:t>optimum</a:t>
            </a:r>
            <a:r>
              <a:rPr lang="en-GB" sz="1100" noProof="0">
                <a:latin typeface="Sofia Sans"/>
              </a:rPr>
              <a:t> number of blades. </a:t>
            </a:r>
          </a:p>
        </p:txBody>
      </p:sp>
    </p:spTree>
    <p:extLst>
      <p:ext uri="{BB962C8B-B14F-4D97-AF65-F5344CB8AC3E}">
        <p14:creationId xmlns:p14="http://schemas.microsoft.com/office/powerpoint/2010/main" val="3629467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DC95FD5-9D2A-515F-E49B-A46670706E83}"/>
              </a:ext>
            </a:extLst>
          </p:cNvPr>
          <p:cNvSpPr>
            <a:spLocks noGrp="1"/>
          </p:cNvSpPr>
          <p:nvPr>
            <p:ph type="sldNum" sz="quarter" idx="4"/>
          </p:nvPr>
        </p:nvSpPr>
        <p:spPr/>
        <p:txBody>
          <a:bodyPr/>
          <a:lstStyle/>
          <a:p>
            <a:fld id="{DF7F771E-9578-4C04-B869-01AF4C35C90C}" type="slidenum">
              <a:rPr lang="en-GB" noProof="0" smtClean="0"/>
              <a:t>6</a:t>
            </a:fld>
            <a:endParaRPr lang="en-GB" noProof="0"/>
          </a:p>
        </p:txBody>
      </p:sp>
      <p:sp>
        <p:nvSpPr>
          <p:cNvPr id="5" name="Titel 1">
            <a:extLst>
              <a:ext uri="{FF2B5EF4-FFF2-40B4-BE49-F238E27FC236}">
                <a16:creationId xmlns:a16="http://schemas.microsoft.com/office/drawing/2014/main" id="{00BF61E3-667D-A868-F8B9-88B5DD8C5722}"/>
              </a:ext>
            </a:extLst>
          </p:cNvPr>
          <p:cNvSpPr txBox="1">
            <a:spLocks/>
          </p:cNvSpPr>
          <p:nvPr/>
        </p:nvSpPr>
        <p:spPr>
          <a:xfrm>
            <a:off x="727847" y="1295356"/>
            <a:ext cx="6369175" cy="5197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noProof="0" dirty="0"/>
              <a:t>Definitions</a:t>
            </a:r>
          </a:p>
        </p:txBody>
      </p:sp>
      <p:sp>
        <p:nvSpPr>
          <p:cNvPr id="3" name="Untertitel 3">
            <a:extLst>
              <a:ext uri="{FF2B5EF4-FFF2-40B4-BE49-F238E27FC236}">
                <a16:creationId xmlns:a16="http://schemas.microsoft.com/office/drawing/2014/main" id="{E2419ABB-A5AB-D599-F8B9-F105EA80682B}"/>
              </a:ext>
            </a:extLst>
          </p:cNvPr>
          <p:cNvSpPr txBox="1">
            <a:spLocks/>
          </p:cNvSpPr>
          <p:nvPr/>
        </p:nvSpPr>
        <p:spPr>
          <a:xfrm>
            <a:off x="727847" y="1874954"/>
            <a:ext cx="6312716" cy="79743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spcAft>
                <a:spcPts val="600"/>
              </a:spcAft>
            </a:pPr>
            <a:r>
              <a:rPr lang="en-GB" sz="1200" b="1" noProof="0" dirty="0">
                <a:solidFill>
                  <a:schemeClr val="tx1"/>
                </a:solidFill>
              </a:rPr>
              <a:t>Average power density</a:t>
            </a:r>
            <a:r>
              <a:rPr lang="en-GB" sz="1200" noProof="0" dirty="0">
                <a:solidFill>
                  <a:schemeClr val="tx1"/>
                </a:solidFill>
              </a:rPr>
              <a:t>: Measures energy available per square meter from wind. → Higher W/m² means more potential energy to generate electricity.</a:t>
            </a:r>
          </a:p>
          <a:p>
            <a:pPr marL="0" indent="0">
              <a:lnSpc>
                <a:spcPct val="114999"/>
              </a:lnSpc>
              <a:spcAft>
                <a:spcPts val="600"/>
              </a:spcAft>
            </a:pPr>
            <a:r>
              <a:rPr lang="en-GB" sz="1200" b="1" noProof="0" dirty="0">
                <a:solidFill>
                  <a:schemeClr val="tx1"/>
                </a:solidFill>
              </a:rPr>
              <a:t>Angle of attack</a:t>
            </a:r>
            <a:r>
              <a:rPr lang="en-GB" sz="1200" noProof="0" dirty="0">
                <a:solidFill>
                  <a:schemeClr val="tx1"/>
                </a:solidFill>
              </a:rPr>
              <a:t>: The angle between the blade and the wind. Adjusting this angle can optimize how much energy is captured.</a:t>
            </a:r>
          </a:p>
          <a:p>
            <a:pPr marL="0" indent="0">
              <a:lnSpc>
                <a:spcPct val="114999"/>
              </a:lnSpc>
              <a:spcAft>
                <a:spcPts val="600"/>
              </a:spcAft>
            </a:pPr>
            <a:r>
              <a:rPr lang="en-GB" sz="1200" b="1" noProof="0" dirty="0">
                <a:solidFill>
                  <a:schemeClr val="tx1"/>
                </a:solidFill>
              </a:rPr>
              <a:t>Bernoulli’s Principle</a:t>
            </a:r>
            <a:r>
              <a:rPr lang="en-GB" sz="1200" noProof="0" dirty="0">
                <a:solidFill>
                  <a:schemeClr val="tx1"/>
                </a:solidFill>
              </a:rPr>
              <a:t>: Explains how faster-moving air creates lower pressure. This principle helps generate lift on turbine blades, making them spin.</a:t>
            </a:r>
          </a:p>
          <a:p>
            <a:pPr marL="0" indent="0">
              <a:lnSpc>
                <a:spcPct val="114999"/>
              </a:lnSpc>
              <a:spcAft>
                <a:spcPts val="600"/>
              </a:spcAft>
            </a:pPr>
            <a:r>
              <a:rPr lang="en-GB" sz="1200" b="1" noProof="0" dirty="0">
                <a:solidFill>
                  <a:schemeClr val="tx1"/>
                </a:solidFill>
              </a:rPr>
              <a:t>Drag</a:t>
            </a:r>
            <a:r>
              <a:rPr lang="en-GB" sz="1200" noProof="0" dirty="0">
                <a:solidFill>
                  <a:schemeClr val="tx1"/>
                </a:solidFill>
              </a:rPr>
              <a:t>: The resistance caused by air pushing against the blades. Reducing drag improves efficiency.</a:t>
            </a:r>
          </a:p>
          <a:p>
            <a:pPr marL="0" indent="0">
              <a:lnSpc>
                <a:spcPct val="114999"/>
              </a:lnSpc>
              <a:spcAft>
                <a:spcPts val="600"/>
              </a:spcAft>
            </a:pPr>
            <a:r>
              <a:rPr lang="en-GB" sz="1200" b="1" noProof="0" dirty="0">
                <a:solidFill>
                  <a:schemeClr val="tx1"/>
                </a:solidFill>
              </a:rPr>
              <a:t>Energy</a:t>
            </a:r>
            <a:r>
              <a:rPr lang="en-GB" sz="1200" noProof="0" dirty="0">
                <a:solidFill>
                  <a:schemeClr val="tx1"/>
                </a:solidFill>
              </a:rPr>
              <a:t>: Energy is the ability to do work or cause change. It can exist in various forms, such as heat, light, motion, or electricity, and is essential for powering devices, systems, and living organisms.</a:t>
            </a:r>
          </a:p>
          <a:p>
            <a:pPr marL="0" indent="0">
              <a:lnSpc>
                <a:spcPct val="114999"/>
              </a:lnSpc>
              <a:spcAft>
                <a:spcPts val="600"/>
              </a:spcAft>
            </a:pPr>
            <a:r>
              <a:rPr lang="en-GB" sz="1200" b="1" noProof="0" dirty="0">
                <a:solidFill>
                  <a:schemeClr val="tx1"/>
                </a:solidFill>
              </a:rPr>
              <a:t>Gearbox</a:t>
            </a:r>
            <a:r>
              <a:rPr lang="en-GB" sz="1200" noProof="0" dirty="0">
                <a:solidFill>
                  <a:schemeClr val="tx1"/>
                </a:solidFill>
              </a:rPr>
              <a:t>: A mechanical system that increases the speed of the turbine shaft to match the requirements of the generator.</a:t>
            </a:r>
          </a:p>
          <a:p>
            <a:pPr marL="0" indent="0">
              <a:lnSpc>
                <a:spcPct val="114999"/>
              </a:lnSpc>
              <a:spcAft>
                <a:spcPts val="600"/>
              </a:spcAft>
            </a:pPr>
            <a:r>
              <a:rPr lang="en-GB" sz="1200" b="1" noProof="0" dirty="0">
                <a:solidFill>
                  <a:schemeClr val="tx1"/>
                </a:solidFill>
              </a:rPr>
              <a:t>Generator</a:t>
            </a:r>
            <a:r>
              <a:rPr lang="en-GB" sz="1200" noProof="0" dirty="0">
                <a:solidFill>
                  <a:schemeClr val="tx1"/>
                </a:solidFill>
              </a:rPr>
              <a:t>: The part of the turbine that converts mechanical energy from the spinning blades into electrical energy.</a:t>
            </a:r>
          </a:p>
          <a:p>
            <a:pPr marL="0" indent="0">
              <a:lnSpc>
                <a:spcPct val="114999"/>
              </a:lnSpc>
              <a:spcAft>
                <a:spcPts val="600"/>
              </a:spcAft>
            </a:pPr>
            <a:r>
              <a:rPr lang="en-GB" sz="1200" b="1" noProof="0" dirty="0">
                <a:solidFill>
                  <a:schemeClr val="tx1"/>
                </a:solidFill>
              </a:rPr>
              <a:t>MPP (maximum power point)</a:t>
            </a:r>
            <a:r>
              <a:rPr lang="en-GB" sz="1200" noProof="0" dirty="0">
                <a:solidFill>
                  <a:schemeClr val="tx1"/>
                </a:solidFill>
              </a:rPr>
              <a:t>: The optimal operating condition where the turbine produces the maximum possible power based on wind speed and blade adjustments.</a:t>
            </a:r>
          </a:p>
          <a:p>
            <a:pPr marL="0" indent="0">
              <a:lnSpc>
                <a:spcPct val="114999"/>
              </a:lnSpc>
              <a:spcAft>
                <a:spcPts val="600"/>
              </a:spcAft>
            </a:pPr>
            <a:r>
              <a:rPr lang="en-GB" sz="1200" b="1" noProof="0" dirty="0">
                <a:solidFill>
                  <a:schemeClr val="tx1"/>
                </a:solidFill>
              </a:rPr>
              <a:t>Offshore wind turbine</a:t>
            </a:r>
            <a:r>
              <a:rPr lang="en-GB" sz="1200" noProof="0" dirty="0">
                <a:solidFill>
                  <a:schemeClr val="tx1"/>
                </a:solidFill>
              </a:rPr>
              <a:t>: Offshore wind power or offshore wind energy is the energy taken from the force of the winds out at oceans &amp; sea, transformed into electricity, and supplied to the electricity network onshore.</a:t>
            </a:r>
          </a:p>
          <a:p>
            <a:pPr marL="0" indent="0">
              <a:lnSpc>
                <a:spcPct val="114999"/>
              </a:lnSpc>
              <a:spcAft>
                <a:spcPts val="600"/>
              </a:spcAft>
            </a:pPr>
            <a:r>
              <a:rPr lang="en-GB" sz="1200" b="1" noProof="0" dirty="0">
                <a:solidFill>
                  <a:schemeClr val="tx1"/>
                </a:solidFill>
              </a:rPr>
              <a:t>Onshore wind turbine</a:t>
            </a:r>
            <a:r>
              <a:rPr lang="en-GB" sz="1200" noProof="0" dirty="0">
                <a:solidFill>
                  <a:schemeClr val="tx1"/>
                </a:solidFill>
              </a:rPr>
              <a:t>: Onshore wind turbines are built on land, often open plains or mountain areas, transformed wind into electricity, and supplied to the electricity network.</a:t>
            </a:r>
          </a:p>
          <a:p>
            <a:pPr marL="0" indent="0">
              <a:lnSpc>
                <a:spcPct val="114999"/>
              </a:lnSpc>
              <a:spcAft>
                <a:spcPts val="600"/>
              </a:spcAft>
            </a:pPr>
            <a:r>
              <a:rPr lang="en-GB" sz="1200" b="1" noProof="0" dirty="0">
                <a:solidFill>
                  <a:schemeClr val="tx1"/>
                </a:solidFill>
              </a:rPr>
              <a:t>Power</a:t>
            </a:r>
            <a:r>
              <a:rPr lang="en-GB" sz="1200" noProof="0" dirty="0">
                <a:solidFill>
                  <a:schemeClr val="tx1"/>
                </a:solidFill>
              </a:rPr>
              <a:t>: Power is the amount of energy that something can produce or use in a certain amount of time. For wind turbines, power means the energy they create by turning wind into electricity. The unit is Watts (W).</a:t>
            </a:r>
          </a:p>
          <a:p>
            <a:pPr marL="0" indent="0">
              <a:lnSpc>
                <a:spcPct val="114999"/>
              </a:lnSpc>
              <a:spcAft>
                <a:spcPts val="600"/>
              </a:spcAft>
            </a:pPr>
            <a:r>
              <a:rPr lang="en-GB" sz="1200" b="1" noProof="0" dirty="0">
                <a:solidFill>
                  <a:schemeClr val="tx1"/>
                </a:solidFill>
              </a:rPr>
              <a:t>Power density</a:t>
            </a:r>
            <a:r>
              <a:rPr lang="en-GB" sz="1200" noProof="0" dirty="0">
                <a:solidFill>
                  <a:schemeClr val="tx1"/>
                </a:solidFill>
              </a:rPr>
              <a:t>: It refers to the amount of power (energy per unit time) generated or consumed per unit volume or area, often used to describe the efficiency of a system or material.</a:t>
            </a:r>
          </a:p>
          <a:p>
            <a:pPr marL="0" indent="0">
              <a:lnSpc>
                <a:spcPct val="114999"/>
              </a:lnSpc>
              <a:spcAft>
                <a:spcPts val="600"/>
              </a:spcAft>
            </a:pPr>
            <a:r>
              <a:rPr lang="en-GB" sz="1200" b="1" noProof="0" dirty="0">
                <a:solidFill>
                  <a:schemeClr val="tx1"/>
                </a:solidFill>
              </a:rPr>
              <a:t>Speed of wind</a:t>
            </a:r>
            <a:r>
              <a:rPr lang="en-GB" sz="1200" noProof="0" dirty="0">
                <a:solidFill>
                  <a:schemeClr val="tx1"/>
                </a:solidFill>
              </a:rPr>
              <a:t>: How fast the air is moving. Faster wind speeds mean more energy is available for generating power.</a:t>
            </a:r>
          </a:p>
        </p:txBody>
      </p:sp>
    </p:spTree>
    <p:extLst>
      <p:ext uri="{BB962C8B-B14F-4D97-AF65-F5344CB8AC3E}">
        <p14:creationId xmlns:p14="http://schemas.microsoft.com/office/powerpoint/2010/main" val="41187354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a:extLst>
            <a:ext uri="{FF2B5EF4-FFF2-40B4-BE49-F238E27FC236}">
              <a16:creationId xmlns:a16="http://schemas.microsoft.com/office/drawing/2014/main" id="{5DB1AB88-C12B-7E21-9D55-DF46FDE5DFB2}"/>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F97E395-9274-0A77-C7BA-E0D055995F9C}"/>
              </a:ext>
            </a:extLst>
          </p:cNvPr>
          <p:cNvSpPr>
            <a:spLocks noGrp="1"/>
          </p:cNvSpPr>
          <p:nvPr>
            <p:ph type="sldNum" sz="quarter" idx="4"/>
          </p:nvPr>
        </p:nvSpPr>
        <p:spPr>
          <a:xfrm>
            <a:off x="5371664" y="10139358"/>
            <a:ext cx="1701800" cy="569913"/>
          </a:xfrm>
        </p:spPr>
        <p:txBody>
          <a:bodyPr/>
          <a:lstStyle/>
          <a:p>
            <a:fld id="{DF7F771E-9578-4C04-B869-01AF4C35C90C}" type="slidenum">
              <a:rPr lang="en-GB" noProof="0" smtClean="0"/>
              <a:t>60</a:t>
            </a:fld>
            <a:endParaRPr lang="en-GB" noProof="0"/>
          </a:p>
        </p:txBody>
      </p:sp>
      <p:pic>
        <p:nvPicPr>
          <p:cNvPr id="2" name="Graphic 1" descr="Würfel Silhouette">
            <a:extLst>
              <a:ext uri="{FF2B5EF4-FFF2-40B4-BE49-F238E27FC236}">
                <a16:creationId xmlns:a16="http://schemas.microsoft.com/office/drawing/2014/main" id="{D4B63750-F71B-EA85-F32F-0A59F4C725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97701" y="2077872"/>
            <a:ext cx="914419" cy="914400"/>
          </a:xfrm>
          <a:prstGeom prst="rect">
            <a:avLst/>
          </a:prstGeom>
        </p:spPr>
      </p:pic>
      <p:sp>
        <p:nvSpPr>
          <p:cNvPr id="7" name="Titel 1">
            <a:extLst>
              <a:ext uri="{FF2B5EF4-FFF2-40B4-BE49-F238E27FC236}">
                <a16:creationId xmlns:a16="http://schemas.microsoft.com/office/drawing/2014/main" id="{3358476D-3240-DD26-03B4-C5E70685CE43}"/>
              </a:ext>
            </a:extLst>
          </p:cNvPr>
          <p:cNvSpPr txBox="1">
            <a:spLocks/>
          </p:cNvSpPr>
          <p:nvPr/>
        </p:nvSpPr>
        <p:spPr>
          <a:xfrm>
            <a:off x="589649" y="1121461"/>
            <a:ext cx="6380336" cy="6722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dirty="0"/>
              <a:t>Let’s test your knowledge on chapter 4!</a:t>
            </a:r>
          </a:p>
        </p:txBody>
      </p:sp>
      <p:sp>
        <p:nvSpPr>
          <p:cNvPr id="21" name="Untertitel 5">
            <a:extLst>
              <a:ext uri="{FF2B5EF4-FFF2-40B4-BE49-F238E27FC236}">
                <a16:creationId xmlns:a16="http://schemas.microsoft.com/office/drawing/2014/main" id="{31AF9879-EA1E-D6F9-62FE-3D410800CF57}"/>
              </a:ext>
            </a:extLst>
          </p:cNvPr>
          <p:cNvSpPr txBox="1">
            <a:spLocks/>
          </p:cNvSpPr>
          <p:nvPr/>
        </p:nvSpPr>
        <p:spPr>
          <a:xfrm>
            <a:off x="758287" y="233365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1</a:t>
            </a:r>
          </a:p>
        </p:txBody>
      </p:sp>
      <p:sp>
        <p:nvSpPr>
          <p:cNvPr id="22" name="Untertitel 3">
            <a:extLst>
              <a:ext uri="{FF2B5EF4-FFF2-40B4-BE49-F238E27FC236}">
                <a16:creationId xmlns:a16="http://schemas.microsoft.com/office/drawing/2014/main" id="{2A5554DF-ADFB-4D19-7B64-19B5B4298EB8}"/>
              </a:ext>
            </a:extLst>
          </p:cNvPr>
          <p:cNvSpPr txBox="1">
            <a:spLocks/>
          </p:cNvSpPr>
          <p:nvPr/>
        </p:nvSpPr>
        <p:spPr>
          <a:xfrm>
            <a:off x="760782" y="2754403"/>
            <a:ext cx="5927401" cy="247869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150" noProof="0" dirty="0"/>
              <a:t>Fill in the blanks</a:t>
            </a:r>
          </a:p>
          <a:p>
            <a:pPr marL="400050" indent="-171450">
              <a:lnSpc>
                <a:spcPct val="114999"/>
              </a:lnSpc>
              <a:buFont typeface="Arial" panose="020B0604020202020204" pitchFamily="34" charset="0"/>
              <a:buChar char="•"/>
            </a:pPr>
            <a:endParaRPr lang="en-US" sz="1150" noProof="0" dirty="0"/>
          </a:p>
          <a:p>
            <a:pPr marL="400050" indent="-171450">
              <a:lnSpc>
                <a:spcPct val="114999"/>
              </a:lnSpc>
              <a:buFont typeface="Arial" panose="020B0604020202020204" pitchFamily="34" charset="0"/>
              <a:buChar char="•"/>
            </a:pPr>
            <a:r>
              <a:rPr lang="en-US" sz="1150" noProof="0" dirty="0"/>
              <a:t>The direction of wind has  __________ (no/</a:t>
            </a:r>
            <a:r>
              <a:rPr lang="en-US" sz="1150" noProof="0" dirty="0">
                <a:solidFill>
                  <a:srgbClr val="FF0000"/>
                </a:solidFill>
              </a:rPr>
              <a:t>an</a:t>
            </a:r>
            <a:r>
              <a:rPr lang="en-US" sz="1150" noProof="0" dirty="0"/>
              <a:t>) influence on the generation of wind. </a:t>
            </a:r>
          </a:p>
          <a:p>
            <a:pPr marL="400050" indent="-171450">
              <a:lnSpc>
                <a:spcPct val="114999"/>
              </a:lnSpc>
              <a:buFont typeface="Arial" panose="020B0604020202020204" pitchFamily="34" charset="0"/>
              <a:buChar char="•"/>
            </a:pPr>
            <a:r>
              <a:rPr lang="en-US" sz="1150" noProof="0" dirty="0"/>
              <a:t>To make the wind turbine face the wind, we attach a __________ (</a:t>
            </a:r>
            <a:r>
              <a:rPr lang="en-US" sz="1150" noProof="0" dirty="0">
                <a:solidFill>
                  <a:srgbClr val="FF0000"/>
                </a:solidFill>
              </a:rPr>
              <a:t>tail fin</a:t>
            </a:r>
            <a:r>
              <a:rPr lang="en-US" sz="1150" noProof="0" dirty="0"/>
              <a:t>/rotor blade).</a:t>
            </a:r>
          </a:p>
          <a:p>
            <a:pPr marL="400050" indent="-171450">
              <a:lnSpc>
                <a:spcPct val="114999"/>
              </a:lnSpc>
              <a:buFont typeface="Arial" panose="020B0604020202020204" pitchFamily="34" charset="0"/>
              <a:buChar char="•"/>
            </a:pPr>
            <a:r>
              <a:rPr lang="en-US" sz="1150" noProof="0" dirty="0"/>
              <a:t>The pitch of the blade if it is optimal when it is ___________ (</a:t>
            </a:r>
            <a:r>
              <a:rPr lang="en-US" sz="1150" noProof="0" dirty="0">
                <a:solidFill>
                  <a:srgbClr val="FF0000"/>
                </a:solidFill>
              </a:rPr>
              <a:t>angled</a:t>
            </a:r>
            <a:r>
              <a:rPr lang="en-US" sz="1150" noProof="0" dirty="0"/>
              <a:t>/flat).</a:t>
            </a:r>
          </a:p>
          <a:p>
            <a:pPr marL="400050" indent="-171450">
              <a:lnSpc>
                <a:spcPct val="114999"/>
              </a:lnSpc>
              <a:buFont typeface="Arial" panose="020B0604020202020204" pitchFamily="34" charset="0"/>
              <a:buChar char="•"/>
            </a:pPr>
            <a:r>
              <a:rPr lang="en-US" sz="1150" noProof="0" dirty="0"/>
              <a:t>The _________ (shorter/</a:t>
            </a:r>
            <a:r>
              <a:rPr lang="en-US" sz="1150" noProof="0" dirty="0">
                <a:solidFill>
                  <a:srgbClr val="FF0000"/>
                </a:solidFill>
              </a:rPr>
              <a:t>longer</a:t>
            </a:r>
            <a:r>
              <a:rPr lang="en-US" sz="1150" noProof="0" dirty="0"/>
              <a:t>) the blade is, the power production increases.</a:t>
            </a:r>
          </a:p>
          <a:p>
            <a:pPr marL="400050" indent="-171450">
              <a:lnSpc>
                <a:spcPct val="114999"/>
              </a:lnSpc>
              <a:buFont typeface="Arial" panose="020B0604020202020204" pitchFamily="34" charset="0"/>
              <a:buChar char="•"/>
            </a:pPr>
            <a:r>
              <a:rPr lang="en-US" sz="1150" noProof="0" dirty="0"/>
              <a:t>If the blade is really heavy, the power will __________ (</a:t>
            </a:r>
            <a:r>
              <a:rPr lang="en-US" sz="1150" noProof="0" dirty="0">
                <a:solidFill>
                  <a:srgbClr val="FF0000"/>
                </a:solidFill>
              </a:rPr>
              <a:t>drop</a:t>
            </a:r>
            <a:r>
              <a:rPr lang="en-US" sz="1150" noProof="0" dirty="0"/>
              <a:t>/increase). </a:t>
            </a:r>
          </a:p>
          <a:p>
            <a:pPr marL="400050" indent="-171450">
              <a:lnSpc>
                <a:spcPct val="114999"/>
              </a:lnSpc>
              <a:buFont typeface="Arial" panose="020B0604020202020204" pitchFamily="34" charset="0"/>
              <a:buChar char="•"/>
            </a:pPr>
            <a:r>
              <a:rPr lang="en-US" sz="1150" noProof="0" dirty="0"/>
              <a:t>To generate the optimal power output with a wind turbine and have a balanced wind turbine system, the number of blades should be ________ (one/two/</a:t>
            </a:r>
            <a:r>
              <a:rPr lang="en-US" sz="1150" noProof="0" dirty="0">
                <a:solidFill>
                  <a:srgbClr val="FF0000"/>
                </a:solidFill>
              </a:rPr>
              <a:t>three</a:t>
            </a:r>
            <a:r>
              <a:rPr lang="en-US" sz="1150" noProof="0" dirty="0"/>
              <a:t>/six).</a:t>
            </a:r>
          </a:p>
          <a:p>
            <a:pPr marL="400050" indent="-171450">
              <a:lnSpc>
                <a:spcPct val="114999"/>
              </a:lnSpc>
              <a:buFont typeface="Arial" panose="020B0604020202020204" pitchFamily="34" charset="0"/>
              <a:buChar char="•"/>
            </a:pPr>
            <a:r>
              <a:rPr lang="en-US" sz="1150" noProof="0" dirty="0"/>
              <a:t>The turbine turns in an asymmetrical way if the number of blades is ________ (</a:t>
            </a:r>
            <a:r>
              <a:rPr lang="en-US" sz="1150" noProof="0" dirty="0">
                <a:solidFill>
                  <a:srgbClr val="FF0000"/>
                </a:solidFill>
              </a:rPr>
              <a:t>one</a:t>
            </a:r>
            <a:r>
              <a:rPr lang="en-US" sz="1150" noProof="0" dirty="0"/>
              <a:t>/two/three/six).</a:t>
            </a:r>
          </a:p>
          <a:p>
            <a:pPr marL="400050" indent="-171450">
              <a:lnSpc>
                <a:spcPct val="114999"/>
              </a:lnSpc>
              <a:buFont typeface="Arial" panose="020B0604020202020204" pitchFamily="34" charset="0"/>
              <a:buChar char="•"/>
            </a:pPr>
            <a:endParaRPr lang="en-US" sz="1150" noProof="0" dirty="0"/>
          </a:p>
        </p:txBody>
      </p:sp>
      <p:sp>
        <p:nvSpPr>
          <p:cNvPr id="23" name="Untertitel 5">
            <a:extLst>
              <a:ext uri="{FF2B5EF4-FFF2-40B4-BE49-F238E27FC236}">
                <a16:creationId xmlns:a16="http://schemas.microsoft.com/office/drawing/2014/main" id="{3B510168-C2F1-68FE-5E21-F64BECADA825}"/>
              </a:ext>
            </a:extLst>
          </p:cNvPr>
          <p:cNvSpPr txBox="1">
            <a:spLocks/>
          </p:cNvSpPr>
          <p:nvPr/>
        </p:nvSpPr>
        <p:spPr>
          <a:xfrm>
            <a:off x="758287" y="537243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2</a:t>
            </a:r>
          </a:p>
        </p:txBody>
      </p:sp>
      <p:sp>
        <p:nvSpPr>
          <p:cNvPr id="24" name="Untertitel 3">
            <a:extLst>
              <a:ext uri="{FF2B5EF4-FFF2-40B4-BE49-F238E27FC236}">
                <a16:creationId xmlns:a16="http://schemas.microsoft.com/office/drawing/2014/main" id="{295E149B-B8CD-F968-145A-7EB91D3019CD}"/>
              </a:ext>
            </a:extLst>
          </p:cNvPr>
          <p:cNvSpPr txBox="1">
            <a:spLocks/>
          </p:cNvSpPr>
          <p:nvPr/>
        </p:nvSpPr>
        <p:spPr>
          <a:xfrm>
            <a:off x="760782" y="5793178"/>
            <a:ext cx="6023346"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lnSpc>
                <a:spcPct val="114999"/>
              </a:lnSpc>
            </a:pPr>
            <a:r>
              <a:rPr lang="en-US" sz="1150" noProof="0" dirty="0"/>
              <a:t>Write down at least three new things you have learned so far that you do not want to forget!</a:t>
            </a:r>
          </a:p>
        </p:txBody>
      </p:sp>
      <p:sp>
        <p:nvSpPr>
          <p:cNvPr id="25" name="Textfeld 11">
            <a:extLst>
              <a:ext uri="{FF2B5EF4-FFF2-40B4-BE49-F238E27FC236}">
                <a16:creationId xmlns:a16="http://schemas.microsoft.com/office/drawing/2014/main" id="{7A751BDB-A370-8F94-01BA-15DD1C7AEB54}"/>
              </a:ext>
            </a:extLst>
          </p:cNvPr>
          <p:cNvSpPr txBox="1"/>
          <p:nvPr/>
        </p:nvSpPr>
        <p:spPr>
          <a:xfrm>
            <a:off x="972157" y="6475641"/>
            <a:ext cx="5600596" cy="179412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en-GB" sz="1100" noProof="0">
              <a:solidFill>
                <a:srgbClr val="FF0000"/>
              </a:solidFill>
              <a:latin typeface="Sofia Sans"/>
            </a:endParaRPr>
          </a:p>
        </p:txBody>
      </p:sp>
    </p:spTree>
    <p:extLst>
      <p:ext uri="{BB962C8B-B14F-4D97-AF65-F5344CB8AC3E}">
        <p14:creationId xmlns:p14="http://schemas.microsoft.com/office/powerpoint/2010/main" val="5677362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E08FECA-0BAF-9D0E-C810-D24DA73619EB}"/>
              </a:ext>
            </a:extLst>
          </p:cNvPr>
          <p:cNvSpPr>
            <a:spLocks noGrp="1"/>
          </p:cNvSpPr>
          <p:nvPr>
            <p:ph type="sldNum" sz="quarter" idx="4"/>
          </p:nvPr>
        </p:nvSpPr>
        <p:spPr/>
        <p:txBody>
          <a:bodyPr/>
          <a:lstStyle/>
          <a:p>
            <a:fld id="{DF7F771E-9578-4C04-B869-01AF4C35C90C}" type="slidenum">
              <a:rPr lang="en-GB" noProof="0" smtClean="0"/>
              <a:t>61</a:t>
            </a:fld>
            <a:endParaRPr lang="en-GB" noProof="0"/>
          </a:p>
        </p:txBody>
      </p:sp>
      <p:sp>
        <p:nvSpPr>
          <p:cNvPr id="17" name="Untertitel 5">
            <a:extLst>
              <a:ext uri="{FF2B5EF4-FFF2-40B4-BE49-F238E27FC236}">
                <a16:creationId xmlns:a16="http://schemas.microsoft.com/office/drawing/2014/main" id="{69A0D46B-9E69-4A05-DD75-1DE3160F25A4}"/>
              </a:ext>
            </a:extLst>
          </p:cNvPr>
          <p:cNvSpPr txBox="1">
            <a:spLocks/>
          </p:cNvSpPr>
          <p:nvPr/>
        </p:nvSpPr>
        <p:spPr>
          <a:xfrm>
            <a:off x="758287" y="129884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3</a:t>
            </a:r>
          </a:p>
        </p:txBody>
      </p:sp>
      <p:sp>
        <p:nvSpPr>
          <p:cNvPr id="18" name="Untertitel 3">
            <a:extLst>
              <a:ext uri="{FF2B5EF4-FFF2-40B4-BE49-F238E27FC236}">
                <a16:creationId xmlns:a16="http://schemas.microsoft.com/office/drawing/2014/main" id="{DAEA9FBF-2902-ED71-3380-A85BFAB3B12C}"/>
              </a:ext>
            </a:extLst>
          </p:cNvPr>
          <p:cNvSpPr txBox="1">
            <a:spLocks/>
          </p:cNvSpPr>
          <p:nvPr/>
        </p:nvSpPr>
        <p:spPr>
          <a:xfrm>
            <a:off x="760782" y="1719594"/>
            <a:ext cx="6023346" cy="29080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28600" indent="0">
              <a:lnSpc>
                <a:spcPct val="114999"/>
              </a:lnSpc>
            </a:pPr>
            <a:r>
              <a:rPr lang="en-US" sz="1150" noProof="0"/>
              <a:t>Fill in the blanks</a:t>
            </a:r>
          </a:p>
          <a:p>
            <a:pPr marL="400050" indent="-171450">
              <a:lnSpc>
                <a:spcPct val="114999"/>
              </a:lnSpc>
              <a:buFont typeface="Arial" panose="020B0604020202020204" pitchFamily="34" charset="0"/>
              <a:buChar char="•"/>
            </a:pPr>
            <a:endParaRPr lang="en-US" sz="1150" noProof="0"/>
          </a:p>
          <a:p>
            <a:pPr marL="400050" indent="-171450">
              <a:lnSpc>
                <a:spcPct val="114999"/>
              </a:lnSpc>
              <a:buFont typeface="Arial" panose="020B0604020202020204" pitchFamily="34" charset="0"/>
              <a:buChar char="•"/>
            </a:pPr>
            <a:r>
              <a:rPr lang="en-US" sz="1150" noProof="0"/>
              <a:t>The Maximum Power Point (MPP) is the point where a wind turbine generates the _________ (lowest/</a:t>
            </a:r>
            <a:r>
              <a:rPr lang="en-US" sz="1150" noProof="0">
                <a:solidFill>
                  <a:srgbClr val="FF0000"/>
                </a:solidFill>
              </a:rPr>
              <a:t>highest</a:t>
            </a:r>
            <a:r>
              <a:rPr lang="en-US" sz="1150" noProof="0"/>
              <a:t>/moderate) power output under given wind conditions.</a:t>
            </a:r>
          </a:p>
          <a:p>
            <a:pPr marL="400050" indent="-171450">
              <a:lnSpc>
                <a:spcPct val="114999"/>
              </a:lnSpc>
              <a:buFont typeface="Arial" panose="020B0604020202020204" pitchFamily="34" charset="0"/>
              <a:buChar char="•"/>
            </a:pPr>
            <a:r>
              <a:rPr lang="en-US" sz="1150" noProof="0"/>
              <a:t>To optimize energy capture, the blade angle (pitch) should be ________ (</a:t>
            </a:r>
            <a:r>
              <a:rPr lang="en-US" sz="1150" noProof="0">
                <a:solidFill>
                  <a:srgbClr val="FF0000"/>
                </a:solidFill>
              </a:rPr>
              <a:t>adjusted</a:t>
            </a:r>
            <a:r>
              <a:rPr lang="en-US" sz="1150" noProof="0"/>
              <a:t>/fixed/ignored) according to wind speed.</a:t>
            </a:r>
          </a:p>
          <a:p>
            <a:pPr marL="400050" indent="-171450">
              <a:lnSpc>
                <a:spcPct val="114999"/>
              </a:lnSpc>
              <a:buFont typeface="Arial" panose="020B0604020202020204" pitchFamily="34" charset="0"/>
              <a:buChar char="•"/>
            </a:pPr>
            <a:r>
              <a:rPr lang="en-US" sz="1150" noProof="0"/>
              <a:t>Yaw control helps the turbine ________ (stay fixed/</a:t>
            </a:r>
            <a:r>
              <a:rPr lang="en-US" sz="1150" noProof="0">
                <a:solidFill>
                  <a:srgbClr val="FF0000"/>
                </a:solidFill>
              </a:rPr>
              <a:t>rotate towards</a:t>
            </a:r>
            <a:r>
              <a:rPr lang="en-US" sz="1150" noProof="0"/>
              <a:t>/rotate away from) the wind direction for maximum efficiency.</a:t>
            </a:r>
          </a:p>
          <a:p>
            <a:pPr marL="400050" indent="-171450">
              <a:lnSpc>
                <a:spcPct val="114999"/>
              </a:lnSpc>
              <a:buFont typeface="Arial" panose="020B0604020202020204" pitchFamily="34" charset="0"/>
              <a:buChar char="•"/>
            </a:pPr>
            <a:r>
              <a:rPr lang="en-US" sz="1150" noProof="0"/>
              <a:t>Wind turbines use ________ (</a:t>
            </a:r>
            <a:r>
              <a:rPr lang="en-US" sz="1150" noProof="0">
                <a:solidFill>
                  <a:srgbClr val="FF0000"/>
                </a:solidFill>
              </a:rPr>
              <a:t>sensors</a:t>
            </a:r>
            <a:r>
              <a:rPr lang="en-US" sz="1150" noProof="0"/>
              <a:t>/batteries/magnets) to monitor wind speed and adjust for MPP in real time.</a:t>
            </a:r>
          </a:p>
          <a:p>
            <a:pPr marL="400050" indent="-171450">
              <a:lnSpc>
                <a:spcPct val="114999"/>
              </a:lnSpc>
              <a:buFont typeface="Arial" panose="020B0604020202020204" pitchFamily="34" charset="0"/>
              <a:buChar char="•"/>
            </a:pPr>
            <a:r>
              <a:rPr lang="en-US" sz="1150" noProof="0"/>
              <a:t>Increasing rotor speed beyond MPP results in ________ (optimal performance/</a:t>
            </a:r>
            <a:r>
              <a:rPr lang="en-US" sz="1150" noProof="0">
                <a:solidFill>
                  <a:srgbClr val="FF0000"/>
                </a:solidFill>
              </a:rPr>
              <a:t>energy loss</a:t>
            </a:r>
            <a:r>
              <a:rPr lang="en-US" sz="1150" noProof="0"/>
              <a:t>/increased efficiency).</a:t>
            </a:r>
          </a:p>
          <a:p>
            <a:pPr marL="400050" indent="-171450">
              <a:lnSpc>
                <a:spcPct val="114999"/>
              </a:lnSpc>
              <a:buFont typeface="Arial" panose="020B0604020202020204" pitchFamily="34" charset="0"/>
              <a:buChar char="•"/>
            </a:pPr>
            <a:endParaRPr lang="en-US" sz="1150" noProof="0"/>
          </a:p>
        </p:txBody>
      </p:sp>
      <p:sp>
        <p:nvSpPr>
          <p:cNvPr id="20" name="Untertitel 5">
            <a:extLst>
              <a:ext uri="{FF2B5EF4-FFF2-40B4-BE49-F238E27FC236}">
                <a16:creationId xmlns:a16="http://schemas.microsoft.com/office/drawing/2014/main" id="{E5B12926-4035-F7AC-7B6F-227A9726A144}"/>
              </a:ext>
            </a:extLst>
          </p:cNvPr>
          <p:cNvSpPr txBox="1">
            <a:spLocks/>
          </p:cNvSpPr>
          <p:nvPr/>
        </p:nvSpPr>
        <p:spPr>
          <a:xfrm>
            <a:off x="716643" y="436347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a:t>
            </a:r>
            <a:r>
              <a:rPr lang="en-GB" sz="1200">
                <a:solidFill>
                  <a:schemeClr val="accent2"/>
                </a:solidFill>
              </a:rPr>
              <a:t>4</a:t>
            </a:r>
            <a:endParaRPr lang="en-GB" sz="1200" noProof="0">
              <a:solidFill>
                <a:schemeClr val="accent2"/>
              </a:solidFill>
            </a:endParaRPr>
          </a:p>
        </p:txBody>
      </p:sp>
      <p:sp>
        <p:nvSpPr>
          <p:cNvPr id="21" name="Untertitel 3">
            <a:extLst>
              <a:ext uri="{FF2B5EF4-FFF2-40B4-BE49-F238E27FC236}">
                <a16:creationId xmlns:a16="http://schemas.microsoft.com/office/drawing/2014/main" id="{3CADCFF4-46D0-7FB4-53E2-795702722800}"/>
              </a:ext>
            </a:extLst>
          </p:cNvPr>
          <p:cNvSpPr txBox="1">
            <a:spLocks/>
          </p:cNvSpPr>
          <p:nvPr/>
        </p:nvSpPr>
        <p:spPr>
          <a:xfrm>
            <a:off x="719138" y="4784226"/>
            <a:ext cx="6023346" cy="29080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28600" indent="0">
              <a:lnSpc>
                <a:spcPct val="114999"/>
              </a:lnSpc>
            </a:pPr>
            <a:r>
              <a:rPr lang="en-US" sz="1150" noProof="0"/>
              <a:t>Are </a:t>
            </a:r>
            <a:r>
              <a:rPr lang="en-US" sz="1150" noProof="0" err="1"/>
              <a:t>th</a:t>
            </a:r>
            <a:r>
              <a:rPr lang="en-US" sz="1150"/>
              <a:t>e following statements true or false? Correct the statements if they are false.</a:t>
            </a:r>
            <a:endParaRPr lang="en-US" sz="1150" noProof="0"/>
          </a:p>
          <a:p>
            <a:pPr marL="400050" indent="-171450">
              <a:lnSpc>
                <a:spcPct val="114999"/>
              </a:lnSpc>
              <a:buFont typeface="Arial" panose="020B0604020202020204" pitchFamily="34" charset="0"/>
              <a:buChar char="•"/>
            </a:pPr>
            <a:endParaRPr lang="en-US" sz="1150" noProof="0"/>
          </a:p>
          <a:p>
            <a:pPr marL="228600" indent="0">
              <a:lnSpc>
                <a:spcPct val="114999"/>
              </a:lnSpc>
            </a:pPr>
            <a:r>
              <a:rPr lang="en-GB" sz="1150" noProof="0"/>
              <a:t>MPP ensures a wind turbine always operates at its maximum efficiency</a:t>
            </a:r>
            <a:r>
              <a:rPr lang="en-GB" sz="1150" noProof="0">
                <a:solidFill>
                  <a:schemeClr val="tx1"/>
                </a:solidFill>
              </a:rPr>
              <a:t>.</a:t>
            </a:r>
            <a:r>
              <a:rPr lang="en-GB" sz="1150" b="1" noProof="0">
                <a:solidFill>
                  <a:srgbClr val="FF0000"/>
                </a:solidFill>
              </a:rPr>
              <a:t> </a:t>
            </a:r>
            <a:r>
              <a:rPr lang="en-GB" sz="1150" b="1" u="sng" noProof="0">
                <a:solidFill>
                  <a:srgbClr val="FF0000"/>
                </a:solidFill>
              </a:rPr>
              <a:t>False</a:t>
            </a:r>
            <a:r>
              <a:rPr lang="en-GB" sz="1150" b="1" noProof="0">
                <a:solidFill>
                  <a:srgbClr val="FF0000"/>
                </a:solidFill>
              </a:rPr>
              <a:t>. Correction: MPP optimizes energy capture, but efficiency may vary based on wind conditions.</a:t>
            </a:r>
          </a:p>
          <a:p>
            <a:pPr marL="228600" indent="0">
              <a:lnSpc>
                <a:spcPct val="114999"/>
              </a:lnSpc>
            </a:pPr>
            <a:r>
              <a:rPr lang="en-GB" sz="1150" noProof="0"/>
              <a:t>2. Blade pitch control is unnecessary for maintaining MPP. </a:t>
            </a:r>
            <a:r>
              <a:rPr lang="en-GB" sz="1150" b="1" u="sng" noProof="0">
                <a:solidFill>
                  <a:srgbClr val="FF0000"/>
                </a:solidFill>
              </a:rPr>
              <a:t>False.</a:t>
            </a:r>
            <a:r>
              <a:rPr lang="en-GB" sz="1150" b="1" noProof="0">
                <a:solidFill>
                  <a:srgbClr val="FF0000"/>
                </a:solidFill>
              </a:rPr>
              <a:t> Correction: Blade pitch control adjusts the angle of the blades to optimize energy capture and maintain MPP.</a:t>
            </a:r>
          </a:p>
          <a:p>
            <a:pPr marL="228600" indent="0">
              <a:lnSpc>
                <a:spcPct val="114999"/>
              </a:lnSpc>
            </a:pPr>
            <a:r>
              <a:rPr lang="en-GB" sz="1150" noProof="0"/>
              <a:t>3. Offshore wind farms use advanced control systems to optimize MPP in real-time. </a:t>
            </a:r>
            <a:r>
              <a:rPr lang="en-GB" sz="1150" b="1" u="sng" noProof="0">
                <a:solidFill>
                  <a:srgbClr val="FF0000"/>
                </a:solidFill>
              </a:rPr>
              <a:t>True.</a:t>
            </a:r>
          </a:p>
          <a:p>
            <a:pPr marL="228600" indent="0">
              <a:lnSpc>
                <a:spcPct val="114999"/>
              </a:lnSpc>
            </a:pPr>
            <a:r>
              <a:rPr lang="en-GB" sz="1150" noProof="0"/>
              <a:t>4. Wind turbines naturally adjust to MPP without any external systems. </a:t>
            </a:r>
            <a:r>
              <a:rPr lang="en-GB" sz="1150" b="1" u="sng" noProof="0">
                <a:solidFill>
                  <a:srgbClr val="FF0000"/>
                </a:solidFill>
              </a:rPr>
              <a:t>False.</a:t>
            </a:r>
            <a:r>
              <a:rPr lang="en-GB" sz="1150" b="1" noProof="0">
                <a:solidFill>
                  <a:srgbClr val="FF0000"/>
                </a:solidFill>
              </a:rPr>
              <a:t> Correction: Wind turbines require sensors and control systems to maintain MPP efficiently.</a:t>
            </a:r>
          </a:p>
          <a:p>
            <a:pPr marL="228600" indent="0">
              <a:lnSpc>
                <a:spcPct val="114999"/>
              </a:lnSpc>
            </a:pPr>
            <a:r>
              <a:rPr lang="en-GB" sz="1150" noProof="0"/>
              <a:t>5. Dynamic wind conditions do not affect the Maximum Power Point. </a:t>
            </a:r>
            <a:r>
              <a:rPr lang="en-GB" sz="1150" b="1" u="sng" noProof="0">
                <a:solidFill>
                  <a:srgbClr val="FF0000"/>
                </a:solidFill>
              </a:rPr>
              <a:t>False.</a:t>
            </a:r>
            <a:r>
              <a:rPr lang="en-GB" sz="1150" b="1" noProof="0">
                <a:solidFill>
                  <a:srgbClr val="FF0000"/>
                </a:solidFill>
              </a:rPr>
              <a:t> Correction: Changing wind conditions affect MPP, requiring constant adjustments for optimal performance.</a:t>
            </a:r>
          </a:p>
        </p:txBody>
      </p:sp>
    </p:spTree>
    <p:extLst>
      <p:ext uri="{BB962C8B-B14F-4D97-AF65-F5344CB8AC3E}">
        <p14:creationId xmlns:p14="http://schemas.microsoft.com/office/powerpoint/2010/main" val="22302298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55000"/>
          </a:schemeClr>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C70D724-D823-D29B-9E94-25C038098298}"/>
              </a:ext>
            </a:extLst>
          </p:cNvPr>
          <p:cNvSpPr>
            <a:spLocks noGrp="1"/>
          </p:cNvSpPr>
          <p:nvPr>
            <p:ph type="sldNum" sz="quarter" idx="4"/>
          </p:nvPr>
        </p:nvSpPr>
        <p:spPr/>
        <p:txBody>
          <a:bodyPr/>
          <a:lstStyle/>
          <a:p>
            <a:fld id="{DF7F771E-9578-4C04-B869-01AF4C35C90C}" type="slidenum">
              <a:rPr lang="de-DE" smtClean="0"/>
              <a:t>62</a:t>
            </a:fld>
            <a:endParaRPr lang="de-DE"/>
          </a:p>
        </p:txBody>
      </p:sp>
      <p:sp>
        <p:nvSpPr>
          <p:cNvPr id="6" name="Untertitel 5">
            <a:extLst>
              <a:ext uri="{FF2B5EF4-FFF2-40B4-BE49-F238E27FC236}">
                <a16:creationId xmlns:a16="http://schemas.microsoft.com/office/drawing/2014/main" id="{B5227F99-991A-0E02-D506-0C4F6388F74C}"/>
              </a:ext>
            </a:extLst>
          </p:cNvPr>
          <p:cNvSpPr txBox="1">
            <a:spLocks/>
          </p:cNvSpPr>
          <p:nvPr/>
        </p:nvSpPr>
        <p:spPr>
          <a:xfrm>
            <a:off x="758287" y="129884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a:solidFill>
                  <a:schemeClr val="accent2"/>
                </a:solidFill>
              </a:rPr>
              <a:t>Task 5</a:t>
            </a:r>
          </a:p>
        </p:txBody>
      </p:sp>
      <p:sp>
        <p:nvSpPr>
          <p:cNvPr id="7" name="Untertitel 3">
            <a:extLst>
              <a:ext uri="{FF2B5EF4-FFF2-40B4-BE49-F238E27FC236}">
                <a16:creationId xmlns:a16="http://schemas.microsoft.com/office/drawing/2014/main" id="{A327B937-1DB7-C0D8-4C41-21BE826533B5}"/>
              </a:ext>
            </a:extLst>
          </p:cNvPr>
          <p:cNvSpPr txBox="1">
            <a:spLocks/>
          </p:cNvSpPr>
          <p:nvPr/>
        </p:nvSpPr>
        <p:spPr>
          <a:xfrm>
            <a:off x="760782" y="1719594"/>
            <a:ext cx="6023346" cy="4513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228600" indent="0">
              <a:lnSpc>
                <a:spcPct val="114999"/>
              </a:lnSpc>
            </a:pPr>
            <a:r>
              <a:rPr lang="en-US" sz="1150" noProof="0"/>
              <a:t>Match the terms in Column A to their corresponding definitions or functions in Column B.</a:t>
            </a:r>
          </a:p>
        </p:txBody>
      </p:sp>
      <p:graphicFrame>
        <p:nvGraphicFramePr>
          <p:cNvPr id="10" name="Table 12">
            <a:extLst>
              <a:ext uri="{FF2B5EF4-FFF2-40B4-BE49-F238E27FC236}">
                <a16:creationId xmlns:a16="http://schemas.microsoft.com/office/drawing/2014/main" id="{10B053D9-CEB1-830F-329D-2BACB730B22B}"/>
              </a:ext>
            </a:extLst>
          </p:cNvPr>
          <p:cNvGraphicFramePr>
            <a:graphicFrameLocks noGrp="1"/>
          </p:cNvGraphicFramePr>
          <p:nvPr>
            <p:extLst>
              <p:ext uri="{D42A27DB-BD31-4B8C-83A1-F6EECF244321}">
                <p14:modId xmlns:p14="http://schemas.microsoft.com/office/powerpoint/2010/main" val="2492155931"/>
              </p:ext>
            </p:extLst>
          </p:nvPr>
        </p:nvGraphicFramePr>
        <p:xfrm>
          <a:off x="1070661" y="2527169"/>
          <a:ext cx="2000250" cy="2075370"/>
        </p:xfrm>
        <a:graphic>
          <a:graphicData uri="http://schemas.openxmlformats.org/drawingml/2006/table">
            <a:tbl>
              <a:tblPr firstRow="1" bandRow="1">
                <a:tableStyleId>{87981CF4-4D3E-4045-9ACF-D1447FECE155}</a:tableStyleId>
              </a:tblPr>
              <a:tblGrid>
                <a:gridCol w="2000250">
                  <a:extLst>
                    <a:ext uri="{9D8B030D-6E8A-4147-A177-3AD203B41FA5}">
                      <a16:colId xmlns:a16="http://schemas.microsoft.com/office/drawing/2014/main" val="373154243"/>
                    </a:ext>
                  </a:extLst>
                </a:gridCol>
              </a:tblGrid>
              <a:tr h="334692">
                <a:tc>
                  <a:txBody>
                    <a:bodyPr/>
                    <a:lstStyle/>
                    <a:p>
                      <a:r>
                        <a:rPr lang="en-GB" b="1" noProof="0"/>
                        <a:t>Column A</a:t>
                      </a:r>
                    </a:p>
                  </a:txBody>
                  <a:tcPr/>
                </a:tc>
                <a:extLst>
                  <a:ext uri="{0D108BD9-81ED-4DB2-BD59-A6C34878D82A}">
                    <a16:rowId xmlns:a16="http://schemas.microsoft.com/office/drawing/2014/main" val="169381034"/>
                  </a:ext>
                </a:extLst>
              </a:tr>
              <a:tr h="334692">
                <a:tc>
                  <a:txBody>
                    <a:bodyPr/>
                    <a:lstStyle/>
                    <a:p>
                      <a:r>
                        <a:rPr lang="en-GB" noProof="0"/>
                        <a:t>1. MPP </a:t>
                      </a:r>
                      <a:r>
                        <a:rPr lang="en-GB" b="1" noProof="0">
                          <a:solidFill>
                            <a:srgbClr val="FF0000"/>
                          </a:solidFill>
                        </a:rPr>
                        <a:t>(c)</a:t>
                      </a:r>
                      <a:endParaRPr lang="en-GB" noProof="0">
                        <a:solidFill>
                          <a:srgbClr val="FF0000"/>
                        </a:solidFill>
                      </a:endParaRPr>
                    </a:p>
                  </a:txBody>
                  <a:tcPr/>
                </a:tc>
                <a:extLst>
                  <a:ext uri="{0D108BD9-81ED-4DB2-BD59-A6C34878D82A}">
                    <a16:rowId xmlns:a16="http://schemas.microsoft.com/office/drawing/2014/main" val="1349908615"/>
                  </a:ext>
                </a:extLst>
              </a:tr>
              <a:tr h="334692">
                <a:tc>
                  <a:txBody>
                    <a:bodyPr/>
                    <a:lstStyle/>
                    <a:p>
                      <a:r>
                        <a:rPr lang="en-GB" noProof="0"/>
                        <a:t>2. Yaw control </a:t>
                      </a:r>
                      <a:r>
                        <a:rPr lang="en-GB" b="1" noProof="0">
                          <a:solidFill>
                            <a:srgbClr val="FF0000"/>
                          </a:solidFill>
                        </a:rPr>
                        <a:t>(a)</a:t>
                      </a:r>
                      <a:endParaRPr lang="en-GB" noProof="0">
                        <a:solidFill>
                          <a:srgbClr val="FF0000"/>
                        </a:solidFill>
                      </a:endParaRPr>
                    </a:p>
                  </a:txBody>
                  <a:tcPr/>
                </a:tc>
                <a:extLst>
                  <a:ext uri="{0D108BD9-81ED-4DB2-BD59-A6C34878D82A}">
                    <a16:rowId xmlns:a16="http://schemas.microsoft.com/office/drawing/2014/main" val="295967266"/>
                  </a:ext>
                </a:extLst>
              </a:tr>
              <a:tr h="334692">
                <a:tc>
                  <a:txBody>
                    <a:bodyPr/>
                    <a:lstStyle/>
                    <a:p>
                      <a:r>
                        <a:rPr lang="en-GB" noProof="0"/>
                        <a:t>3. Blade pitch control </a:t>
                      </a:r>
                      <a:r>
                        <a:rPr lang="en-GB" b="1" noProof="0">
                          <a:solidFill>
                            <a:srgbClr val="FF0000"/>
                          </a:solidFill>
                        </a:rPr>
                        <a:t>(b)</a:t>
                      </a:r>
                      <a:endParaRPr lang="en-GB" noProof="0">
                        <a:solidFill>
                          <a:srgbClr val="FF0000"/>
                        </a:solidFill>
                      </a:endParaRPr>
                    </a:p>
                  </a:txBody>
                  <a:tcPr/>
                </a:tc>
                <a:extLst>
                  <a:ext uri="{0D108BD9-81ED-4DB2-BD59-A6C34878D82A}">
                    <a16:rowId xmlns:a16="http://schemas.microsoft.com/office/drawing/2014/main" val="3299011666"/>
                  </a:ext>
                </a:extLst>
              </a:tr>
              <a:tr h="401910">
                <a:tc>
                  <a:txBody>
                    <a:bodyPr/>
                    <a:lstStyle/>
                    <a:p>
                      <a:r>
                        <a:rPr lang="en-GB" noProof="0"/>
                        <a:t>4. Sensors </a:t>
                      </a:r>
                      <a:r>
                        <a:rPr lang="en-GB" b="1" noProof="0">
                          <a:solidFill>
                            <a:srgbClr val="FF0000"/>
                          </a:solidFill>
                        </a:rPr>
                        <a:t>(d)</a:t>
                      </a:r>
                      <a:endParaRPr lang="en-GB" noProof="0">
                        <a:solidFill>
                          <a:srgbClr val="FF0000"/>
                        </a:solidFill>
                      </a:endParaRPr>
                    </a:p>
                  </a:txBody>
                  <a:tcPr/>
                </a:tc>
                <a:extLst>
                  <a:ext uri="{0D108BD9-81ED-4DB2-BD59-A6C34878D82A}">
                    <a16:rowId xmlns:a16="http://schemas.microsoft.com/office/drawing/2014/main" val="2446054307"/>
                  </a:ext>
                </a:extLst>
              </a:tr>
              <a:tr h="334692">
                <a:tc>
                  <a:txBody>
                    <a:bodyPr/>
                    <a:lstStyle/>
                    <a:p>
                      <a:r>
                        <a:rPr lang="en-GB" noProof="0"/>
                        <a:t>5. Wind speed variability </a:t>
                      </a:r>
                      <a:r>
                        <a:rPr lang="en-GB" b="1" noProof="0">
                          <a:solidFill>
                            <a:srgbClr val="FF0000"/>
                          </a:solidFill>
                        </a:rPr>
                        <a:t>(e)</a:t>
                      </a:r>
                      <a:endParaRPr lang="en-GB" noProof="0">
                        <a:solidFill>
                          <a:srgbClr val="FF0000"/>
                        </a:solidFill>
                      </a:endParaRPr>
                    </a:p>
                  </a:txBody>
                  <a:tcPr/>
                </a:tc>
                <a:extLst>
                  <a:ext uri="{0D108BD9-81ED-4DB2-BD59-A6C34878D82A}">
                    <a16:rowId xmlns:a16="http://schemas.microsoft.com/office/drawing/2014/main" val="1772300514"/>
                  </a:ext>
                </a:extLst>
              </a:tr>
            </a:tbl>
          </a:graphicData>
        </a:graphic>
      </p:graphicFrame>
      <p:graphicFrame>
        <p:nvGraphicFramePr>
          <p:cNvPr id="11" name="Table 13">
            <a:extLst>
              <a:ext uri="{FF2B5EF4-FFF2-40B4-BE49-F238E27FC236}">
                <a16:creationId xmlns:a16="http://schemas.microsoft.com/office/drawing/2014/main" id="{E7AE3C25-BF76-40BE-E181-1FE435654B98}"/>
              </a:ext>
            </a:extLst>
          </p:cNvPr>
          <p:cNvGraphicFramePr>
            <a:graphicFrameLocks noGrp="1"/>
          </p:cNvGraphicFramePr>
          <p:nvPr>
            <p:extLst>
              <p:ext uri="{D42A27DB-BD31-4B8C-83A1-F6EECF244321}">
                <p14:modId xmlns:p14="http://schemas.microsoft.com/office/powerpoint/2010/main" val="3184205465"/>
              </p:ext>
            </p:extLst>
          </p:nvPr>
        </p:nvGraphicFramePr>
        <p:xfrm>
          <a:off x="3796239" y="2527169"/>
          <a:ext cx="2987889" cy="2555287"/>
        </p:xfrm>
        <a:graphic>
          <a:graphicData uri="http://schemas.openxmlformats.org/drawingml/2006/table">
            <a:tbl>
              <a:tblPr firstRow="1" bandRow="1">
                <a:tableStyleId>{87981CF4-4D3E-4045-9ACF-D1447FECE155}</a:tableStyleId>
              </a:tblPr>
              <a:tblGrid>
                <a:gridCol w="2987889">
                  <a:extLst>
                    <a:ext uri="{9D8B030D-6E8A-4147-A177-3AD203B41FA5}">
                      <a16:colId xmlns:a16="http://schemas.microsoft.com/office/drawing/2014/main" val="373154243"/>
                    </a:ext>
                  </a:extLst>
                </a:gridCol>
              </a:tblGrid>
              <a:tr h="334692">
                <a:tc>
                  <a:txBody>
                    <a:bodyPr/>
                    <a:lstStyle/>
                    <a:p>
                      <a:r>
                        <a:rPr lang="en-GB" b="1" noProof="0"/>
                        <a:t>Column B</a:t>
                      </a:r>
                    </a:p>
                  </a:txBody>
                  <a:tcPr/>
                </a:tc>
                <a:extLst>
                  <a:ext uri="{0D108BD9-81ED-4DB2-BD59-A6C34878D82A}">
                    <a16:rowId xmlns:a16="http://schemas.microsoft.com/office/drawing/2014/main" val="169381034"/>
                  </a:ext>
                </a:extLst>
              </a:tr>
              <a:tr h="334692">
                <a:tc>
                  <a:txBody>
                    <a:bodyPr/>
                    <a:lstStyle/>
                    <a:p>
                      <a:r>
                        <a:rPr lang="en-GB" noProof="0"/>
                        <a:t>a. Rotates the turbine to face the wind direction.</a:t>
                      </a:r>
                    </a:p>
                  </a:txBody>
                  <a:tcPr/>
                </a:tc>
                <a:extLst>
                  <a:ext uri="{0D108BD9-81ED-4DB2-BD59-A6C34878D82A}">
                    <a16:rowId xmlns:a16="http://schemas.microsoft.com/office/drawing/2014/main" val="1349908615"/>
                  </a:ext>
                </a:extLst>
              </a:tr>
              <a:tr h="334692">
                <a:tc>
                  <a:txBody>
                    <a:bodyPr/>
                    <a:lstStyle/>
                    <a:p>
                      <a:r>
                        <a:rPr lang="en-GB" noProof="0"/>
                        <a:t>b. Adjusts blade angles for optimal energy capture.</a:t>
                      </a:r>
                    </a:p>
                  </a:txBody>
                  <a:tcPr/>
                </a:tc>
                <a:extLst>
                  <a:ext uri="{0D108BD9-81ED-4DB2-BD59-A6C34878D82A}">
                    <a16:rowId xmlns:a16="http://schemas.microsoft.com/office/drawing/2014/main" val="295967266"/>
                  </a:ext>
                </a:extLst>
              </a:tr>
              <a:tr h="334692">
                <a:tc>
                  <a:txBody>
                    <a:bodyPr/>
                    <a:lstStyle/>
                    <a:p>
                      <a:r>
                        <a:rPr lang="en-GB" noProof="0"/>
                        <a:t>c. Ensures the highest possible power output.</a:t>
                      </a:r>
                    </a:p>
                  </a:txBody>
                  <a:tcPr/>
                </a:tc>
                <a:extLst>
                  <a:ext uri="{0D108BD9-81ED-4DB2-BD59-A6C34878D82A}">
                    <a16:rowId xmlns:a16="http://schemas.microsoft.com/office/drawing/2014/main" val="3299011666"/>
                  </a:ext>
                </a:extLst>
              </a:tr>
              <a:tr h="334692">
                <a:tc>
                  <a:txBody>
                    <a:bodyPr/>
                    <a:lstStyle/>
                    <a:p>
                      <a:r>
                        <a:rPr lang="en-GB" noProof="0"/>
                        <a:t>d. Monitors wind speed, direction and rotor performance.</a:t>
                      </a:r>
                    </a:p>
                  </a:txBody>
                  <a:tcPr/>
                </a:tc>
                <a:extLst>
                  <a:ext uri="{0D108BD9-81ED-4DB2-BD59-A6C34878D82A}">
                    <a16:rowId xmlns:a16="http://schemas.microsoft.com/office/drawing/2014/main" val="2446054307"/>
                  </a:ext>
                </a:extLst>
              </a:tr>
              <a:tr h="334692">
                <a:tc>
                  <a:txBody>
                    <a:bodyPr/>
                    <a:lstStyle/>
                    <a:p>
                      <a:r>
                        <a:rPr lang="en-GB" noProof="0"/>
                        <a:t>e. Affects turbine efficiency and energy production. </a:t>
                      </a:r>
                    </a:p>
                  </a:txBody>
                  <a:tcPr/>
                </a:tc>
                <a:extLst>
                  <a:ext uri="{0D108BD9-81ED-4DB2-BD59-A6C34878D82A}">
                    <a16:rowId xmlns:a16="http://schemas.microsoft.com/office/drawing/2014/main" val="1772300514"/>
                  </a:ext>
                </a:extLst>
              </a:tr>
            </a:tbl>
          </a:graphicData>
        </a:graphic>
      </p:graphicFrame>
    </p:spTree>
    <p:extLst>
      <p:ext uri="{BB962C8B-B14F-4D97-AF65-F5344CB8AC3E}">
        <p14:creationId xmlns:p14="http://schemas.microsoft.com/office/powerpoint/2010/main" val="3363083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5AAF4-7DA1-4E81-F380-B2CA2E33AF9C}"/>
            </a:ext>
          </a:extLst>
        </p:cNvPr>
        <p:cNvGrpSpPr/>
        <p:nvPr/>
      </p:nvGrpSpPr>
      <p:grpSpPr>
        <a:xfrm>
          <a:off x="0" y="0"/>
          <a:ext cx="0" cy="0"/>
          <a:chOff x="0" y="0"/>
          <a:chExt cx="0" cy="0"/>
        </a:xfrm>
      </p:grpSpPr>
      <p:sp>
        <p:nvSpPr>
          <p:cNvPr id="16" name="Titel 15">
            <a:extLst>
              <a:ext uri="{FF2B5EF4-FFF2-40B4-BE49-F238E27FC236}">
                <a16:creationId xmlns:a16="http://schemas.microsoft.com/office/drawing/2014/main" id="{072A793A-8DEA-B725-AA0B-5D4AB36E9B89}"/>
              </a:ext>
            </a:extLst>
          </p:cNvPr>
          <p:cNvSpPr>
            <a:spLocks noGrp="1"/>
          </p:cNvSpPr>
          <p:nvPr>
            <p:ph type="title"/>
          </p:nvPr>
        </p:nvSpPr>
        <p:spPr>
          <a:xfrm>
            <a:off x="719138" y="1277938"/>
            <a:ext cx="6369175" cy="646722"/>
          </a:xfrm>
        </p:spPr>
        <p:txBody>
          <a:bodyPr/>
          <a:lstStyle/>
          <a:p>
            <a:r>
              <a:rPr lang="de-DE" dirty="0"/>
              <a:t>Playtime</a:t>
            </a:r>
          </a:p>
        </p:txBody>
      </p:sp>
      <p:sp>
        <p:nvSpPr>
          <p:cNvPr id="3" name="Foliennummernplatzhalter 2">
            <a:extLst>
              <a:ext uri="{FF2B5EF4-FFF2-40B4-BE49-F238E27FC236}">
                <a16:creationId xmlns:a16="http://schemas.microsoft.com/office/drawing/2014/main" id="{62867605-9DC4-9148-9CCF-BF918AF1A214}"/>
              </a:ext>
            </a:extLst>
          </p:cNvPr>
          <p:cNvSpPr>
            <a:spLocks noGrp="1"/>
          </p:cNvSpPr>
          <p:nvPr>
            <p:ph type="sldNum" sz="quarter" idx="4"/>
          </p:nvPr>
        </p:nvSpPr>
        <p:spPr/>
        <p:txBody>
          <a:bodyPr/>
          <a:lstStyle/>
          <a:p>
            <a:fld id="{DF7F771E-9578-4C04-B869-01AF4C35C90C}" type="slidenum">
              <a:rPr lang="en-GB" noProof="0" smtClean="0"/>
              <a:t>63</a:t>
            </a:fld>
            <a:endParaRPr lang="en-GB" noProof="0"/>
          </a:p>
        </p:txBody>
      </p:sp>
      <p:pic>
        <p:nvPicPr>
          <p:cNvPr id="2" name="Graphic 1" descr="Würfel Silhouette">
            <a:extLst>
              <a:ext uri="{FF2B5EF4-FFF2-40B4-BE49-F238E27FC236}">
                <a16:creationId xmlns:a16="http://schemas.microsoft.com/office/drawing/2014/main" id="{8E3D8BB1-5B4D-50BE-375D-61A90FE32A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59045" y="1084235"/>
            <a:ext cx="914419" cy="914400"/>
          </a:xfrm>
          <a:prstGeom prst="rect">
            <a:avLst/>
          </a:prstGeom>
        </p:spPr>
      </p:pic>
      <p:pic>
        <p:nvPicPr>
          <p:cNvPr id="11" name="Graphic 10" descr="Game controller outline">
            <a:extLst>
              <a:ext uri="{FF2B5EF4-FFF2-40B4-BE49-F238E27FC236}">
                <a16:creationId xmlns:a16="http://schemas.microsoft.com/office/drawing/2014/main" id="{A7D04A84-764D-B4CD-7C05-48E16BDE5A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5684" y="1534162"/>
            <a:ext cx="646722" cy="646722"/>
          </a:xfrm>
          <a:prstGeom prst="rect">
            <a:avLst/>
          </a:prstGeom>
        </p:spPr>
      </p:pic>
      <p:pic>
        <p:nvPicPr>
          <p:cNvPr id="5" name="Picture 4">
            <a:extLst>
              <a:ext uri="{FF2B5EF4-FFF2-40B4-BE49-F238E27FC236}">
                <a16:creationId xmlns:a16="http://schemas.microsoft.com/office/drawing/2014/main" id="{B94E41A7-3A98-70EA-E4A5-00CE5D636411}"/>
              </a:ext>
            </a:extLst>
          </p:cNvPr>
          <p:cNvPicPr>
            <a:picLocks noChangeAspect="1"/>
          </p:cNvPicPr>
          <p:nvPr/>
        </p:nvPicPr>
        <p:blipFill>
          <a:blip r:embed="rId6"/>
          <a:stretch>
            <a:fillRect/>
          </a:stretch>
        </p:blipFill>
        <p:spPr>
          <a:xfrm>
            <a:off x="1646917" y="3925110"/>
            <a:ext cx="4381725" cy="3629212"/>
          </a:xfrm>
          <a:prstGeom prst="rect">
            <a:avLst/>
          </a:prstGeom>
        </p:spPr>
      </p:pic>
      <p:sp>
        <p:nvSpPr>
          <p:cNvPr id="8" name="Untertitel 5">
            <a:extLst>
              <a:ext uri="{FF2B5EF4-FFF2-40B4-BE49-F238E27FC236}">
                <a16:creationId xmlns:a16="http://schemas.microsoft.com/office/drawing/2014/main" id="{BE932269-E02A-013D-BED0-7B76175DE60F}"/>
              </a:ext>
            </a:extLst>
          </p:cNvPr>
          <p:cNvSpPr txBox="1">
            <a:spLocks/>
          </p:cNvSpPr>
          <p:nvPr/>
        </p:nvSpPr>
        <p:spPr>
          <a:xfrm>
            <a:off x="729299" y="7671543"/>
            <a:ext cx="3089106" cy="140430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177800" indent="-38100"/>
            <a:r>
              <a:rPr lang="en-GB" sz="1200" u="sng" noProof="0" dirty="0">
                <a:latin typeface="Sofia Sans" panose="020B0604020202020204" charset="0"/>
              </a:rPr>
              <a:t>Across:</a:t>
            </a:r>
          </a:p>
          <a:p>
            <a:pPr marL="177800" indent="-38100"/>
            <a:r>
              <a:rPr lang="en-GB" sz="1200" b="0" noProof="0" dirty="0">
                <a:latin typeface="Sofia Sans" panose="020B0604020202020204" charset="0"/>
              </a:rPr>
              <a:t>3. The unit of power</a:t>
            </a:r>
          </a:p>
          <a:p>
            <a:pPr marL="177800" indent="-38100"/>
            <a:r>
              <a:rPr lang="en-GB" sz="1200" b="0" noProof="0" dirty="0">
                <a:latin typeface="Sofia Sans" panose="020B0604020202020204" charset="0"/>
              </a:rPr>
              <a:t>5. The angle into the wind</a:t>
            </a:r>
          </a:p>
          <a:p>
            <a:pPr marL="177800" indent="-38100"/>
            <a:r>
              <a:rPr lang="en-GB" sz="1200" b="0" noProof="0" dirty="0">
                <a:latin typeface="Sofia Sans" panose="020B0604020202020204" charset="0"/>
              </a:rPr>
              <a:t>7. A machine that converts one form of energy into another</a:t>
            </a:r>
          </a:p>
          <a:p>
            <a:pPr marL="177800" indent="-38100"/>
            <a:r>
              <a:rPr lang="en-GB" sz="1200" b="0" noProof="0" dirty="0">
                <a:latin typeface="Sofia Sans" panose="020B0604020202020204" charset="0"/>
              </a:rPr>
              <a:t>i.e. Mechanical energy into electrical energy</a:t>
            </a:r>
          </a:p>
          <a:p>
            <a:pPr marL="177800" indent="-38100"/>
            <a:r>
              <a:rPr lang="en-GB" sz="1200" b="0" noProof="0" dirty="0">
                <a:latin typeface="Sofia Sans" panose="020B0604020202020204" charset="0"/>
              </a:rPr>
              <a:t>9. The part of the turbine that catches air current</a:t>
            </a:r>
          </a:p>
          <a:p>
            <a:pPr marL="177800" indent="-38100"/>
            <a:r>
              <a:rPr lang="en-GB" sz="1200" b="0" noProof="0" dirty="0">
                <a:latin typeface="Sofia Sans" panose="020B0604020202020204" charset="0"/>
              </a:rPr>
              <a:t>10. Moving air</a:t>
            </a:r>
          </a:p>
          <a:p>
            <a:pPr marL="177800" indent="-38100"/>
            <a:endParaRPr lang="en-GB" sz="1200" b="0" noProof="0" dirty="0">
              <a:latin typeface="Sofia Sans" panose="020B0604020202020204" charset="0"/>
            </a:endParaRPr>
          </a:p>
        </p:txBody>
      </p:sp>
      <p:sp>
        <p:nvSpPr>
          <p:cNvPr id="9" name="Untertitel 5">
            <a:extLst>
              <a:ext uri="{FF2B5EF4-FFF2-40B4-BE49-F238E27FC236}">
                <a16:creationId xmlns:a16="http://schemas.microsoft.com/office/drawing/2014/main" id="{EE6DC59A-A7DC-C36F-AAA4-D8D688486A10}"/>
              </a:ext>
            </a:extLst>
          </p:cNvPr>
          <p:cNvSpPr txBox="1">
            <a:spLocks/>
          </p:cNvSpPr>
          <p:nvPr/>
        </p:nvSpPr>
        <p:spPr>
          <a:xfrm>
            <a:off x="4097560" y="7671543"/>
            <a:ext cx="3089106" cy="174233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177800" indent="-38100"/>
            <a:r>
              <a:rPr lang="en-GB" sz="1200" u="sng" noProof="0">
                <a:latin typeface="Sofia Sans" panose="020B0604020202020204" charset="0"/>
              </a:rPr>
              <a:t>Down</a:t>
            </a:r>
          </a:p>
          <a:p>
            <a:pPr marL="177800" indent="-38100"/>
            <a:r>
              <a:rPr lang="en-GB" sz="1200" b="0" noProof="0">
                <a:latin typeface="Sofia Sans" panose="020B0604020202020204" charset="0"/>
              </a:rPr>
              <a:t>1. Turning the blades away from the wind</a:t>
            </a:r>
          </a:p>
          <a:p>
            <a:pPr marL="177800" indent="-38100"/>
            <a:r>
              <a:rPr lang="en-GB" sz="1200" b="0" noProof="0">
                <a:latin typeface="Sofia Sans" panose="020B0604020202020204" charset="0"/>
              </a:rPr>
              <a:t>2. Holds and protects the generator</a:t>
            </a:r>
          </a:p>
          <a:p>
            <a:pPr marL="177800" indent="-38100"/>
            <a:r>
              <a:rPr lang="en-GB" sz="1200" b="0">
                <a:latin typeface="Sofia Sans" panose="020B0604020202020204" charset="0"/>
              </a:rPr>
              <a:t>4. </a:t>
            </a:r>
            <a:r>
              <a:rPr lang="en-GB" sz="1200" b="0" noProof="0">
                <a:latin typeface="Sofia Sans" panose="020B0604020202020204" charset="0"/>
              </a:rPr>
              <a:t>Machine for collecting energy and converting energy for use as power</a:t>
            </a:r>
          </a:p>
          <a:p>
            <a:pPr marL="177800" indent="-38100"/>
            <a:r>
              <a:rPr lang="en-GB" sz="1200" b="0" noProof="0">
                <a:latin typeface="Sofia Sans" panose="020B0604020202020204" charset="0"/>
              </a:rPr>
              <a:t>6. The part of the turbine that supports the nacelle</a:t>
            </a:r>
          </a:p>
          <a:p>
            <a:pPr marL="177800" indent="-38100"/>
            <a:r>
              <a:rPr lang="en-GB" sz="1200" b="0" noProof="0">
                <a:latin typeface="Sofia Sans" panose="020B0604020202020204" charset="0"/>
              </a:rPr>
              <a:t>8. Cross-sectional shape of a blade</a:t>
            </a:r>
          </a:p>
          <a:p>
            <a:pPr marL="177800" indent="-38100"/>
            <a:endParaRPr lang="en-GB" sz="1200" b="0" noProof="0">
              <a:latin typeface="Sofia Sans" panose="020B0604020202020204" charset="0"/>
            </a:endParaRPr>
          </a:p>
        </p:txBody>
      </p:sp>
      <p:sp>
        <p:nvSpPr>
          <p:cNvPr id="7" name="Untertitel 3">
            <a:extLst>
              <a:ext uri="{FF2B5EF4-FFF2-40B4-BE49-F238E27FC236}">
                <a16:creationId xmlns:a16="http://schemas.microsoft.com/office/drawing/2014/main" id="{F29AAD47-90D2-FB9F-3FBB-1B3CFF1EE008}"/>
              </a:ext>
            </a:extLst>
          </p:cNvPr>
          <p:cNvSpPr txBox="1">
            <a:spLocks/>
          </p:cNvSpPr>
          <p:nvPr/>
        </p:nvSpPr>
        <p:spPr>
          <a:xfrm>
            <a:off x="719138" y="2297403"/>
            <a:ext cx="5925502" cy="10939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77800" indent="-38100" algn="just"/>
            <a:r>
              <a:rPr lang="en-GB" sz="1200" noProof="0" dirty="0">
                <a:latin typeface="Sofia Sans" panose="020B0604020202020204" charset="0"/>
              </a:rPr>
              <a:t>Congratulations on completing this course on wind energy!</a:t>
            </a:r>
          </a:p>
          <a:p>
            <a:pPr marL="136525" indent="3175" algn="just"/>
            <a:r>
              <a:rPr lang="en-GB" sz="1200" b="0" noProof="0" dirty="0">
                <a:latin typeface="Sofia Sans" panose="020B0604020202020204" charset="0"/>
              </a:rPr>
              <a:t>You've learned about how wind turbines work, the science behind wind power, and its role in renewable energy. </a:t>
            </a:r>
          </a:p>
          <a:p>
            <a:pPr marL="177800" indent="-38100" algn="just"/>
            <a:r>
              <a:rPr lang="en-GB" sz="1200" b="0" noProof="0" dirty="0">
                <a:latin typeface="Sofia Sans" panose="020B0604020202020204" charset="0"/>
              </a:rPr>
              <a:t>Now you can put your knowledge to the test with a fun wind energy crossword puzzle!</a:t>
            </a:r>
          </a:p>
          <a:p>
            <a:pPr marL="136525" indent="3175" algn="just"/>
            <a:r>
              <a:rPr lang="en-GB" sz="1200" b="0" noProof="0" dirty="0">
                <a:latin typeface="Sofia Sans" panose="020B0604020202020204" charset="0"/>
              </a:rPr>
              <a:t>This puzzle challenges you with key terms related to wind energy - let's see how many you can get right! Get ready to have fun and reinforce what you've learned. </a:t>
            </a:r>
            <a:endParaRPr lang="en-GB" noProof="0" dirty="0"/>
          </a:p>
        </p:txBody>
      </p:sp>
    </p:spTree>
    <p:extLst>
      <p:ext uri="{BB962C8B-B14F-4D97-AF65-F5344CB8AC3E}">
        <p14:creationId xmlns:p14="http://schemas.microsoft.com/office/powerpoint/2010/main" val="16401009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 name="Grafik 1" descr="Ein Bild, das Cartoon enthält.&#10;&#10;Automatisch generierte Beschreibung">
            <a:extLst>
              <a:ext uri="{FF2B5EF4-FFF2-40B4-BE49-F238E27FC236}">
                <a16:creationId xmlns:a16="http://schemas.microsoft.com/office/drawing/2014/main" id="{0BFF40D5-6F2E-0335-E568-C32556BE57D9}"/>
              </a:ext>
            </a:extLst>
          </p:cNvPr>
          <p:cNvPicPr>
            <a:picLocks noChangeAspect="1"/>
          </p:cNvPicPr>
          <p:nvPr/>
        </p:nvPicPr>
        <p:blipFill rotWithShape="1">
          <a:blip r:embed="rId3"/>
          <a:srcRect l="4455" t="75741" r="75134" b="4504"/>
          <a:stretch/>
        </p:blipFill>
        <p:spPr>
          <a:xfrm>
            <a:off x="2712631" y="4945989"/>
            <a:ext cx="1389653" cy="1389653"/>
          </a:xfrm>
          <a:prstGeom prst="ellipse">
            <a:avLst/>
          </a:prstGeom>
        </p:spPr>
      </p:pic>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Titel 2">
            <a:extLst>
              <a:ext uri="{FF2B5EF4-FFF2-40B4-BE49-F238E27FC236}">
                <a16:creationId xmlns:a16="http://schemas.microsoft.com/office/drawing/2014/main" id="{09B6353F-CB41-C93E-F3AB-4184CA505A42}"/>
              </a:ext>
            </a:extLst>
          </p:cNvPr>
          <p:cNvSpPr>
            <a:spLocks noGrp="1"/>
          </p:cNvSpPr>
          <p:nvPr>
            <p:ph type="ctrTitle"/>
          </p:nvPr>
        </p:nvSpPr>
        <p:spPr>
          <a:xfrm>
            <a:off x="2712632" y="5783342"/>
            <a:ext cx="4069908" cy="1389655"/>
          </a:xfrm>
        </p:spPr>
        <p:txBody>
          <a:bodyPr/>
          <a:lstStyle/>
          <a:p>
            <a:r>
              <a:rPr lang="en-GB" sz="4000" noProof="0">
                <a:solidFill>
                  <a:srgbClr val="FFFFFF"/>
                </a:solidFill>
              </a:rPr>
              <a:t>Well done!</a:t>
            </a:r>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sp>
        <p:nvSpPr>
          <p:cNvPr id="4" name="Textfeld 3">
            <a:extLst>
              <a:ext uri="{FF2B5EF4-FFF2-40B4-BE49-F238E27FC236}">
                <a16:creationId xmlns:a16="http://schemas.microsoft.com/office/drawing/2014/main" id="{49C805EC-2EA4-FD71-C144-81A51191A0B9}"/>
              </a:ext>
            </a:extLst>
          </p:cNvPr>
          <p:cNvSpPr txBox="1"/>
          <p:nvPr/>
        </p:nvSpPr>
        <p:spPr>
          <a:xfrm>
            <a:off x="739023" y="9969471"/>
            <a:ext cx="3557894" cy="307777"/>
          </a:xfrm>
          <a:prstGeom prst="rect">
            <a:avLst/>
          </a:prstGeom>
          <a:noFill/>
        </p:spPr>
        <p:txBody>
          <a:bodyPr wrap="square" rtlCol="0">
            <a:spAutoFit/>
          </a:bodyPr>
          <a:lstStyle/>
          <a:p>
            <a:r>
              <a:rPr lang="en-GB" b="0" i="0" noProof="0">
                <a:solidFill>
                  <a:srgbClr val="374957"/>
                </a:solidFill>
                <a:effectLst/>
                <a:highlight>
                  <a:srgbClr val="FFFFFF"/>
                </a:highlight>
                <a:latin typeface="Inter"/>
              </a:rPr>
              <a:t>Designed by </a:t>
            </a:r>
            <a:r>
              <a:rPr lang="en-GB" b="0" i="0" noProof="0" err="1">
                <a:solidFill>
                  <a:srgbClr val="374957"/>
                </a:solidFill>
                <a:effectLst/>
                <a:highlight>
                  <a:srgbClr val="FFFFFF"/>
                </a:highlight>
                <a:latin typeface="Inter"/>
              </a:rPr>
              <a:t>Slidesgo</a:t>
            </a:r>
            <a:r>
              <a:rPr lang="en-GB" b="0" i="0" noProof="0">
                <a:solidFill>
                  <a:srgbClr val="374957"/>
                </a:solidFill>
                <a:effectLst/>
                <a:highlight>
                  <a:srgbClr val="FFFFFF"/>
                </a:highlight>
                <a:latin typeface="Inter"/>
              </a:rPr>
              <a:t> und </a:t>
            </a:r>
            <a:r>
              <a:rPr lang="en-GB" b="0" i="0" noProof="0" err="1">
                <a:solidFill>
                  <a:srgbClr val="374957"/>
                </a:solidFill>
                <a:effectLst/>
                <a:highlight>
                  <a:srgbClr val="FFFFFF"/>
                </a:highlight>
                <a:latin typeface="Inter"/>
              </a:rPr>
              <a:t>Freepik</a:t>
            </a:r>
            <a:endParaRPr lang="en-GB" noProof="0"/>
          </a:p>
        </p:txBody>
      </p:sp>
      <p:pic>
        <p:nvPicPr>
          <p:cNvPr id="5" name="Grafik 4" descr="Ein Bild, das Karte, Text, Kreis, Logo enthält.&#10;&#10;KI-generierte Inhalte können fehlerhaft sein.">
            <a:extLst>
              <a:ext uri="{FF2B5EF4-FFF2-40B4-BE49-F238E27FC236}">
                <a16:creationId xmlns:a16="http://schemas.microsoft.com/office/drawing/2014/main" id="{D885033F-6DA5-30C4-97E6-C60D58D7F2DD}"/>
              </a:ext>
            </a:extLst>
          </p:cNvPr>
          <p:cNvPicPr>
            <a:picLocks noChangeAspect="1"/>
          </p:cNvPicPr>
          <p:nvPr/>
        </p:nvPicPr>
        <p:blipFill>
          <a:blip r:embed="rId4"/>
          <a:stretch>
            <a:fillRect/>
          </a:stretch>
        </p:blipFill>
        <p:spPr>
          <a:xfrm>
            <a:off x="6640232" y="165957"/>
            <a:ext cx="763859" cy="763859"/>
          </a:xfrm>
          <a:prstGeom prst="flowChartConnector">
            <a:avLst/>
          </a:prstGeom>
        </p:spPr>
      </p:pic>
    </p:spTree>
    <p:extLst>
      <p:ext uri="{BB962C8B-B14F-4D97-AF65-F5344CB8AC3E}">
        <p14:creationId xmlns:p14="http://schemas.microsoft.com/office/powerpoint/2010/main" val="2307933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13B17-CE89-DBE6-A80A-B0C84F354148}"/>
            </a:ext>
          </a:extLst>
        </p:cNvPr>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7BDB8900-7BD0-5E98-B619-E0EB2A4F4F50}"/>
              </a:ext>
            </a:extLst>
          </p:cNvPr>
          <p:cNvSpPr>
            <a:spLocks noGrp="1"/>
          </p:cNvSpPr>
          <p:nvPr>
            <p:ph type="sldNum" sz="quarter" idx="4"/>
          </p:nvPr>
        </p:nvSpPr>
        <p:spPr/>
        <p:txBody>
          <a:bodyPr/>
          <a:lstStyle/>
          <a:p>
            <a:fld id="{DF7F771E-9578-4C04-B869-01AF4C35C90C}" type="slidenum">
              <a:rPr lang="en-GB" noProof="0" smtClean="0"/>
              <a:t>7</a:t>
            </a:fld>
            <a:endParaRPr lang="en-GB" noProof="0"/>
          </a:p>
        </p:txBody>
      </p:sp>
      <p:sp>
        <p:nvSpPr>
          <p:cNvPr id="3" name="Untertitel 3">
            <a:extLst>
              <a:ext uri="{FF2B5EF4-FFF2-40B4-BE49-F238E27FC236}">
                <a16:creationId xmlns:a16="http://schemas.microsoft.com/office/drawing/2014/main" id="{BD19C999-E8C2-375C-5E57-DDB082794F07}"/>
              </a:ext>
            </a:extLst>
          </p:cNvPr>
          <p:cNvSpPr txBox="1">
            <a:spLocks/>
          </p:cNvSpPr>
          <p:nvPr/>
        </p:nvSpPr>
        <p:spPr>
          <a:xfrm>
            <a:off x="719138" y="1277938"/>
            <a:ext cx="6321425" cy="86906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0" indent="0">
              <a:lnSpc>
                <a:spcPct val="114999"/>
              </a:lnSpc>
              <a:spcAft>
                <a:spcPts val="600"/>
              </a:spcAft>
            </a:pPr>
            <a:r>
              <a:rPr lang="en-GB" sz="1200" b="1" noProof="0" dirty="0">
                <a:solidFill>
                  <a:schemeClr val="tx1"/>
                </a:solidFill>
              </a:rPr>
              <a:t>Voltage</a:t>
            </a:r>
            <a:r>
              <a:rPr lang="en-GB" sz="1200" noProof="0" dirty="0">
                <a:solidFill>
                  <a:schemeClr val="tx1"/>
                </a:solidFill>
              </a:rPr>
              <a:t>: Voltage is like the "pressure" in an electrical circuit. It tells us how strongly the electricity is being pushed through wires. The unit is Volt (V).</a:t>
            </a:r>
          </a:p>
          <a:p>
            <a:pPr marL="0" indent="0">
              <a:lnSpc>
                <a:spcPct val="114999"/>
              </a:lnSpc>
              <a:spcAft>
                <a:spcPts val="600"/>
              </a:spcAft>
            </a:pPr>
            <a:r>
              <a:rPr lang="en-GB" sz="1200" b="1" noProof="0" dirty="0">
                <a:solidFill>
                  <a:schemeClr val="tx1"/>
                </a:solidFill>
              </a:rPr>
              <a:t>Wind</a:t>
            </a:r>
            <a:r>
              <a:rPr lang="en-GB" sz="1200" noProof="0" dirty="0">
                <a:solidFill>
                  <a:schemeClr val="tx1"/>
                </a:solidFill>
              </a:rPr>
              <a:t>: Wind is moving air in the atmosphere. It happens when the air heats up differently in different places and moves around.</a:t>
            </a:r>
          </a:p>
          <a:p>
            <a:pPr marL="0" indent="0">
              <a:lnSpc>
                <a:spcPct val="114999"/>
              </a:lnSpc>
              <a:spcAft>
                <a:spcPts val="600"/>
              </a:spcAft>
            </a:pPr>
            <a:r>
              <a:rPr lang="en-GB" sz="1200" b="1" noProof="0" dirty="0">
                <a:solidFill>
                  <a:schemeClr val="tx1"/>
                </a:solidFill>
              </a:rPr>
              <a:t>Wind energy</a:t>
            </a:r>
            <a:r>
              <a:rPr lang="en-GB" sz="1200" noProof="0" dirty="0">
                <a:solidFill>
                  <a:schemeClr val="tx1"/>
                </a:solidFill>
              </a:rPr>
              <a:t>: Wind energy is the energy created by the movement of the wind. Wind turbines can turn this movement into electricity, which we can use in our homes!</a:t>
            </a:r>
          </a:p>
          <a:p>
            <a:pPr marL="0" indent="0">
              <a:lnSpc>
                <a:spcPct val="114999"/>
              </a:lnSpc>
              <a:spcAft>
                <a:spcPts val="600"/>
              </a:spcAft>
            </a:pPr>
            <a:r>
              <a:rPr lang="en-GB" sz="1200" b="1" noProof="0" dirty="0">
                <a:solidFill>
                  <a:schemeClr val="tx1"/>
                </a:solidFill>
              </a:rPr>
              <a:t>Wind speed</a:t>
            </a:r>
            <a:r>
              <a:rPr lang="en-GB" sz="1200" noProof="0" dirty="0">
                <a:solidFill>
                  <a:schemeClr val="tx1"/>
                </a:solidFill>
              </a:rPr>
              <a:t>: Measures how fast the wind is blowing in meters per second. → Higher wind speed means more energy can be harvested by wind turbines.</a:t>
            </a:r>
          </a:p>
          <a:p>
            <a:pPr marL="0" indent="0">
              <a:lnSpc>
                <a:spcPct val="114999"/>
              </a:lnSpc>
              <a:spcAft>
                <a:spcPts val="600"/>
              </a:spcAft>
            </a:pPr>
            <a:r>
              <a:rPr lang="en-GB" sz="1200" b="1" noProof="0" dirty="0">
                <a:solidFill>
                  <a:schemeClr val="tx1"/>
                </a:solidFill>
              </a:rPr>
              <a:t>Work</a:t>
            </a:r>
            <a:r>
              <a:rPr lang="en-GB" sz="1200" noProof="0" dirty="0">
                <a:solidFill>
                  <a:schemeClr val="tx1"/>
                </a:solidFill>
              </a:rPr>
              <a:t>: In physics, work happens when a force moves an object over a distance. For wind turbines, the wind applies force to the blades, causing them to spin and generate energy.</a:t>
            </a:r>
          </a:p>
          <a:p>
            <a:pPr marL="114300" indent="0">
              <a:lnSpc>
                <a:spcPct val="114999"/>
              </a:lnSpc>
            </a:pPr>
            <a:endParaRPr lang="en-GB" sz="1200" noProof="0" dirty="0"/>
          </a:p>
        </p:txBody>
      </p:sp>
    </p:spTree>
    <p:extLst>
      <p:ext uri="{BB962C8B-B14F-4D97-AF65-F5344CB8AC3E}">
        <p14:creationId xmlns:p14="http://schemas.microsoft.com/office/powerpoint/2010/main" val="1314855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lang="en-GB" sz="1488" noProof="0"/>
          </a:p>
        </p:txBody>
      </p:sp>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GB" sz="3450" noProof="0"/>
              <a:t>Wind Energy Education HUB</a:t>
            </a:r>
          </a:p>
          <a:p>
            <a:r>
              <a:rPr lang="en-GB" sz="3450" b="0" noProof="0"/>
              <a:t>Chapter 1</a:t>
            </a:r>
          </a:p>
        </p:txBody>
      </p:sp>
      <p:sp>
        <p:nvSpPr>
          <p:cNvPr id="327" name="Google Shape;327;p24"/>
          <p:cNvSpPr txBox="1">
            <a:spLocks noGrp="1"/>
          </p:cNvSpPr>
          <p:nvPr>
            <p:ph type="subTitle" idx="1"/>
          </p:nvPr>
        </p:nvSpPr>
        <p:spPr>
          <a:xfrm>
            <a:off x="2753754" y="5992363"/>
            <a:ext cx="4216106" cy="549115"/>
          </a:xfrm>
          <a:prstGeom prst="rect">
            <a:avLst/>
          </a:prstGeom>
          <a:solidFill>
            <a:schemeClr val="tx2">
              <a:lumMod val="60000"/>
              <a:lumOff val="40000"/>
            </a:schemeClr>
          </a:solidFill>
          <a:ln>
            <a:noFill/>
          </a:ln>
        </p:spPr>
        <p:txBody>
          <a:bodyPr spcFirstLastPara="1" wrap="square" lIns="75584" tIns="75584" rIns="75584" bIns="75584" anchor="ctr" anchorCtr="0">
            <a:noAutofit/>
          </a:bodyPr>
          <a:lstStyle/>
          <a:p>
            <a:pPr marL="0" indent="0"/>
            <a:r>
              <a:rPr lang="en-GB" sz="2800" b="1" noProof="0"/>
              <a:t>Wind Basics</a:t>
            </a:r>
          </a:p>
        </p:txBody>
      </p: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Gleichschenkliges Dreieck 6">
            <a:extLst>
              <a:ext uri="{FF2B5EF4-FFF2-40B4-BE49-F238E27FC236}">
                <a16:creationId xmlns:a16="http://schemas.microsoft.com/office/drawing/2014/main" id="{3BD4C45A-9326-0D67-F95B-A3B0F062B903}"/>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 name="Grafik 1" descr="Ein Bild, das Text, Grafiken, Logo, Screenshot enthält.&#10;&#10;Automatisch generierte Beschreibung">
            <a:extLst>
              <a:ext uri="{FF2B5EF4-FFF2-40B4-BE49-F238E27FC236}">
                <a16:creationId xmlns:a16="http://schemas.microsoft.com/office/drawing/2014/main" id="{7FA0AF6A-4443-7347-6EF3-130C006574DB}"/>
              </a:ext>
            </a:extLst>
          </p:cNvPr>
          <p:cNvPicPr>
            <a:picLocks noChangeAspect="1"/>
          </p:cNvPicPr>
          <p:nvPr/>
        </p:nvPicPr>
        <p:blipFill rotWithShape="1">
          <a:blip r:embed="rId3"/>
          <a:srcRect l="27910" t="51063" r="50875" b="27502"/>
          <a:stretch/>
        </p:blipFill>
        <p:spPr>
          <a:xfrm>
            <a:off x="762883" y="4736714"/>
            <a:ext cx="1669323" cy="1650923"/>
          </a:xfrm>
          <a:prstGeom prst="ellipse">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en-GB" noProof="0" smtClean="0"/>
              <a:t>9</a:t>
            </a:fld>
            <a:endParaRPr lang="en-GB" noProof="0"/>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734590" y="1295635"/>
            <a:ext cx="6369175" cy="519708"/>
          </a:xfrm>
        </p:spPr>
        <p:txBody>
          <a:bodyPr/>
          <a:lstStyle/>
          <a:p>
            <a:r>
              <a:rPr lang="en-GB" noProof="0" dirty="0"/>
              <a:t>Wind energy basics</a:t>
            </a:r>
          </a:p>
        </p:txBody>
      </p:sp>
      <p:sp>
        <p:nvSpPr>
          <p:cNvPr id="9" name="Untertitel 3">
            <a:extLst>
              <a:ext uri="{FF2B5EF4-FFF2-40B4-BE49-F238E27FC236}">
                <a16:creationId xmlns:a16="http://schemas.microsoft.com/office/drawing/2014/main" id="{B6B497AA-972B-9F4E-E175-1E7500A7D45E}"/>
              </a:ext>
            </a:extLst>
          </p:cNvPr>
          <p:cNvSpPr txBox="1">
            <a:spLocks/>
          </p:cNvSpPr>
          <p:nvPr/>
        </p:nvSpPr>
        <p:spPr>
          <a:xfrm>
            <a:off x="752140" y="2923965"/>
            <a:ext cx="5470221" cy="18558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GB" sz="1200" dirty="0"/>
              <a:t>In this chapter, we will find out about the following basics:</a:t>
            </a:r>
          </a:p>
          <a:p>
            <a:pPr>
              <a:buFont typeface="Arial" panose="020B0604020202020204" pitchFamily="34" charset="0"/>
              <a:buChar char="•"/>
            </a:pPr>
            <a:r>
              <a:rPr lang="en-GB" sz="1200" noProof="0" dirty="0"/>
              <a:t>Energy in general</a:t>
            </a:r>
          </a:p>
          <a:p>
            <a:pPr>
              <a:buFont typeface="Arial" panose="020B0604020202020204" pitchFamily="34" charset="0"/>
              <a:buChar char="•"/>
            </a:pPr>
            <a:r>
              <a:rPr lang="en-GB" sz="1200" noProof="0" dirty="0"/>
              <a:t>Renewable and Non-Renewable Energy Sources</a:t>
            </a:r>
          </a:p>
          <a:p>
            <a:pPr>
              <a:lnSpc>
                <a:spcPct val="114999"/>
              </a:lnSpc>
              <a:buFont typeface="Arial" panose="020B0604020202020204" pitchFamily="34" charset="0"/>
              <a:buChar char="•"/>
            </a:pPr>
            <a:r>
              <a:rPr lang="en-GB" sz="1200" noProof="0" dirty="0"/>
              <a:t>Characteristics of wind</a:t>
            </a:r>
          </a:p>
          <a:p>
            <a:pPr>
              <a:lnSpc>
                <a:spcPct val="114999"/>
              </a:lnSpc>
              <a:buFont typeface="Arial" panose="020B0604020202020204" pitchFamily="34" charset="0"/>
              <a:buChar char="•"/>
            </a:pPr>
            <a:r>
              <a:rPr lang="en-GB" sz="1200" noProof="0" dirty="0"/>
              <a:t>Wind energy</a:t>
            </a:r>
          </a:p>
          <a:p>
            <a:pPr>
              <a:lnSpc>
                <a:spcPct val="114999"/>
              </a:lnSpc>
              <a:buFont typeface="Arial" panose="020B0604020202020204" pitchFamily="34" charset="0"/>
              <a:buChar char="•"/>
            </a:pPr>
            <a:r>
              <a:rPr lang="en-GB" sz="1200" noProof="0" dirty="0"/>
              <a:t>Windy places</a:t>
            </a:r>
          </a:p>
          <a:p>
            <a:pPr>
              <a:lnSpc>
                <a:spcPct val="114999"/>
              </a:lnSpc>
              <a:buFont typeface="Arial" panose="020B0604020202020204" pitchFamily="34" charset="0"/>
              <a:buChar char="•"/>
            </a:pPr>
            <a:r>
              <a:rPr lang="en-GB" sz="1200" noProof="0" dirty="0"/>
              <a:t>How to use the wind atlas</a:t>
            </a:r>
          </a:p>
          <a:p>
            <a:pPr>
              <a:lnSpc>
                <a:spcPct val="114999"/>
              </a:lnSpc>
              <a:buFont typeface="Arial" panose="020B0604020202020204" pitchFamily="34" charset="0"/>
              <a:buChar char="•"/>
            </a:pPr>
            <a:r>
              <a:rPr lang="en-GB" sz="1200" noProof="0" dirty="0"/>
              <a:t>Different stakeholder positions regarding the implementation of wind energy</a:t>
            </a:r>
          </a:p>
        </p:txBody>
      </p:sp>
      <p:sp>
        <p:nvSpPr>
          <p:cNvPr id="10" name="Titel 1">
            <a:extLst>
              <a:ext uri="{FF2B5EF4-FFF2-40B4-BE49-F238E27FC236}">
                <a16:creationId xmlns:a16="http://schemas.microsoft.com/office/drawing/2014/main" id="{524DDB5D-2C36-2D8F-EE1D-A2D0A61EFFA9}"/>
              </a:ext>
            </a:extLst>
          </p:cNvPr>
          <p:cNvSpPr txBox="1">
            <a:spLocks/>
          </p:cNvSpPr>
          <p:nvPr/>
        </p:nvSpPr>
        <p:spPr>
          <a:xfrm>
            <a:off x="719138" y="1815344"/>
            <a:ext cx="6418203" cy="100580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en-GB" sz="2400" b="0" dirty="0"/>
              <a:t>Learn about energy, wind energy and the wind atlas. </a:t>
            </a:r>
          </a:p>
        </p:txBody>
      </p:sp>
      <p:sp>
        <p:nvSpPr>
          <p:cNvPr id="2" name="Untertitel 3">
            <a:extLst>
              <a:ext uri="{FF2B5EF4-FFF2-40B4-BE49-F238E27FC236}">
                <a16:creationId xmlns:a16="http://schemas.microsoft.com/office/drawing/2014/main" id="{BF4A43F6-3684-F5A5-85F1-EEDC996D624E}"/>
              </a:ext>
            </a:extLst>
          </p:cNvPr>
          <p:cNvSpPr txBox="1">
            <a:spLocks/>
          </p:cNvSpPr>
          <p:nvPr/>
        </p:nvSpPr>
        <p:spPr>
          <a:xfrm>
            <a:off x="735404" y="5359695"/>
            <a:ext cx="5966942" cy="521455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44000" indent="0"/>
            <a:r>
              <a:rPr lang="en-GB" sz="1200" dirty="0"/>
              <a:t>At the end of this chapter, you will:</a:t>
            </a:r>
          </a:p>
          <a:p>
            <a:pPr>
              <a:lnSpc>
                <a:spcPct val="114999"/>
              </a:lnSpc>
            </a:pPr>
            <a:endParaRPr lang="en-GB" sz="1200" noProof="0" dirty="0"/>
          </a:p>
          <a:p>
            <a:pPr>
              <a:lnSpc>
                <a:spcPct val="114999"/>
              </a:lnSpc>
              <a:buFont typeface="Arial" panose="020B0604020202020204" pitchFamily="34" charset="0"/>
              <a:buChar char="•"/>
            </a:pPr>
            <a:r>
              <a:rPr lang="en-GB" sz="1200" b="1" noProof="0" dirty="0"/>
              <a:t>Understand the basics of wind energy: </a:t>
            </a:r>
            <a:r>
              <a:rPr lang="en-GB" sz="1200" noProof="0" dirty="0"/>
              <a:t>Gain a comprehensive understanding of energy in general and how wind energy is harnessed, including the principles of wind power generation using turbines.</a:t>
            </a:r>
          </a:p>
          <a:p>
            <a:pPr>
              <a:lnSpc>
                <a:spcPct val="114999"/>
              </a:lnSpc>
              <a:buFont typeface="Arial" panose="020B0604020202020204" pitchFamily="34" charset="0"/>
              <a:buChar char="•"/>
            </a:pPr>
            <a:r>
              <a:rPr lang="en-GB" sz="1200" b="1" noProof="0" dirty="0"/>
              <a:t>Know the differences of renewable and non-renewable energy sources:</a:t>
            </a:r>
            <a:r>
              <a:rPr lang="en-GB" sz="1200" noProof="0" dirty="0"/>
              <a:t> Be able to allocate different energy sources correctly.</a:t>
            </a:r>
          </a:p>
          <a:p>
            <a:pPr>
              <a:lnSpc>
                <a:spcPct val="114999"/>
              </a:lnSpc>
              <a:buFont typeface="Arial" panose="020B0604020202020204" pitchFamily="34" charset="0"/>
              <a:buChar char="•"/>
            </a:pPr>
            <a:r>
              <a:rPr lang="en-GB" sz="1200" b="1" noProof="0" dirty="0"/>
              <a:t>Explore key factors affecting wind speed and power:</a:t>
            </a:r>
            <a:r>
              <a:rPr lang="en-GB" sz="1200" noProof="0" dirty="0"/>
              <a:t> Learn about factors such as wind speed, altitude, location, and environmental conditions that influence wind energy production.</a:t>
            </a:r>
          </a:p>
          <a:p>
            <a:pPr>
              <a:lnSpc>
                <a:spcPct val="114999"/>
              </a:lnSpc>
              <a:buFont typeface="Arial" panose="020B0604020202020204" pitchFamily="34" charset="0"/>
              <a:buChar char="•"/>
            </a:pPr>
            <a:r>
              <a:rPr lang="en-GB" sz="1200" b="1" noProof="0" dirty="0" err="1"/>
              <a:t>Analyze</a:t>
            </a:r>
            <a:r>
              <a:rPr lang="en-GB" sz="1200" b="1" noProof="0" dirty="0"/>
              <a:t> different wind energy sources:</a:t>
            </a:r>
            <a:r>
              <a:rPr lang="en-GB" sz="1200" noProof="0" dirty="0"/>
              <a:t> Evaluate the differences between high places, open spaces, coastal regions, and offshore areas in terms of wind energy potential.</a:t>
            </a:r>
          </a:p>
          <a:p>
            <a:pPr>
              <a:lnSpc>
                <a:spcPct val="114999"/>
              </a:lnSpc>
              <a:buFont typeface="Arial" panose="020B0604020202020204" pitchFamily="34" charset="0"/>
              <a:buChar char="•"/>
            </a:pPr>
            <a:r>
              <a:rPr lang="en-GB" sz="1200" b="1" noProof="0" dirty="0"/>
              <a:t>Understand the mechanism of wind:</a:t>
            </a:r>
            <a:r>
              <a:rPr lang="en-GB" sz="1200" noProof="0" dirty="0"/>
              <a:t> Gain insight into the dynamics of sea breeze vs. land breeze and how these mechanisms affect wind power.</a:t>
            </a:r>
          </a:p>
          <a:p>
            <a:pPr>
              <a:lnSpc>
                <a:spcPct val="114999"/>
              </a:lnSpc>
              <a:buFont typeface="Arial" panose="020B0604020202020204" pitchFamily="34" charset="0"/>
              <a:buChar char="•"/>
            </a:pPr>
            <a:r>
              <a:rPr lang="en-GB" sz="1200" b="1" noProof="0" dirty="0"/>
              <a:t>Explore offshore wind energy:</a:t>
            </a:r>
            <a:r>
              <a:rPr lang="en-GB" sz="1200" noProof="0" dirty="0"/>
              <a:t> Learn about offshore wind turbines and their advantages in capturing stronger, more consistent winds.</a:t>
            </a:r>
          </a:p>
          <a:p>
            <a:pPr>
              <a:lnSpc>
                <a:spcPct val="114999"/>
              </a:lnSpc>
              <a:buFont typeface="Arial" panose="020B0604020202020204" pitchFamily="34" charset="0"/>
              <a:buChar char="•"/>
            </a:pPr>
            <a:r>
              <a:rPr lang="en-GB" sz="1200" b="1" noProof="0" dirty="0"/>
              <a:t>Understand the concept of the wind atlas:</a:t>
            </a:r>
            <a:r>
              <a:rPr lang="en-GB" sz="1200" noProof="0" dirty="0"/>
              <a:t> Get to know the wind atlas and which it can be a valuable tool to assess the quality of a region.</a:t>
            </a:r>
          </a:p>
          <a:p>
            <a:pPr>
              <a:lnSpc>
                <a:spcPct val="114999"/>
              </a:lnSpc>
              <a:buFont typeface="Arial" panose="020B0604020202020204" pitchFamily="34" charset="0"/>
              <a:buChar char="•"/>
            </a:pPr>
            <a:r>
              <a:rPr lang="en-GB" sz="1200" b="1" noProof="0" dirty="0"/>
              <a:t>Assess and apply wind energy in real-world contexts:</a:t>
            </a:r>
            <a:r>
              <a:rPr lang="en-GB" sz="1200" noProof="0" dirty="0"/>
              <a:t> Develop an understanding of how different stakeholders see the topic of wind energy and how to come up with a solution, which incorporates all view-points. </a:t>
            </a:r>
          </a:p>
          <a:p>
            <a:pPr>
              <a:lnSpc>
                <a:spcPct val="114999"/>
              </a:lnSpc>
            </a:pPr>
            <a:endParaRPr lang="en-GB" sz="1200" noProof="0" dirty="0"/>
          </a:p>
        </p:txBody>
      </p:sp>
      <p:sp>
        <p:nvSpPr>
          <p:cNvPr id="3" name="Untertitel 5">
            <a:extLst>
              <a:ext uri="{FF2B5EF4-FFF2-40B4-BE49-F238E27FC236}">
                <a16:creationId xmlns:a16="http://schemas.microsoft.com/office/drawing/2014/main" id="{F6F5A270-E5B3-1C34-7F0A-AEC95FE0FDDA}"/>
              </a:ext>
            </a:extLst>
          </p:cNvPr>
          <p:cNvSpPr txBox="1">
            <a:spLocks/>
          </p:cNvSpPr>
          <p:nvPr/>
        </p:nvSpPr>
        <p:spPr>
          <a:xfrm>
            <a:off x="729719" y="492523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GB" sz="1200" noProof="0" dirty="0">
                <a:solidFill>
                  <a:schemeClr val="accent2"/>
                </a:solidFill>
              </a:rPr>
              <a:t>Learning objectives</a:t>
            </a:r>
          </a:p>
        </p:txBody>
      </p:sp>
    </p:spTree>
    <p:extLst>
      <p:ext uri="{BB962C8B-B14F-4D97-AF65-F5344CB8AC3E}">
        <p14:creationId xmlns:p14="http://schemas.microsoft.com/office/powerpoint/2010/main" val="2457093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ectrical Energy and Power in Physics by Slidesgo">
  <a:themeElements>
    <a:clrScheme name="Benutzerdefiniert 10">
      <a:dk1>
        <a:srgbClr val="333333"/>
      </a:dk1>
      <a:lt1>
        <a:srgbClr val="315544"/>
      </a:lt1>
      <a:dk2>
        <a:srgbClr val="F5F3EF"/>
      </a:dk2>
      <a:lt2>
        <a:srgbClr val="63AA8A"/>
      </a:lt2>
      <a:accent1>
        <a:srgbClr val="CFE3D9"/>
      </a:accent1>
      <a:accent2>
        <a:srgbClr val="315544"/>
      </a:accent2>
      <a:accent3>
        <a:srgbClr val="CEA634"/>
      </a:accent3>
      <a:accent4>
        <a:srgbClr val="BD6762"/>
      </a:accent4>
      <a:accent5>
        <a:srgbClr val="97453F"/>
      </a:accent5>
      <a:accent6>
        <a:srgbClr val="BDC1C5"/>
      </a:accent6>
      <a:hlink>
        <a:srgbClr val="333333"/>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165D6A8B98D0F4FB158B27E667A45EA" ma:contentTypeVersion="12" ma:contentTypeDescription="Ein neues Dokument erstellen." ma:contentTypeScope="" ma:versionID="d646bc2ede1e097566c4056ec87e48a6">
  <xsd:schema xmlns:xsd="http://www.w3.org/2001/XMLSchema" xmlns:xs="http://www.w3.org/2001/XMLSchema" xmlns:p="http://schemas.microsoft.com/office/2006/metadata/properties" xmlns:ns2="181540e7-131f-4e26-b2a0-b0b0a6619349" xmlns:ns3="ecb5eb42-8f9c-4501-ae84-225180f68d18" targetNamespace="http://schemas.microsoft.com/office/2006/metadata/properties" ma:root="true" ma:fieldsID="9bc74f8044df099d418e379c7b2ffdd1" ns2:_="" ns3:_="">
    <xsd:import namespace="181540e7-131f-4e26-b2a0-b0b0a6619349"/>
    <xsd:import namespace="ecb5eb42-8f9c-4501-ae84-225180f68d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1540e7-131f-4e26-b2a0-b0b0a66193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14ae72d6-1d51-44e0-a414-869ae22c088a"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cb5eb42-8f9c-4501-ae84-225180f68d1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89a89f1-caae-47b2-9505-1c24c71c4b6a}" ma:internalName="TaxCatchAll" ma:showField="CatchAllData" ma:web="ecb5eb42-8f9c-4501-ae84-225180f68d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81540e7-131f-4e26-b2a0-b0b0a6619349">
      <Terms xmlns="http://schemas.microsoft.com/office/infopath/2007/PartnerControls"/>
    </lcf76f155ced4ddcb4097134ff3c332f>
    <TaxCatchAll xmlns="ecb5eb42-8f9c-4501-ae84-225180f68d18" xsi:nil="true"/>
  </documentManagement>
</p:properties>
</file>

<file path=customXml/itemProps1.xml><?xml version="1.0" encoding="utf-8"?>
<ds:datastoreItem xmlns:ds="http://schemas.openxmlformats.org/officeDocument/2006/customXml" ds:itemID="{CD7E61CB-0553-4482-9208-80E2839441DB}">
  <ds:schemaRefs>
    <ds:schemaRef ds:uri="181540e7-131f-4e26-b2a0-b0b0a6619349"/>
    <ds:schemaRef ds:uri="ecb5eb42-8f9c-4501-ae84-225180f68d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7342551-19C1-4ACD-A17E-0964D2B2E147}">
  <ds:schemaRefs>
    <ds:schemaRef ds:uri="http://schemas.microsoft.com/sharepoint/v3/contenttype/forms"/>
  </ds:schemaRefs>
</ds:datastoreItem>
</file>

<file path=customXml/itemProps3.xml><?xml version="1.0" encoding="utf-8"?>
<ds:datastoreItem xmlns:ds="http://schemas.openxmlformats.org/officeDocument/2006/customXml" ds:itemID="{9BB26B82-AD65-47F9-A15A-8B75F4BDE6CA}">
  <ds:schemaRefs>
    <ds:schemaRef ds:uri="http://purl.org/dc/elements/1.1/"/>
    <ds:schemaRef ds:uri="http://purl.org/dc/terms/"/>
    <ds:schemaRef ds:uri="ecb5eb42-8f9c-4501-ae84-225180f68d18"/>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schemas.openxmlformats.org/package/2006/metadata/core-properties"/>
    <ds:schemaRef ds:uri="181540e7-131f-4e26-b2a0-b0b0a661934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0825</Words>
  <Application>Microsoft Office PowerPoint</Application>
  <PresentationFormat>Benutzerdefiniert</PresentationFormat>
  <Paragraphs>1063</Paragraphs>
  <Slides>64</Slides>
  <Notes>1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64</vt:i4>
      </vt:variant>
    </vt:vector>
  </HeadingPairs>
  <TitlesOfParts>
    <vt:vector size="77" baseType="lpstr">
      <vt:lpstr>Wingdings</vt:lpstr>
      <vt:lpstr>Sofia Sans</vt:lpstr>
      <vt:lpstr>Calibri</vt:lpstr>
      <vt:lpstr>Epilogue</vt:lpstr>
      <vt:lpstr>Anaheim</vt:lpstr>
      <vt:lpstr>Inter</vt:lpstr>
      <vt:lpstr>Broadway</vt:lpstr>
      <vt:lpstr>Arial,Sans-Serif</vt:lpstr>
      <vt:lpstr>Courier New</vt:lpstr>
      <vt:lpstr>Arial</vt:lpstr>
      <vt:lpstr>Nunito Light</vt:lpstr>
      <vt:lpstr>Electrical Energy and Power in Physics by Slidesgo</vt:lpstr>
      <vt:lpstr>think-cell Folie</vt:lpstr>
      <vt:lpstr>Wind Energy Education HUB</vt:lpstr>
      <vt:lpstr>Introduction </vt:lpstr>
      <vt:lpstr>PowerPoint-Präsentation</vt:lpstr>
      <vt:lpstr>Table of contents</vt:lpstr>
      <vt:lpstr>Why is wind important?</vt:lpstr>
      <vt:lpstr>PowerPoint-Präsentation</vt:lpstr>
      <vt:lpstr>PowerPoint-Präsentation</vt:lpstr>
      <vt:lpstr>Wind Energy Education HUB Chapter 1</vt:lpstr>
      <vt:lpstr>Wind energy basics</vt:lpstr>
      <vt:lpstr>1. Wind, energy &amp; wind energy introduction</vt:lpstr>
      <vt:lpstr>PowerPoint-Präsentation</vt:lpstr>
      <vt:lpstr>PowerPoint-Präsentation</vt:lpstr>
      <vt:lpstr>PowerPoint-Präsentation</vt:lpstr>
      <vt:lpstr>2. Windy places</vt:lpstr>
      <vt:lpstr>PowerPoint-Präsentation</vt:lpstr>
      <vt:lpstr>3. The wind atlas</vt:lpstr>
      <vt:lpstr>4. Stakeholders in wind energy</vt:lpstr>
      <vt:lpstr>PowerPoint-Präsentation</vt:lpstr>
      <vt:lpstr>PowerPoint-Präsentation</vt:lpstr>
      <vt:lpstr>Wind Energy  Education HUB Chapter 2</vt:lpstr>
      <vt:lpstr>Measuring and working with wind</vt:lpstr>
      <vt:lpstr>1. Making a paper windrose</vt:lpstr>
      <vt:lpstr>PowerPoint-Präsentation</vt:lpstr>
      <vt:lpstr>2. Measuring wind speed</vt:lpstr>
      <vt:lpstr>PowerPoint-Präsentation</vt:lpstr>
      <vt:lpstr>3. Wind can do work</vt:lpstr>
      <vt:lpstr>PowerPoint-Präsentation</vt:lpstr>
      <vt:lpstr>PowerPoint-Präsentation</vt:lpstr>
      <vt:lpstr>PowerPoint-Präsentation</vt:lpstr>
      <vt:lpstr>Wind Energy  Education HUB Chapter 3</vt:lpstr>
      <vt:lpstr>Airfoils</vt:lpstr>
      <vt:lpstr>PowerPoint-Präsentation</vt:lpstr>
      <vt:lpstr>PowerPoint-Präsentation</vt:lpstr>
      <vt:lpstr>PowerPoint-Präsentation</vt:lpstr>
      <vt:lpstr>PowerPoint-Präsentation</vt:lpstr>
      <vt:lpstr>Wind Energy Education HUB Chapter 4</vt:lpstr>
      <vt:lpstr>Experiments with a wind turbine</vt:lpstr>
      <vt:lpstr>1. How to measure the power of wind turbines</vt:lpstr>
      <vt:lpstr>2. How to use a multimeter</vt:lpstr>
      <vt:lpstr>PowerPoint-Präsentation</vt:lpstr>
      <vt:lpstr>3. How to use the wind turbine kit</vt:lpstr>
      <vt:lpstr>4. Changing direction of wind</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laytime</vt:lpstr>
      <vt:lpstr>Well d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V  in Physics</dc:title>
  <dc:creator>Sefa Sert</dc:creator>
  <cp:lastModifiedBy>Johanna Marx</cp:lastModifiedBy>
  <cp:revision>1</cp:revision>
  <dcterms:modified xsi:type="dcterms:W3CDTF">2025-02-02T13:4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65D6A8B98D0F4FB158B27E667A45EA</vt:lpwstr>
  </property>
  <property fmtid="{D5CDD505-2E9C-101B-9397-08002B2CF9AE}" pid="3" name="MediaServiceImageTags">
    <vt:lpwstr/>
  </property>
</Properties>
</file>